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2"/>
  </p:sldMasterIdLst>
  <p:notesMasterIdLst>
    <p:notesMasterId r:id="rId41"/>
  </p:notesMasterIdLst>
  <p:handoutMasterIdLst>
    <p:handoutMasterId r:id="rId42"/>
  </p:handoutMasterIdLst>
  <p:sldIdLst>
    <p:sldId id="398" r:id="rId13"/>
    <p:sldId id="399" r:id="rId14"/>
    <p:sldId id="403" r:id="rId15"/>
    <p:sldId id="404" r:id="rId16"/>
    <p:sldId id="406" r:id="rId17"/>
    <p:sldId id="405" r:id="rId18"/>
    <p:sldId id="407" r:id="rId19"/>
    <p:sldId id="408" r:id="rId20"/>
    <p:sldId id="409" r:id="rId21"/>
    <p:sldId id="410" r:id="rId22"/>
    <p:sldId id="429" r:id="rId23"/>
    <p:sldId id="411" r:id="rId24"/>
    <p:sldId id="412" r:id="rId25"/>
    <p:sldId id="413" r:id="rId26"/>
    <p:sldId id="414" r:id="rId27"/>
    <p:sldId id="415" r:id="rId28"/>
    <p:sldId id="416" r:id="rId29"/>
    <p:sldId id="417" r:id="rId30"/>
    <p:sldId id="418" r:id="rId31"/>
    <p:sldId id="419" r:id="rId32"/>
    <p:sldId id="420" r:id="rId33"/>
    <p:sldId id="421" r:id="rId34"/>
    <p:sldId id="422" r:id="rId35"/>
    <p:sldId id="423" r:id="rId36"/>
    <p:sldId id="424" r:id="rId37"/>
    <p:sldId id="425" r:id="rId38"/>
    <p:sldId id="427" r:id="rId39"/>
    <p:sldId id="397" r:id="rId40"/>
  </p:sldIdLst>
  <p:sldSz cx="9144000" cy="5143500" type="screen16x9"/>
  <p:notesSz cx="6858000" cy="9144000"/>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uze, Juul" initials="DJ" lastIdx="18" clrIdx="0">
    <p:extLst>
      <p:ext uri="{19B8F6BF-5375-455C-9EA6-DF929625EA0E}">
        <p15:presenceInfo xmlns:p15="http://schemas.microsoft.com/office/powerpoint/2012/main" userId="S-1-5-21-2052111302-790525478-839522115-8973" providerId="AD"/>
      </p:ext>
    </p:extLst>
  </p:cmAuthor>
  <p:cmAuthor id="2" name="Leemans, Lyana" initials="LL" lastIdx="2" clrIdx="1">
    <p:extLst>
      <p:ext uri="{19B8F6BF-5375-455C-9EA6-DF929625EA0E}">
        <p15:presenceInfo xmlns:p15="http://schemas.microsoft.com/office/powerpoint/2012/main" userId="S::Lyana.Leemans@philips.com::0f9a0238-431d-4bbc-a706-3c48454b4490" providerId="AD"/>
      </p:ext>
    </p:extLst>
  </p:cmAuthor>
  <p:cmAuthor id="3" name="Andreasson, Majsan" initials="AM" lastIdx="6" clrIdx="2">
    <p:extLst>
      <p:ext uri="{19B8F6BF-5375-455C-9EA6-DF929625EA0E}">
        <p15:presenceInfo xmlns:p15="http://schemas.microsoft.com/office/powerpoint/2012/main" userId="S::majsan.andreasson@philips.com::700d44c3-1419-4061-ae3e-334539bf5a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7CD"/>
    <a:srgbClr val="0057A5"/>
    <a:srgbClr val="50C4F1"/>
    <a:srgbClr val="3292D7"/>
    <a:srgbClr val="CDEBFC"/>
    <a:srgbClr val="D3EDFA"/>
    <a:srgbClr val="3191D7"/>
    <a:srgbClr val="DE7C00"/>
    <a:srgbClr val="0084BE"/>
    <a:srgbClr val="ECEC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14" autoAdjust="0"/>
    <p:restoredTop sz="96357" autoAdjust="0"/>
  </p:normalViewPr>
  <p:slideViewPr>
    <p:cSldViewPr>
      <p:cViewPr varScale="1">
        <p:scale>
          <a:sx n="145" d="100"/>
          <a:sy n="145" d="100"/>
        </p:scale>
        <p:origin x="690" y="114"/>
      </p:cViewPr>
      <p:guideLst/>
    </p:cSldViewPr>
  </p:slideViewPr>
  <p:outlineViewPr>
    <p:cViewPr>
      <p:scale>
        <a:sx n="33" d="100"/>
        <a:sy n="33" d="100"/>
      </p:scale>
      <p:origin x="0" y="-18354"/>
    </p:cViewPr>
  </p:outlineViewPr>
  <p:notesTextViewPr>
    <p:cViewPr>
      <p:scale>
        <a:sx n="1" d="1"/>
        <a:sy n="1" d="1"/>
      </p:scale>
      <p:origin x="0" y="0"/>
    </p:cViewPr>
  </p:notesTextViewPr>
  <p:sorterViewPr>
    <p:cViewPr varScale="1">
      <p:scale>
        <a:sx n="125" d="100"/>
        <a:sy n="125" d="100"/>
      </p:scale>
      <p:origin x="0" y="0"/>
    </p:cViewPr>
  </p:sorterViewPr>
  <p:notesViewPr>
    <p:cSldViewPr>
      <p:cViewPr varScale="1">
        <p:scale>
          <a:sx n="94" d="100"/>
          <a:sy n="94" d="100"/>
        </p:scale>
        <p:origin x="3752"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customXml" Target="../customXml/item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88A55-27A1-4726-B6BA-565570B037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latin typeface="Calibri Light" panose="020F0302020204030204" pitchFamily="34" charset="0"/>
            </a:endParaRPr>
          </a:p>
        </p:txBody>
      </p:sp>
      <p:sp>
        <p:nvSpPr>
          <p:cNvPr id="3" name="Date Placeholder 2">
            <a:extLst>
              <a:ext uri="{FF2B5EF4-FFF2-40B4-BE49-F238E27FC236}">
                <a16:creationId xmlns:a16="http://schemas.microsoft.com/office/drawing/2014/main" id="{52F60674-C439-4C47-991B-97891DFF18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8B6A92-9AC4-4241-A12D-3E444424FB26}" type="datetimeFigureOut">
              <a:rPr lang="en-IN" smtClean="0">
                <a:latin typeface="Calibri Light" panose="020F0302020204030204" pitchFamily="34" charset="0"/>
              </a:rPr>
              <a:t>14-12-2021</a:t>
            </a:fld>
            <a:endParaRPr lang="en-IN" dirty="0">
              <a:latin typeface="Calibri Light" panose="020F0302020204030204" pitchFamily="34" charset="0"/>
            </a:endParaRPr>
          </a:p>
        </p:txBody>
      </p:sp>
      <p:sp>
        <p:nvSpPr>
          <p:cNvPr id="4" name="Footer Placeholder 3">
            <a:extLst>
              <a:ext uri="{FF2B5EF4-FFF2-40B4-BE49-F238E27FC236}">
                <a16:creationId xmlns:a16="http://schemas.microsoft.com/office/drawing/2014/main" id="{4C188F0D-C29C-4E6C-958B-8709D00BDD5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latin typeface="Calibri Light" panose="020F0302020204030204" pitchFamily="34" charset="0"/>
            </a:endParaRPr>
          </a:p>
        </p:txBody>
      </p:sp>
      <p:sp>
        <p:nvSpPr>
          <p:cNvPr id="5" name="Slide Number Placeholder 4">
            <a:extLst>
              <a:ext uri="{FF2B5EF4-FFF2-40B4-BE49-F238E27FC236}">
                <a16:creationId xmlns:a16="http://schemas.microsoft.com/office/drawing/2014/main" id="{E7F97745-075A-4829-97D2-C764BFC9ED3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3909FF-10D1-4B66-B741-D72AB76F569D}" type="slidenum">
              <a:rPr lang="en-IN" smtClean="0">
                <a:latin typeface="Calibri Light" panose="020F0302020204030204" pitchFamily="34" charset="0"/>
              </a:rPr>
              <a:t>‹#›</a:t>
            </a:fld>
            <a:endParaRPr lang="en-IN" dirty="0">
              <a:latin typeface="Calibri Light" panose="020F0302020204030204" pitchFamily="34" charset="0"/>
            </a:endParaRPr>
          </a:p>
        </p:txBody>
      </p:sp>
    </p:spTree>
    <p:extLst>
      <p:ext uri="{BB962C8B-B14F-4D97-AF65-F5344CB8AC3E}">
        <p14:creationId xmlns:p14="http://schemas.microsoft.com/office/powerpoint/2010/main" val="681382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Calibri Light" panose="020F0302020204030204"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Calibri Light" panose="020F0302020204030204" pitchFamily="34" charset="0"/>
              </a:defRPr>
            </a:lvl1pPr>
          </a:lstStyle>
          <a:p>
            <a:fld id="{D710CCDE-DDDC-4977-B090-4BB893DA5E37}" type="datetimeFigureOut">
              <a:rPr lang="en-US" smtClean="0"/>
              <a:pPr/>
              <a:t>12/14/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Calibri Light" panose="020F030202020403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Calibri Light" panose="020F0302020204030204" pitchFamily="34" charset="0"/>
              </a:defRPr>
            </a:lvl1pPr>
          </a:lstStyle>
          <a:p>
            <a:fld id="{73309035-2A4D-4DEF-8CB7-762938914367}" type="slidenum">
              <a:rPr lang="en-US" smtClean="0"/>
              <a:pPr/>
              <a:t>‹#›</a:t>
            </a:fld>
            <a:endParaRPr lang="en-US" dirty="0"/>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alibri Light" panose="020F0302020204030204" pitchFamily="34" charset="0"/>
        <a:ea typeface="+mn-ea"/>
        <a:cs typeface="+mn-cs"/>
      </a:defRPr>
    </a:lvl1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7.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2.bin"/><Relationship Id="rId5" Type="http://schemas.openxmlformats.org/officeDocument/2006/relationships/image" Target="../media/image7.emf"/><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7.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7.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image" Target="../media/image8.png"/><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7.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slide" Target="../slides/slide3.xml"/><Relationship Id="rId3" Type="http://schemas.openxmlformats.org/officeDocument/2006/relationships/tags" Target="../tags/tag9.xml"/><Relationship Id="rId7" Type="http://schemas.openxmlformats.org/officeDocument/2006/relationships/slide" Target="../slides/slide2.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7.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7.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7.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emf"/><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3.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19.bin"/><Relationship Id="rId5" Type="http://schemas.openxmlformats.org/officeDocument/2006/relationships/image" Target="../media/image9.png"/><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7.emf"/><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7.emf"/><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7.emf"/><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7.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7.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3.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3.bin"/><Relationship Id="rId5" Type="http://schemas.openxmlformats.org/officeDocument/2006/relationships/image" Target="../media/image10.png"/><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7.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7.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7.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7.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3.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7.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28.bin"/><Relationship Id="rId5" Type="http://schemas.openxmlformats.org/officeDocument/2006/relationships/image" Target="../media/image11.png"/><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7.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7.emf"/><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7.emf"/><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7.emf"/><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7.emf"/><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3.emf"/><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oleObject" Target="../embeddings/oleObject33.bin"/><Relationship Id="rId5" Type="http://schemas.openxmlformats.org/officeDocument/2006/relationships/image" Target="../media/image12.png"/><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7.emf"/><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7.emf"/><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7.emf"/><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7.emf"/><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7.emf"/><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3.emf"/><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oleObject" Target="../embeddings/oleObject38.bin"/><Relationship Id="rId5" Type="http://schemas.openxmlformats.org/officeDocument/2006/relationships/slideMaster" Target="../slideMasters/slideMaster1.xml"/><Relationship Id="rId4" Type="http://schemas.openxmlformats.org/officeDocument/2006/relationships/tags" Target="../tags/tag9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3.emf"/><Relationship Id="rId2" Type="http://schemas.openxmlformats.org/officeDocument/2006/relationships/tags" Target="../tags/tag93.xml"/><Relationship Id="rId1" Type="http://schemas.openxmlformats.org/officeDocument/2006/relationships/vmlDrawing" Target="../drawings/vmlDrawing46.vml"/><Relationship Id="rId6" Type="http://schemas.openxmlformats.org/officeDocument/2006/relationships/oleObject" Target="../embeddings/oleObject39.bin"/><Relationship Id="rId5" Type="http://schemas.openxmlformats.org/officeDocument/2006/relationships/slideMaster" Target="../slideMasters/slideMaster1.xml"/><Relationship Id="rId4" Type="http://schemas.openxmlformats.org/officeDocument/2006/relationships/tags" Target="../tags/tag9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3.emf"/><Relationship Id="rId2" Type="http://schemas.openxmlformats.org/officeDocument/2006/relationships/tags" Target="../tags/tag96.xml"/><Relationship Id="rId1" Type="http://schemas.openxmlformats.org/officeDocument/2006/relationships/vmlDrawing" Target="../drawings/vmlDrawing47.vml"/><Relationship Id="rId6" Type="http://schemas.openxmlformats.org/officeDocument/2006/relationships/oleObject" Target="../embeddings/oleObject40.bin"/><Relationship Id="rId5" Type="http://schemas.openxmlformats.org/officeDocument/2006/relationships/slideMaster" Target="../slideMasters/slideMaster1.xml"/><Relationship Id="rId4" Type="http://schemas.openxmlformats.org/officeDocument/2006/relationships/tags" Target="../tags/tag98.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3.emf"/><Relationship Id="rId2" Type="http://schemas.openxmlformats.org/officeDocument/2006/relationships/tags" Target="../tags/tag99.xml"/><Relationship Id="rId1" Type="http://schemas.openxmlformats.org/officeDocument/2006/relationships/vmlDrawing" Target="../drawings/vmlDrawing48.vml"/><Relationship Id="rId6" Type="http://schemas.openxmlformats.org/officeDocument/2006/relationships/oleObject" Target="../embeddings/oleObject41.bin"/><Relationship Id="rId5" Type="http://schemas.openxmlformats.org/officeDocument/2006/relationships/slideMaster" Target="../slideMasters/slideMaster1.xml"/><Relationship Id="rId4" Type="http://schemas.openxmlformats.org/officeDocument/2006/relationships/tags" Target="../tags/tag101.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3.emf"/><Relationship Id="rId2" Type="http://schemas.openxmlformats.org/officeDocument/2006/relationships/tags" Target="../tags/tag102.xml"/><Relationship Id="rId1" Type="http://schemas.openxmlformats.org/officeDocument/2006/relationships/vmlDrawing" Target="../drawings/vmlDrawing49.vml"/><Relationship Id="rId6" Type="http://schemas.openxmlformats.org/officeDocument/2006/relationships/oleObject" Target="../embeddings/oleObject42.bin"/><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3.emf"/><Relationship Id="rId2" Type="http://schemas.openxmlformats.org/officeDocument/2006/relationships/tags" Target="../tags/tag105.xml"/><Relationship Id="rId1" Type="http://schemas.openxmlformats.org/officeDocument/2006/relationships/vmlDrawing" Target="../drawings/vmlDrawing50.vml"/><Relationship Id="rId6" Type="http://schemas.openxmlformats.org/officeDocument/2006/relationships/oleObject" Target="../embeddings/oleObject43.bin"/><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3.emf"/><Relationship Id="rId2" Type="http://schemas.openxmlformats.org/officeDocument/2006/relationships/tags" Target="../tags/tag108.xml"/><Relationship Id="rId1" Type="http://schemas.openxmlformats.org/officeDocument/2006/relationships/vmlDrawing" Target="../drawings/vmlDrawing51.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pic>
        <p:nvPicPr>
          <p:cNvPr id="6" name="Picture 5" descr="A picture containing graphical user interface&#10;&#10;Description automatically generated">
            <a:extLst>
              <a:ext uri="{FF2B5EF4-FFF2-40B4-BE49-F238E27FC236}">
                <a16:creationId xmlns:a16="http://schemas.microsoft.com/office/drawing/2014/main" id="{970A3CAD-6999-8848-92A5-B02A4C5F2FEE}"/>
              </a:ext>
            </a:extLst>
          </p:cNvPr>
          <p:cNvPicPr>
            <a:picLocks noChangeAspect="1"/>
          </p:cNvPicPr>
          <p:nvPr userDrawn="1"/>
        </p:nvPicPr>
        <p:blipFill>
          <a:blip r:embed="rId5"/>
          <a:stretch>
            <a:fillRect/>
          </a:stretch>
        </p:blipFill>
        <p:spPr>
          <a:xfrm>
            <a:off x="0" y="0"/>
            <a:ext cx="9144000" cy="5143500"/>
          </a:xfrm>
          <a:prstGeom prst="rect">
            <a:avLst/>
          </a:prstGeom>
        </p:spPr>
      </p:pic>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6" imgW="479" imgH="478" progId="TCLayout.ActiveDocument.1">
                  <p:embed/>
                </p:oleObj>
              </mc:Choice>
              <mc:Fallback>
                <p:oleObj name="think-cell Slide" r:id="rId6"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19682360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overlay left - white">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0" y="0"/>
            <a:ext cx="5889129"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dirty="0"/>
              <a:t>Click icon to insert photo </a:t>
            </a:r>
            <a:r>
              <a:rPr lang="en-US" b="0" i="0" noProof="0" dirty="0">
                <a:solidFill>
                  <a:srgbClr val="1A1A1A"/>
                </a:solidFill>
                <a:effectLst/>
                <a:latin typeface="OpenSans"/>
              </a:rPr>
              <a:t>966 x 843 px</a:t>
            </a:r>
            <a:endParaRPr lang="en-US" noProof="0" dirty="0"/>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6" y="4719600"/>
            <a:ext cx="1064563"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tx1"/>
                </a:solidFill>
              </a:defRPr>
            </a:lvl1pPr>
          </a:lstStyle>
          <a:p>
            <a:endParaRPr lang="en-US" noProof="0"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tx1"/>
                </a:solidFill>
              </a:defRPr>
            </a:lvl1pPr>
          </a:lstStyle>
          <a:p>
            <a:r>
              <a:rPr lang="en-US" noProof="0" dirty="0"/>
              <a:t>©2021 Koninklijke Philips N.V. All rights reserved. Approved for internal distribution. D2021120801</a:t>
            </a: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tx1"/>
                </a:solidFill>
              </a:defRPr>
            </a:lvl1pPr>
          </a:lstStyle>
          <a:p>
            <a:fld id="{A5163908-529D-4A49-892F-D37C4044DFD8}" type="slidenum">
              <a:rPr lang="en-US" noProof="0" smtClean="0"/>
              <a:pPr/>
              <a:t>‹#›</a:t>
            </a:fld>
            <a:endParaRPr lang="en-US" noProof="0" dirty="0"/>
          </a:p>
        </p:txBody>
      </p:sp>
      <p:sp>
        <p:nvSpPr>
          <p:cNvPr id="10" name="Text Placeholder 9">
            <a:extLst>
              <a:ext uri="{FF2B5EF4-FFF2-40B4-BE49-F238E27FC236}">
                <a16:creationId xmlns:a16="http://schemas.microsoft.com/office/drawing/2014/main" id="{974F6BD1-05E3-0748-8229-5BFCF37D213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15" name="Text Placeholder 9">
            <a:extLst>
              <a:ext uri="{FF2B5EF4-FFF2-40B4-BE49-F238E27FC236}">
                <a16:creationId xmlns:a16="http://schemas.microsoft.com/office/drawing/2014/main" id="{8C7E7A55-842A-944F-B105-E98E505B4981}"/>
              </a:ext>
            </a:extLst>
          </p:cNvPr>
          <p:cNvSpPr>
            <a:spLocks noGrp="1"/>
          </p:cNvSpPr>
          <p:nvPr>
            <p:ph type="body" sz="quarter" idx="14"/>
          </p:nvPr>
        </p:nvSpPr>
        <p:spPr>
          <a:xfrm>
            <a:off x="504825" y="378000"/>
            <a:ext cx="2627313" cy="4320000"/>
          </a:xfrm>
        </p:spPr>
        <p:txBody>
          <a:bodyPr lIns="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buNone/>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buNone/>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buNone/>
              <a:tabLst/>
              <a:defRPr sz="1600" b="0" i="0">
                <a:solidFill>
                  <a:srgbClr val="00629F"/>
                </a:solidFill>
                <a:latin typeface="+mj-lt"/>
                <a:cs typeface="Calibri Light" panose="020F0302020204030204" pitchFamily="34" charset="0"/>
              </a:defRPr>
            </a:lvl4pPr>
          </a:lstStyle>
          <a:p>
            <a:pPr lvl="0"/>
            <a:r>
              <a:rPr lang="en-US" noProof="0" dirty="0"/>
              <a:t>Click to edit Master text styles</a:t>
            </a:r>
          </a:p>
        </p:txBody>
      </p:sp>
    </p:spTree>
    <p:extLst>
      <p:ext uri="{BB962C8B-B14F-4D97-AF65-F5344CB8AC3E}">
        <p14:creationId xmlns:p14="http://schemas.microsoft.com/office/powerpoint/2010/main" val="78523263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noProof="0"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r>
              <a:rPr lang="en-US" noProof="0" dirty="0">
                <a:solidFill>
                  <a:schemeClr val="bg1"/>
                </a:solidFill>
              </a:rPr>
              <a:t>©2021 Koninklijke Philips N.V. All rights reserved. Approved for internal distribution. D2021120801</a:t>
            </a: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dirty="0"/>
          </a:p>
        </p:txBody>
      </p:sp>
      <p:sp>
        <p:nvSpPr>
          <p:cNvPr id="20" name="Text Placeholder 9">
            <a:extLst>
              <a:ext uri="{FF2B5EF4-FFF2-40B4-BE49-F238E27FC236}">
                <a16:creationId xmlns:a16="http://schemas.microsoft.com/office/drawing/2014/main" id="{5FB4E9C5-372D-B54F-AB35-3198E76F9BE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A6F08260-F124-AB45-A656-0CF6C91D547F}"/>
              </a:ext>
            </a:extLst>
          </p:cNvPr>
          <p:cNvSpPr>
            <a:spLocks noGrp="1"/>
          </p:cNvSpPr>
          <p:nvPr>
            <p:ph type="body" sz="quarter" idx="14"/>
          </p:nvPr>
        </p:nvSpPr>
        <p:spPr>
          <a:xfrm>
            <a:off x="504825" y="1209600"/>
            <a:ext cx="2627313"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6591622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noProof="0"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r>
              <a:rPr lang="en-US" noProof="0" dirty="0">
                <a:solidFill>
                  <a:schemeClr val="bg1"/>
                </a:solidFill>
              </a:rPr>
              <a:t>©2021 Koninklijke Philips N.V. All rights reserved. Approved for internal distribution. D2021120801</a:t>
            </a: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dirty="0"/>
          </a:p>
        </p:txBody>
      </p:sp>
      <p:sp>
        <p:nvSpPr>
          <p:cNvPr id="10" name="Text Placeholder 9">
            <a:extLst>
              <a:ext uri="{FF2B5EF4-FFF2-40B4-BE49-F238E27FC236}">
                <a16:creationId xmlns:a16="http://schemas.microsoft.com/office/drawing/2014/main" id="{DB281D39-1145-FA4E-B683-513036C34796}"/>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0E8E77E7-B238-0A4C-BBF8-DDD421A9C0A7}"/>
              </a:ext>
            </a:extLst>
          </p:cNvPr>
          <p:cNvSpPr>
            <a:spLocks noGrp="1"/>
          </p:cNvSpPr>
          <p:nvPr>
            <p:ph type="body" sz="quarter" idx="14"/>
          </p:nvPr>
        </p:nvSpPr>
        <p:spPr>
          <a:xfrm>
            <a:off x="504825" y="1209600"/>
            <a:ext cx="2627313"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38887512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r>
              <a:rPr lang="en-US" noProof="0" dirty="0">
                <a:solidFill>
                  <a:schemeClr val="bg1"/>
                </a:solidFill>
              </a:rPr>
              <a:t>©2021 Koninklijke Philips N.V. All rights reserved. Approved for internal distribution. D2021120801</a:t>
            </a: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dirty="0"/>
          </a:p>
        </p:txBody>
      </p:sp>
      <p:sp>
        <p:nvSpPr>
          <p:cNvPr id="10" name="Text Placeholder 9">
            <a:extLst>
              <a:ext uri="{FF2B5EF4-FFF2-40B4-BE49-F238E27FC236}">
                <a16:creationId xmlns:a16="http://schemas.microsoft.com/office/drawing/2014/main" id="{5BCEDFCF-642D-F141-9A43-DB7CB01B361E}"/>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922B8767-9500-8248-B35C-32B6CDB0147D}"/>
              </a:ext>
            </a:extLst>
          </p:cNvPr>
          <p:cNvSpPr>
            <a:spLocks noGrp="1"/>
          </p:cNvSpPr>
          <p:nvPr>
            <p:ph type="body" sz="quarter" idx="14"/>
          </p:nvPr>
        </p:nvSpPr>
        <p:spPr>
          <a:xfrm>
            <a:off x="6008400" y="1209600"/>
            <a:ext cx="2627313"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buNone/>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41490134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r>
              <a:rPr lang="en-US" noProof="0" dirty="0">
                <a:solidFill>
                  <a:schemeClr val="bg1"/>
                </a:solidFill>
              </a:rPr>
              <a:t>©2021 Koninklijke Philips N.V. All rights reserved. Approved for internal distribution. D2021120801</a:t>
            </a: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dirty="0"/>
          </a:p>
        </p:txBody>
      </p:sp>
      <p:sp>
        <p:nvSpPr>
          <p:cNvPr id="10" name="Text Placeholder 9">
            <a:extLst>
              <a:ext uri="{FF2B5EF4-FFF2-40B4-BE49-F238E27FC236}">
                <a16:creationId xmlns:a16="http://schemas.microsoft.com/office/drawing/2014/main" id="{FE0A4A19-89A9-8948-BDDE-4E2EB8CFE8ED}"/>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486B91CD-B8EC-8C40-A3C6-C3EC4ECDB51D}"/>
              </a:ext>
            </a:extLst>
          </p:cNvPr>
          <p:cNvSpPr>
            <a:spLocks noGrp="1"/>
          </p:cNvSpPr>
          <p:nvPr>
            <p:ph type="body" sz="quarter" idx="14"/>
          </p:nvPr>
        </p:nvSpPr>
        <p:spPr>
          <a:xfrm>
            <a:off x="6008400" y="1209600"/>
            <a:ext cx="2627313"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196866041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4511675"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dirty="0"/>
              <a:t>Click icon to insert photo 419 x 843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r>
              <a:rPr lang="en-US" noProof="0" dirty="0">
                <a:solidFill>
                  <a:schemeClr val="bg1"/>
                </a:solidFill>
              </a:rPr>
              <a:t>©2021 Koninklijke Philips N.V. All rights reserved. Approved for internal distribution. D2021120801</a:t>
            </a: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dirty="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4621213" y="376238"/>
            <a:ext cx="3406776" cy="827087"/>
          </a:xfrm>
        </p:spPr>
        <p:txBody>
          <a:bodyPr/>
          <a:lstStyle>
            <a:lvl1pPr>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4621212" y="1211264"/>
            <a:ext cx="4016375" cy="3484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1015989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4633200" y="0"/>
            <a:ext cx="45108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dirty="0"/>
              <a:t>Click icon to insert photo 419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r>
              <a:rPr lang="en-US" noProof="0" dirty="0"/>
              <a:t>©2021 Koninklijke Philips N.V. All rights reserved. Approved for internal distribution. D2021120801</a:t>
            </a: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dirty="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8"/>
            <a:ext cx="3997325" cy="827999"/>
          </a:xfrm>
        </p:spPr>
        <p:txBody>
          <a:bodyPr/>
          <a:lstStyle>
            <a:lvl1pPr>
              <a:lnSpc>
                <a:spcPct val="100000"/>
              </a:lnSpc>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4"/>
            <a:ext cx="3997325" cy="3484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0" name="Text Placeholder 9">
            <a:extLst>
              <a:ext uri="{FF2B5EF4-FFF2-40B4-BE49-F238E27FC236}">
                <a16:creationId xmlns:a16="http://schemas.microsoft.com/office/drawing/2014/main" id="{D917A831-45CE-E541-96F2-3935F3CC6491}"/>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21476752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small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1" y="0"/>
            <a:ext cx="5889128"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dirty="0"/>
              <a:t>Click icon to insert photo </a:t>
            </a:r>
            <a:r>
              <a:rPr lang="en-US" b="0" i="0" noProof="0" dirty="0">
                <a:solidFill>
                  <a:srgbClr val="1A1A1A"/>
                </a:solidFill>
                <a:effectLst/>
                <a:latin typeface="OpenSans"/>
              </a:rPr>
              <a:t>966 x 843 px</a:t>
            </a:r>
            <a:endParaRPr lang="en-US" noProof="0" dirty="0"/>
          </a:p>
        </p:txBody>
      </p:sp>
      <p:sp>
        <p:nvSpPr>
          <p:cNvPr id="9" name="Text Placeholder 9">
            <a:extLst>
              <a:ext uri="{FF2B5EF4-FFF2-40B4-BE49-F238E27FC236}">
                <a16:creationId xmlns:a16="http://schemas.microsoft.com/office/drawing/2014/main" id="{2DB076B3-C88A-1849-AD02-099D8151BF14}"/>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7" y="4719600"/>
            <a:ext cx="1064562"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r>
              <a:rPr lang="en-US" noProof="0" dirty="0"/>
              <a:t>©2021 Koninklijke Philips N.V. All rights reserved. Approved for internal distribution. D2021120801</a:t>
            </a: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dirty="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9"/>
            <a:ext cx="2628901" cy="827999"/>
          </a:xfrm>
        </p:spPr>
        <p:txBody>
          <a:bodyPr/>
          <a:lstStyle>
            <a:lvl1pPr>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3"/>
            <a:ext cx="2628901" cy="3484562"/>
          </a:xfrm>
        </p:spPr>
        <p:txBody>
          <a:bodyPr/>
          <a:lstStyle>
            <a:lvl5pPr>
              <a:defRPr b="0" i="0">
                <a:latin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9047521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702219D4-C592-8940-ADFF-E19A71A4699E}"/>
              </a:ext>
            </a:extLst>
          </p:cNvPr>
          <p:cNvSpPr>
            <a:spLocks noGrp="1"/>
          </p:cNvSpPr>
          <p:nvPr>
            <p:ph type="pic" sz="quarter" idx="14" hasCustomPrompt="1"/>
          </p:nvPr>
        </p:nvSpPr>
        <p:spPr>
          <a:xfrm>
            <a:off x="503238" y="1211263"/>
            <a:ext cx="81252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US" noProof="0" dirty="0"/>
              <a:t>Insert picture 1333 x 572 px</a:t>
            </a:r>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endParaRPr lang="en-US" noProof="0" dirty="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p:txBody>
          <a:bodyPr/>
          <a:lstStyle>
            <a:lvl1pPr>
              <a:defRPr>
                <a:latin typeface="+mn-lt"/>
              </a:defRPr>
            </a:lvl1pPr>
          </a:lstStyle>
          <a:p>
            <a:r>
              <a:rPr lang="en-US" noProof="0" dirty="0"/>
              <a:t>©2021 Koninklijke Philips N.V. All rights reserved. Approved for internal distribution. D2021120801</a:t>
            </a:r>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US" noProof="0" smtClean="0"/>
              <a:pPr/>
              <a:t>‹#›</a:t>
            </a:fld>
            <a:endParaRPr lang="en-US" noProof="0" dirty="0"/>
          </a:p>
        </p:txBody>
      </p:sp>
      <p:sp>
        <p:nvSpPr>
          <p:cNvPr id="6" name="Title 5">
            <a:extLst>
              <a:ext uri="{FF2B5EF4-FFF2-40B4-BE49-F238E27FC236}">
                <a16:creationId xmlns:a16="http://schemas.microsoft.com/office/drawing/2014/main" id="{2783748B-8051-B04A-A330-D39286CDE011}"/>
              </a:ext>
            </a:extLst>
          </p:cNvPr>
          <p:cNvSpPr>
            <a:spLocks noGrp="1"/>
          </p:cNvSpPr>
          <p:nvPr>
            <p:ph type="title"/>
          </p:nvPr>
        </p:nvSpPr>
        <p:spPr>
          <a:xfrm>
            <a:off x="503238" y="376238"/>
            <a:ext cx="7524750" cy="719137"/>
          </a:xfrm>
        </p:spPr>
        <p:txBody>
          <a:bodyPr/>
          <a:lstStyle>
            <a:lvl1pPr>
              <a:defRPr sz="2400">
                <a:solidFill>
                  <a:srgbClr val="00629F"/>
                </a:solidFill>
              </a:defRPr>
            </a:lvl1pPr>
          </a:lstStyle>
          <a:p>
            <a:r>
              <a:rPr lang="en-US" noProof="0"/>
              <a:t>Click to edit Master title style</a:t>
            </a:r>
          </a:p>
        </p:txBody>
      </p:sp>
    </p:spTree>
    <p:extLst>
      <p:ext uri="{BB962C8B-B14F-4D97-AF65-F5344CB8AC3E}">
        <p14:creationId xmlns:p14="http://schemas.microsoft.com/office/powerpoint/2010/main" val="1352776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503237" y="1211263"/>
            <a:ext cx="5380037" cy="3484562"/>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dirty="0"/>
              <a:t>Insert picture 882 x 572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r>
              <a:rPr lang="en-US" noProof="0" dirty="0"/>
              <a:t>©2021 Koninklijke Philips N.V. All rights reserved. Approved for internal distribution. D2021120801</a:t>
            </a: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dirty="0"/>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US" noProof="0"/>
              <a:t>Click to edit Master 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6007100" y="1211263"/>
            <a:ext cx="2633663" cy="3484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0295678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bg>
      <p:bgPr>
        <a:gradFill>
          <a:gsLst>
            <a:gs pos="54000">
              <a:srgbClr val="277CBD"/>
            </a:gs>
            <a:gs pos="0">
              <a:srgbClr val="004F9B"/>
            </a:gs>
            <a:gs pos="100000">
              <a:srgbClr val="4EA8DE"/>
            </a:gs>
          </a:gsLst>
          <a:lin ang="2100000" scaled="0"/>
        </a:gradFill>
        <a:effectLst/>
      </p:bgPr>
    </p:bg>
    <p:spTree>
      <p:nvGrpSpPr>
        <p:cNvPr id="1" name=""/>
        <p:cNvGrpSpPr/>
        <p:nvPr/>
      </p:nvGrpSpPr>
      <p:grpSpPr>
        <a:xfrm>
          <a:off x="0" y="0"/>
          <a:ext cx="0" cy="0"/>
          <a:chOff x="0" y="0"/>
          <a:chExt cx="0" cy="0"/>
        </a:xfrm>
      </p:grpSpPr>
      <p:pic>
        <p:nvPicPr>
          <p:cNvPr id="10" name="Picture 9" descr="A picture containing graphical user interface&#10;&#10;Description automatically generated">
            <a:extLst>
              <a:ext uri="{FF2B5EF4-FFF2-40B4-BE49-F238E27FC236}">
                <a16:creationId xmlns:a16="http://schemas.microsoft.com/office/drawing/2014/main" id="{518566EE-6596-4E4C-80AE-F3AC8BE71E48}"/>
              </a:ext>
            </a:extLst>
          </p:cNvPr>
          <p:cNvPicPr>
            <a:picLocks noChangeAspect="1"/>
          </p:cNvPicPr>
          <p:nvPr userDrawn="1"/>
        </p:nvPicPr>
        <p:blipFill>
          <a:blip r:embed="rId5"/>
          <a:stretch>
            <a:fillRect/>
          </a:stretch>
        </p:blipFill>
        <p:spPr>
          <a:xfrm>
            <a:off x="0" y="0"/>
            <a:ext cx="9144000" cy="5143500"/>
          </a:xfrm>
          <a:prstGeom prst="rect">
            <a:avLst/>
          </a:prstGeom>
        </p:spPr>
      </p:pic>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6" imgW="479" imgH="478" progId="TCLayout.ActiveDocument.1">
                  <p:embed/>
                </p:oleObj>
              </mc:Choice>
              <mc:Fallback>
                <p:oleObj name="think-cell Slide" r:id="rId6"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14038450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content - image righ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7D58B0C-DEF4-9C4E-83F3-91ADA716B2A4}"/>
              </a:ext>
            </a:extLst>
          </p:cNvPr>
          <p:cNvSpPr>
            <a:spLocks noGrp="1"/>
          </p:cNvSpPr>
          <p:nvPr>
            <p:ph type="pic" sz="quarter" idx="14" hasCustomPrompt="1"/>
          </p:nvPr>
        </p:nvSpPr>
        <p:spPr>
          <a:xfrm>
            <a:off x="3252788" y="1211263"/>
            <a:ext cx="53784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US" noProof="0" dirty="0"/>
              <a:t>Insert picture 882 x 572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r>
              <a:rPr lang="en-US" noProof="0" dirty="0"/>
              <a:t>©2021 Koninklijke Philips N.V. All rights reserved. Approved for internal distribution. D2021120801</a:t>
            </a: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a:t>
            </a:fld>
            <a:endParaRPr lang="en-US" noProof="0" dirty="0"/>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US" noProof="0"/>
              <a:t>Click to edit Master 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9" y="1211263"/>
            <a:ext cx="2628900" cy="3484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47974486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396CD-AD2C-4C47-BD26-1A8BF8500BC3}"/>
              </a:ext>
            </a:extLst>
          </p:cNvPr>
          <p:cNvSpPr>
            <a:spLocks noGrp="1"/>
          </p:cNvSpPr>
          <p:nvPr>
            <p:ph type="title"/>
          </p:nvPr>
        </p:nvSpPr>
        <p:spPr>
          <a:xfrm>
            <a:off x="503238" y="376238"/>
            <a:ext cx="7524750" cy="719137"/>
          </a:xfrm>
        </p:spPr>
        <p:txBody>
          <a:bodyPr/>
          <a:lstStyle>
            <a:lvl1pPr>
              <a:lnSpc>
                <a:spcPct val="100000"/>
              </a:lnSpc>
              <a:defRPr sz="2400">
                <a:solidFill>
                  <a:srgbClr val="00629F"/>
                </a:solidFill>
              </a:defRPr>
            </a:lvl1pPr>
          </a:lstStyle>
          <a:p>
            <a:r>
              <a:rPr lang="en-US" noProof="0"/>
              <a:t>Click to edit Master title style</a:t>
            </a:r>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endParaRPr lang="en-US" noProof="0" dirty="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p:txBody>
          <a:bodyPr/>
          <a:lstStyle>
            <a:lvl1pPr>
              <a:defRPr>
                <a:latin typeface="+mn-lt"/>
              </a:defRPr>
            </a:lvl1pPr>
          </a:lstStyle>
          <a:p>
            <a:r>
              <a:rPr lang="en-US" noProof="0" dirty="0"/>
              <a:t>©2021 Koninklijke Philips N.V. All rights reserved. Approved for internal distribution. D2021120801</a:t>
            </a:r>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US" noProof="0" smtClean="0"/>
              <a:pPr/>
              <a:t>‹#›</a:t>
            </a:fld>
            <a:endParaRPr lang="en-US" noProof="0" dirty="0"/>
          </a:p>
        </p:txBody>
      </p:sp>
      <p:sp>
        <p:nvSpPr>
          <p:cNvPr id="15" name="Picture Placeholder 8">
            <a:extLst>
              <a:ext uri="{FF2B5EF4-FFF2-40B4-BE49-F238E27FC236}">
                <a16:creationId xmlns:a16="http://schemas.microsoft.com/office/drawing/2014/main" id="{A8E6095F-3389-2E4D-BCE2-11E746829FBB}"/>
              </a:ext>
            </a:extLst>
          </p:cNvPr>
          <p:cNvSpPr>
            <a:spLocks noGrp="1"/>
          </p:cNvSpPr>
          <p:nvPr>
            <p:ph type="pic" sz="quarter" idx="16" hasCustomPrompt="1"/>
          </p:nvPr>
        </p:nvSpPr>
        <p:spPr>
          <a:xfrm>
            <a:off x="502902" y="1211263"/>
            <a:ext cx="4003199" cy="2662237"/>
          </a:xfrm>
          <a:solidFill>
            <a:schemeClr val="bg1">
              <a:lumMod val="85000"/>
            </a:schemeClr>
          </a:solidFill>
        </p:spPr>
        <p:txBody>
          <a:bodyPr vert="horz" lIns="0" tIns="0" rIns="0" bIns="576000" spcCol="324000" rtlCol="0" anchor="ctr">
            <a:noAutofit/>
          </a:bodyPr>
          <a:lstStyle>
            <a:lvl1pPr>
              <a:buFontTx/>
              <a:buNone/>
              <a:defRPr lang="en-NL">
                <a:latin typeface="+mn-lt"/>
              </a:defRPr>
            </a:lvl1pPr>
          </a:lstStyle>
          <a:p>
            <a:pPr marL="0" lvl="0" indent="0" algn="ctr">
              <a:buNone/>
            </a:pPr>
            <a:r>
              <a:rPr lang="en-US" noProof="0" dirty="0"/>
              <a:t>Insert picture 657 x 437 px </a:t>
            </a:r>
          </a:p>
        </p:txBody>
      </p:sp>
      <p:sp>
        <p:nvSpPr>
          <p:cNvPr id="20" name="Picture Placeholder 8">
            <a:extLst>
              <a:ext uri="{FF2B5EF4-FFF2-40B4-BE49-F238E27FC236}">
                <a16:creationId xmlns:a16="http://schemas.microsoft.com/office/drawing/2014/main" id="{6339CC5C-F22B-304D-A447-6670052130FE}"/>
              </a:ext>
            </a:extLst>
          </p:cNvPr>
          <p:cNvSpPr>
            <a:spLocks noGrp="1"/>
          </p:cNvSpPr>
          <p:nvPr>
            <p:ph type="pic" sz="quarter" idx="14" hasCustomPrompt="1"/>
          </p:nvPr>
        </p:nvSpPr>
        <p:spPr>
          <a:xfrm>
            <a:off x="4633200" y="1211263"/>
            <a:ext cx="4004388" cy="2662237"/>
          </a:xfrm>
          <a:solidFill>
            <a:schemeClr val="bg1">
              <a:lumMod val="85000"/>
            </a:schemeClr>
          </a:solidFill>
        </p:spPr>
        <p:txBody>
          <a:bodyPr vert="horz" lIns="0" tIns="0" rIns="0" bIns="576000" spcCol="324000" rtlCol="0" anchor="ctr">
            <a:noAutofit/>
          </a:bodyPr>
          <a:lstStyle>
            <a:lvl1pPr marL="0" marR="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lang="en-NL"/>
            </a:lvl1pPr>
          </a:lstStyle>
          <a:p>
            <a:pPr marL="0" marR="0" lvl="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a:pPr>
            <a:r>
              <a:rPr lang="en-US" noProof="0" dirty="0"/>
              <a:t>Insert picture 657 x 437 px</a:t>
            </a:r>
          </a:p>
        </p:txBody>
      </p:sp>
      <p:sp>
        <p:nvSpPr>
          <p:cNvPr id="11" name="Text Placeholder 9">
            <a:extLst>
              <a:ext uri="{FF2B5EF4-FFF2-40B4-BE49-F238E27FC236}">
                <a16:creationId xmlns:a16="http://schemas.microsoft.com/office/drawing/2014/main" id="{06D2172C-34C6-364E-BF0F-059D58EB9566}"/>
              </a:ext>
            </a:extLst>
          </p:cNvPr>
          <p:cNvSpPr>
            <a:spLocks noGrp="1"/>
          </p:cNvSpPr>
          <p:nvPr>
            <p:ph type="body" sz="quarter" idx="26"/>
          </p:nvPr>
        </p:nvSpPr>
        <p:spPr>
          <a:xfrm>
            <a:off x="502901"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ext Placeholder 9">
            <a:extLst>
              <a:ext uri="{FF2B5EF4-FFF2-40B4-BE49-F238E27FC236}">
                <a16:creationId xmlns:a16="http://schemas.microsoft.com/office/drawing/2014/main" id="{64430373-7B1A-A941-AC6D-93D4F8DFD567}"/>
              </a:ext>
            </a:extLst>
          </p:cNvPr>
          <p:cNvSpPr>
            <a:spLocks noGrp="1"/>
          </p:cNvSpPr>
          <p:nvPr>
            <p:ph type="body" sz="quarter" idx="27"/>
          </p:nvPr>
        </p:nvSpPr>
        <p:spPr>
          <a:xfrm>
            <a:off x="4633200"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9099769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0" name="Date Placeholder 4">
            <a:extLst>
              <a:ext uri="{FF2B5EF4-FFF2-40B4-BE49-F238E27FC236}">
                <a16:creationId xmlns:a16="http://schemas.microsoft.com/office/drawing/2014/main" id="{6080312F-DC21-814A-BAB8-040151BB50ED}"/>
              </a:ext>
            </a:extLst>
          </p:cNvPr>
          <p:cNvSpPr>
            <a:spLocks noGrp="1"/>
          </p:cNvSpPr>
          <p:nvPr>
            <p:ph type="dt" sz="half" idx="11"/>
          </p:nvPr>
        </p:nvSpPr>
        <p:spPr>
          <a:xfrm>
            <a:off x="504826" y="4884454"/>
            <a:ext cx="718767" cy="107975"/>
          </a:xfrm>
        </p:spPr>
        <p:txBody>
          <a:bodyPr/>
          <a:lstStyle>
            <a:lvl1pPr>
              <a:defRPr>
                <a:solidFill>
                  <a:schemeClr val="bg1"/>
                </a:solidFill>
              </a:defRPr>
            </a:lvl1pPr>
          </a:lstStyle>
          <a:p>
            <a:endParaRPr lang="en-US" noProof="0" dirty="0"/>
          </a:p>
        </p:txBody>
      </p:sp>
      <p:sp>
        <p:nvSpPr>
          <p:cNvPr id="11" name="Footer Placeholder 5">
            <a:extLst>
              <a:ext uri="{FF2B5EF4-FFF2-40B4-BE49-F238E27FC236}">
                <a16:creationId xmlns:a16="http://schemas.microsoft.com/office/drawing/2014/main" id="{C96B7945-F4F7-DE48-B97F-38E596BA46D6}"/>
              </a:ext>
            </a:extLst>
          </p:cNvPr>
          <p:cNvSpPr>
            <a:spLocks noGrp="1"/>
          </p:cNvSpPr>
          <p:nvPr>
            <p:ph type="ftr" sz="quarter" idx="12"/>
          </p:nvPr>
        </p:nvSpPr>
        <p:spPr>
          <a:xfrm>
            <a:off x="1948068" y="4884454"/>
            <a:ext cx="3910151" cy="107975"/>
          </a:xfrm>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12" name="Slide Number Placeholder 6">
            <a:extLst>
              <a:ext uri="{FF2B5EF4-FFF2-40B4-BE49-F238E27FC236}">
                <a16:creationId xmlns:a16="http://schemas.microsoft.com/office/drawing/2014/main" id="{32A57064-1C6C-D845-B014-09A3E682B67E}"/>
              </a:ext>
            </a:extLst>
          </p:cNvPr>
          <p:cNvSpPr>
            <a:spLocks noGrp="1"/>
          </p:cNvSpPr>
          <p:nvPr>
            <p:ph type="sldNum" sz="quarter" idx="13"/>
          </p:nvPr>
        </p:nvSpPr>
        <p:spPr>
          <a:xfrm>
            <a:off x="182120" y="4864360"/>
            <a:ext cx="199973" cy="150200"/>
          </a:xfrm>
        </p:spPr>
        <p:txBody>
          <a:bodyPr/>
          <a:lstStyle>
            <a:lvl1pPr>
              <a:defRPr>
                <a:solidFill>
                  <a:schemeClr val="bg1"/>
                </a:solidFill>
              </a:defRPr>
            </a:lvl1pPr>
          </a:lstStyle>
          <a:p>
            <a:fld id="{A5163908-529D-4A49-892F-D37C4044DFD8}" type="slidenum">
              <a:rPr lang="en-US" noProof="0" smtClean="0"/>
              <a:pPr/>
              <a:t>‹#›</a:t>
            </a:fld>
            <a:endParaRPr lang="en-US" noProof="0" dirty="0"/>
          </a:p>
        </p:txBody>
      </p:sp>
      <p:pic>
        <p:nvPicPr>
          <p:cNvPr id="18" name="Picture 17">
            <a:extLst>
              <a:ext uri="{FF2B5EF4-FFF2-40B4-BE49-F238E27FC236}">
                <a16:creationId xmlns:a16="http://schemas.microsoft.com/office/drawing/2014/main" id="{4B04BB31-3751-EE42-AD85-15C18A980580}"/>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9" name="Footer Placeholder 4">
            <a:extLst>
              <a:ext uri="{FF2B5EF4-FFF2-40B4-BE49-F238E27FC236}">
                <a16:creationId xmlns:a16="http://schemas.microsoft.com/office/drawing/2014/main" id="{2E323967-404E-AB4C-AC4D-0CDC89DC553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50021F8C-4E5C-3D45-BF5D-F2AF9BAC1C9C}"/>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81430828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 mid-tone blue ">
    <p:bg>
      <p:bgPr>
        <a:gradFill>
          <a:gsLst>
            <a:gs pos="59500">
              <a:srgbClr val="0086C5"/>
            </a:gs>
            <a:gs pos="19000">
              <a:srgbClr val="00629F"/>
            </a:gs>
            <a:gs pos="100000">
              <a:srgbClr val="00A9EB"/>
            </a:gs>
          </a:gsLst>
          <a:lin ang="2100000" scaled="0"/>
        </a:gradFill>
        <a:effectLst/>
      </p:bgPr>
    </p:bg>
    <p:spTree>
      <p:nvGrpSpPr>
        <p:cNvPr id="1" name=""/>
        <p:cNvGrpSpPr/>
        <p:nvPr/>
      </p:nvGrpSpPr>
      <p:grpSpPr>
        <a:xfrm>
          <a:off x="0" y="0"/>
          <a:ext cx="0" cy="0"/>
          <a:chOff x="0" y="0"/>
          <a:chExt cx="0" cy="0"/>
        </a:xfrm>
      </p:grpSpPr>
      <p:sp>
        <p:nvSpPr>
          <p:cNvPr id="11" name="Date Placeholder 4">
            <a:extLst>
              <a:ext uri="{FF2B5EF4-FFF2-40B4-BE49-F238E27FC236}">
                <a16:creationId xmlns:a16="http://schemas.microsoft.com/office/drawing/2014/main" id="{CF684170-CD15-0644-90DE-14C3E2C95BD5}"/>
              </a:ext>
            </a:extLst>
          </p:cNvPr>
          <p:cNvSpPr>
            <a:spLocks noGrp="1"/>
          </p:cNvSpPr>
          <p:nvPr>
            <p:ph type="dt" sz="half" idx="11"/>
          </p:nvPr>
        </p:nvSpPr>
        <p:spPr>
          <a:xfrm>
            <a:off x="504826" y="4884454"/>
            <a:ext cx="718767" cy="107975"/>
          </a:xfrm>
        </p:spPr>
        <p:txBody>
          <a:bodyPr/>
          <a:lstStyle>
            <a:lvl1pPr>
              <a:defRPr>
                <a:solidFill>
                  <a:schemeClr val="bg1"/>
                </a:solidFill>
              </a:defRPr>
            </a:lvl1pPr>
          </a:lstStyle>
          <a:p>
            <a:endParaRPr lang="en-US" noProof="0" dirty="0"/>
          </a:p>
        </p:txBody>
      </p:sp>
      <p:sp>
        <p:nvSpPr>
          <p:cNvPr id="12" name="Footer Placeholder 5">
            <a:extLst>
              <a:ext uri="{FF2B5EF4-FFF2-40B4-BE49-F238E27FC236}">
                <a16:creationId xmlns:a16="http://schemas.microsoft.com/office/drawing/2014/main" id="{200883EC-6C7C-274C-AE4E-CFD99CA9C6C2}"/>
              </a:ext>
            </a:extLst>
          </p:cNvPr>
          <p:cNvSpPr>
            <a:spLocks noGrp="1"/>
          </p:cNvSpPr>
          <p:nvPr>
            <p:ph type="ftr" sz="quarter" idx="12"/>
          </p:nvPr>
        </p:nvSpPr>
        <p:spPr>
          <a:xfrm>
            <a:off x="1948068" y="4884454"/>
            <a:ext cx="3910151" cy="107975"/>
          </a:xfrm>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13" name="Slide Number Placeholder 6">
            <a:extLst>
              <a:ext uri="{FF2B5EF4-FFF2-40B4-BE49-F238E27FC236}">
                <a16:creationId xmlns:a16="http://schemas.microsoft.com/office/drawing/2014/main" id="{792B5FA1-DF99-E442-8EBC-42C77C709B56}"/>
              </a:ext>
            </a:extLst>
          </p:cNvPr>
          <p:cNvSpPr>
            <a:spLocks noGrp="1"/>
          </p:cNvSpPr>
          <p:nvPr>
            <p:ph type="sldNum" sz="quarter" idx="13"/>
          </p:nvPr>
        </p:nvSpPr>
        <p:spPr>
          <a:xfrm>
            <a:off x="182120" y="4864360"/>
            <a:ext cx="199973" cy="150200"/>
          </a:xfrm>
        </p:spPr>
        <p:txBody>
          <a:bodyPr/>
          <a:lstStyle>
            <a:lvl1pPr>
              <a:defRPr>
                <a:solidFill>
                  <a:schemeClr val="bg1"/>
                </a:solidFill>
              </a:defRPr>
            </a:lvl1pPr>
          </a:lstStyle>
          <a:p>
            <a:fld id="{A5163908-529D-4A49-892F-D37C4044DFD8}" type="slidenum">
              <a:rPr lang="en-US" noProof="0" smtClean="0"/>
              <a:pPr/>
              <a:t>‹#›</a:t>
            </a:fld>
            <a:endParaRPr lang="en-US" noProof="0" dirty="0"/>
          </a:p>
        </p:txBody>
      </p:sp>
      <p:pic>
        <p:nvPicPr>
          <p:cNvPr id="19" name="Picture 18">
            <a:extLst>
              <a:ext uri="{FF2B5EF4-FFF2-40B4-BE49-F238E27FC236}">
                <a16:creationId xmlns:a16="http://schemas.microsoft.com/office/drawing/2014/main" id="{F2C2815B-2D21-594A-B627-9046569E9A20}"/>
              </a:ext>
            </a:extLst>
          </p:cNvPr>
          <p:cNvPicPr>
            <a:picLocks noChangeAspect="1"/>
          </p:cNvPicPr>
          <p:nvPr userDrawn="1"/>
        </p:nvPicPr>
        <p:blipFill>
          <a:blip r:embed="rId5"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20" name="Footer Placeholder 4">
            <a:extLst>
              <a:ext uri="{FF2B5EF4-FFF2-40B4-BE49-F238E27FC236}">
                <a16:creationId xmlns:a16="http://schemas.microsoft.com/office/drawing/2014/main" id="{9F0F0025-6299-A044-A653-6354D5DBB32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Slide" r:id="rId6" imgW="479" imgH="478" progId="TCLayout.ActiveDocument.1">
                  <p:embed/>
                </p:oleObj>
              </mc:Choice>
              <mc:Fallback>
                <p:oleObj name="think-cell Slide" r:id="rId6"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5" name="Text Placeholder 9">
            <a:extLst>
              <a:ext uri="{FF2B5EF4-FFF2-40B4-BE49-F238E27FC236}">
                <a16:creationId xmlns:a16="http://schemas.microsoft.com/office/drawing/2014/main" id="{613279F3-F710-B24E-9A7D-299C782C324B}"/>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4988743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ndard tex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3781224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2"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1" name="Footer Placeholder 4">
            <a:extLst>
              <a:ext uri="{FF2B5EF4-FFF2-40B4-BE49-F238E27FC236}">
                <a16:creationId xmlns:a16="http://schemas.microsoft.com/office/drawing/2014/main" id="{79023F51-026D-5E46-9A54-3FB9875B619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A9025032-5E65-0840-928E-8CC0B6A8141B}"/>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50344505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wo conten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331449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6"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CDEDCE0C-F84F-1E4A-ACC3-F4EDF4557EC6}"/>
              </a:ext>
            </a:extLst>
          </p:cNvPr>
          <p:cNvSpPr>
            <a:spLocks noGrp="1"/>
          </p:cNvSpPr>
          <p:nvPr>
            <p:ph type="body" sz="quarter" idx="16"/>
          </p:nvPr>
        </p:nvSpPr>
        <p:spPr>
          <a:xfrm>
            <a:off x="4629600" y="1211263"/>
            <a:ext cx="4006800" cy="3484562"/>
          </a:xfrm>
        </p:spPr>
        <p:txBody>
          <a:bodyPr lIns="0" tIns="0" rIns="108000" bIns="0">
            <a:noAutofit/>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76F0F002-1EDC-2C43-90DE-583DAA8D58C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0D338944-5F6B-8740-B33F-379745744143}"/>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792074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 blu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259327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2" name="Footer Placeholder 4">
            <a:extLst>
              <a:ext uri="{FF2B5EF4-FFF2-40B4-BE49-F238E27FC236}">
                <a16:creationId xmlns:a16="http://schemas.microsoft.com/office/drawing/2014/main" id="{D5D74535-3265-D64A-81E0-73381FFC4CA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Tree>
    <p:extLst>
      <p:ext uri="{BB962C8B-B14F-4D97-AF65-F5344CB8AC3E}">
        <p14:creationId xmlns:p14="http://schemas.microsoft.com/office/powerpoint/2010/main" val="332516496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blue ">
    <p:bg>
      <p:bgPr>
        <a:solidFill>
          <a:srgbClr val="9AD7F9"/>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1864587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4"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r>
              <a:rPr lang="en-US" noProof="0" dirty="0">
                <a:solidFill>
                  <a:schemeClr val="tx1"/>
                </a:solidFill>
              </a:rPr>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3" name="Rectangle 12">
            <a:extLst>
              <a:ext uri="{FF2B5EF4-FFF2-40B4-BE49-F238E27FC236}">
                <a16:creationId xmlns:a16="http://schemas.microsoft.com/office/drawing/2014/main" id="{64B1CE47-33D4-D54E-A336-2A5701982D7C}"/>
              </a:ext>
            </a:extLst>
          </p:cNvPr>
          <p:cNvSpPr/>
          <p:nvPr userDrawn="1"/>
        </p:nvSpPr>
        <p:spPr>
          <a:xfrm>
            <a:off x="2771800" y="2571750"/>
            <a:ext cx="3240360" cy="1008112"/>
          </a:xfrm>
          <a:prstGeom prst="rect">
            <a:avLst/>
          </a:prstGeom>
          <a:solidFill>
            <a:srgbClr val="99D6F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4" name="Footer Placeholder 4">
            <a:extLst>
              <a:ext uri="{FF2B5EF4-FFF2-40B4-BE49-F238E27FC236}">
                <a16:creationId xmlns:a16="http://schemas.microsoft.com/office/drawing/2014/main" id="{F47BF3EC-16CE-A141-8FF7-985EF5BC11A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8" name="Text Placeholder 9">
            <a:extLst>
              <a:ext uri="{FF2B5EF4-FFF2-40B4-BE49-F238E27FC236}">
                <a16:creationId xmlns:a16="http://schemas.microsoft.com/office/drawing/2014/main" id="{5263BCAC-4CA0-974A-9D7E-258AFDAEDBCE}"/>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64176524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6579AC81-C363-A948-A173-2610E0CA6E58}"/>
              </a:ext>
            </a:extLst>
          </p:cNvPr>
          <p:cNvPicPr>
            <a:picLocks noChangeAspect="1"/>
          </p:cNvPicPr>
          <p:nvPr userDrawn="1"/>
        </p:nvPicPr>
        <p:blipFill>
          <a:blip r:embed="rId5"/>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F1A0CBB6-7602-DE40-B831-5A107B3A2C26}"/>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98A4F92F-F20F-6F4A-80DE-BF396AB6B144}"/>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E8785A6D-6D1D-FC43-B2BE-87D984BA4504}"/>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72FA384E-014D-9B44-93C2-668D70BBA4E4}"/>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Slide" r:id="rId6" imgW="479" imgH="478" progId="TCLayout.ActiveDocument.1">
                  <p:embed/>
                </p:oleObj>
              </mc:Choice>
              <mc:Fallback>
                <p:oleObj name="think-cell Slide" r:id="rId6"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36230855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2"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3D2C968-C244-0D49-AD1E-AFCB0A150AE5}"/>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F9891879-481F-9042-86C3-D097F657513E}"/>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300478376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45183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1547664" y="376239"/>
            <a:ext cx="6480324" cy="395311"/>
          </a:xfrm>
          <a:prstGeom prst="rect">
            <a:avLst/>
          </a:prstGeom>
        </p:spPr>
        <p:txBody>
          <a:bodyPr lIns="0" tIns="0" rIns="0" bIns="0"/>
          <a:lstStyle>
            <a:lvl1pPr>
              <a:defRPr sz="2200">
                <a:solidFill>
                  <a:srgbClr val="00629F"/>
                </a:solidFill>
                <a:latin typeface="+mj-lt"/>
              </a:defRPr>
            </a:lvl1pPr>
          </a:lstStyle>
          <a:p>
            <a:endParaRPr lang="en-US" noProof="0" dirty="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a:xfrm>
            <a:off x="3275856" y="4892298"/>
            <a:ext cx="4176464" cy="129088"/>
          </a:xfrm>
        </p:spPr>
        <p:txBody>
          <a:bodyPr/>
          <a:lstStyle>
            <a:lvl1pPr>
              <a:defRPr>
                <a:solidFill>
                  <a:schemeClr val="bg1">
                    <a:lumMod val="50000"/>
                  </a:schemeClr>
                </a:solidFill>
                <a:latin typeface="Neue Frutiger World" panose="020B0603040304020203" pitchFamily="34" charset="0"/>
                <a:cs typeface="Neue Frutiger World" panose="020B0603040304020203" pitchFamily="34" charset="0"/>
              </a:defRPr>
            </a:lvl1pPr>
          </a:lstStyle>
          <a:p>
            <a:r>
              <a:rPr lang="en-US"/>
              <a:t>©2021 Koninklijke Philips N.V. All rights reserved. Approved for internal distribution. D2021120801</a:t>
            </a:r>
            <a:endParaRPr lang="en-US" dirty="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a:xfrm>
            <a:off x="1547664" y="4871186"/>
            <a:ext cx="199973" cy="150200"/>
          </a:xfrm>
        </p:spPr>
        <p:txBody>
          <a:bodyPr/>
          <a:lstStyle>
            <a:lvl1pPr>
              <a:defRPr>
                <a:solidFill>
                  <a:schemeClr val="bg1">
                    <a:lumMod val="50000"/>
                  </a:schemeClr>
                </a:solidFill>
                <a:latin typeface="+mn-lt"/>
              </a:defRPr>
            </a:lvl1pPr>
          </a:lstStyle>
          <a:p>
            <a:fld id="{A5163908-529D-4A49-892F-D37C4044DFD8}" type="slidenum">
              <a:rPr lang="en-US" smtClean="0"/>
              <a:pPr/>
              <a:t>‹#›</a:t>
            </a:fld>
            <a:endParaRPr lang="en-US" dirty="0"/>
          </a:p>
        </p:txBody>
      </p:sp>
      <p:sp>
        <p:nvSpPr>
          <p:cNvPr id="12" name="Text Placeholder 9">
            <a:extLst>
              <a:ext uri="{FF2B5EF4-FFF2-40B4-BE49-F238E27FC236}">
                <a16:creationId xmlns:a16="http://schemas.microsoft.com/office/drawing/2014/main" id="{B2282174-65D2-744A-B154-E872792C7B27}"/>
              </a:ext>
            </a:extLst>
          </p:cNvPr>
          <p:cNvSpPr>
            <a:spLocks noGrp="1"/>
          </p:cNvSpPr>
          <p:nvPr>
            <p:ph type="body" sz="quarter" idx="14"/>
          </p:nvPr>
        </p:nvSpPr>
        <p:spPr>
          <a:xfrm>
            <a:off x="1547664" y="843558"/>
            <a:ext cx="7093100" cy="3852505"/>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
        <p:nvSpPr>
          <p:cNvPr id="6" name="Rectangle 5">
            <a:hlinkClick r:id="rId7" action="ppaction://hlinksldjump"/>
            <a:extLst>
              <a:ext uri="{FF2B5EF4-FFF2-40B4-BE49-F238E27FC236}">
                <a16:creationId xmlns:a16="http://schemas.microsoft.com/office/drawing/2014/main" id="{069C4C6F-9562-43DF-B127-11444BBA31E7}"/>
              </a:ext>
            </a:extLst>
          </p:cNvPr>
          <p:cNvSpPr/>
          <p:nvPr userDrawn="1"/>
        </p:nvSpPr>
        <p:spPr>
          <a:xfrm>
            <a:off x="35496" y="195486"/>
            <a:ext cx="1080120" cy="10800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hlinkClick r:id="rId8" action="ppaction://hlinksldjump"/>
            <a:extLst>
              <a:ext uri="{FF2B5EF4-FFF2-40B4-BE49-F238E27FC236}">
                <a16:creationId xmlns:a16="http://schemas.microsoft.com/office/drawing/2014/main" id="{279E061E-0EEA-45A5-BFE4-BC59EF3A517A}"/>
              </a:ext>
            </a:extLst>
          </p:cNvPr>
          <p:cNvSpPr/>
          <p:nvPr userDrawn="1"/>
        </p:nvSpPr>
        <p:spPr>
          <a:xfrm>
            <a:off x="73824" y="347886"/>
            <a:ext cx="1080120" cy="10800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B81581F-C49D-4038-846B-D2C4BF58D145}"/>
              </a:ext>
            </a:extLst>
          </p:cNvPr>
          <p:cNvSpPr/>
          <p:nvPr userDrawn="1"/>
        </p:nvSpPr>
        <p:spPr>
          <a:xfrm>
            <a:off x="7884368" y="4803998"/>
            <a:ext cx="1187624" cy="272314"/>
          </a:xfrm>
          <a:prstGeom prst="rect">
            <a:avLst/>
          </a:prstGeom>
          <a:solidFill>
            <a:schemeClr val="bg1"/>
          </a:solidFill>
          <a:ln w="254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995433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ndard tex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54A82FD8-C123-6C4B-8DBE-9837122C55EC}"/>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45AC5C26-E5A8-3C47-93EB-265662C7ABD5}"/>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69516955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nten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0"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5" name="Footer Placeholder 4">
            <a:extLst>
              <a:ext uri="{FF2B5EF4-FFF2-40B4-BE49-F238E27FC236}">
                <a16:creationId xmlns:a16="http://schemas.microsoft.com/office/drawing/2014/main" id="{CBAEF666-6359-5147-A05F-BA3CE32B16B7}"/>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CF82B835-5158-3F45-A2C4-061F625ECB82}"/>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7" name="Text Placeholder 9">
            <a:extLst>
              <a:ext uri="{FF2B5EF4-FFF2-40B4-BE49-F238E27FC236}">
                <a16:creationId xmlns:a16="http://schemas.microsoft.com/office/drawing/2014/main" id="{C4E03471-5FE6-D74B-9540-92B9C4D01D9A}"/>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1104134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only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4"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315E7E6A-5494-3142-B269-7544F9FE7C8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Tree>
    <p:extLst>
      <p:ext uri="{BB962C8B-B14F-4D97-AF65-F5344CB8AC3E}">
        <p14:creationId xmlns:p14="http://schemas.microsoft.com/office/powerpoint/2010/main" val="391636869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aqua ">
    <p:bg>
      <p:bgPr>
        <a:solidFill>
          <a:srgbClr val="7EDDDE"/>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8"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r>
              <a:rPr lang="en-US" noProof="0" dirty="0">
                <a:solidFill>
                  <a:schemeClr val="tx1"/>
                </a:solidFill>
              </a:rPr>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F811A9D1-DBF1-C14E-991F-72D578D7466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0D900186-F920-6143-855B-886099E8ADF2}"/>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3767077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05BBF4A6-8DDC-2E4C-96CF-51EBD1E6D017}"/>
              </a:ext>
            </a:extLst>
          </p:cNvPr>
          <p:cNvPicPr>
            <a:picLocks noChangeAspect="1"/>
          </p:cNvPicPr>
          <p:nvPr userDrawn="1"/>
        </p:nvPicPr>
        <p:blipFill>
          <a:blip r:embed="rId5"/>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FB8A8EB-436C-6845-86B7-D6FDC99FC0BD}"/>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2AE0E691-8886-0E40-9EA4-B3F26CBD0720}"/>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6D863537-6FEA-BE40-BF38-7FB3EB702FA4}"/>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4128E57D-867F-FB4E-9580-AC8A24BC564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2" name="think-cell Slide" r:id="rId6" imgW="479" imgH="478" progId="TCLayout.ActiveDocument.1">
                  <p:embed/>
                </p:oleObj>
              </mc:Choice>
              <mc:Fallback>
                <p:oleObj name="think-cell Slide" r:id="rId6"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03391432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23029DE3-64CC-1E40-9F25-0CCA08B61EA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C4CEB893-B518-6041-B6CB-4CBC6971C414}"/>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86284836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tandard tex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C915394F-6FD1-B44A-8BC5-25A08530D6B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1115E60C-9A7F-7F49-933E-B7F92FC68E59}"/>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03297927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nten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4"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C2B1E0AD-84FA-5242-9A46-D758468C9A8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E0D12D96-2291-5F4D-BBAF-D4B2125B993F}"/>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5203905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8"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2EDD577C-F99F-FA4F-9FB5-A0C6AA0A7B9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Tree>
    <p:extLst>
      <p:ext uri="{BB962C8B-B14F-4D97-AF65-F5344CB8AC3E}">
        <p14:creationId xmlns:p14="http://schemas.microsoft.com/office/powerpoint/2010/main" val="420501955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green ">
    <p:bg>
      <p:bgPr>
        <a:solidFill>
          <a:srgbClr val="A0DAB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2"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057255F6-8C21-744F-8D92-C06DDC109BEC}"/>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3C389B14-2D49-EE42-981F-30A66F75FB34}"/>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89767285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253341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defRPr sz="2400">
                <a:solidFill>
                  <a:srgbClr val="00629F"/>
                </a:solidFill>
              </a:defRPr>
            </a:lvl1pPr>
          </a:lstStyle>
          <a:p>
            <a:endParaRPr lang="en-US" noProof="0" dirty="0"/>
          </a:p>
        </p:txBody>
      </p:sp>
      <p:sp>
        <p:nvSpPr>
          <p:cNvPr id="11" name="Text Placeholder 9">
            <a:extLst>
              <a:ext uri="{FF2B5EF4-FFF2-40B4-BE49-F238E27FC236}">
                <a16:creationId xmlns:a16="http://schemas.microsoft.com/office/drawing/2014/main" id="{CBA8BC5E-E6A4-8645-A260-7CADE8CBCF6E}"/>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ext Placeholder 9">
            <a:extLst>
              <a:ext uri="{FF2B5EF4-FFF2-40B4-BE49-F238E27FC236}">
                <a16:creationId xmlns:a16="http://schemas.microsoft.com/office/drawing/2014/main" id="{6C02D2E6-100E-1F4B-9A7C-96F564657704}"/>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tx1"/>
              </a:buClr>
              <a:defRPr sz="1400" b="0" i="0">
                <a:solidFill>
                  <a:schemeClr val="tx1"/>
                </a:solidFill>
                <a:latin typeface="+mn-lt"/>
                <a:cs typeface="Calibri Light" panose="020F0302020204030204" pitchFamily="34" charset="0"/>
              </a:defRPr>
            </a:lvl1pPr>
            <a:lvl2pPr>
              <a:lnSpc>
                <a:spcPct val="100000"/>
              </a:lnSpc>
              <a:buClr>
                <a:schemeClr val="tx1"/>
              </a:buClr>
              <a:defRPr sz="1200" b="0" i="0">
                <a:solidFill>
                  <a:schemeClr val="tx1"/>
                </a:solidFill>
                <a:latin typeface="+mn-lt"/>
                <a:cs typeface="Calibri Light" panose="020F0302020204030204" pitchFamily="34" charset="0"/>
              </a:defRPr>
            </a:lvl2pPr>
            <a:lvl3pPr>
              <a:lnSpc>
                <a:spcPct val="100000"/>
              </a:lnSpc>
              <a:buClr>
                <a:schemeClr val="tx1"/>
              </a:buClr>
              <a:defRPr sz="1050" b="0" i="0">
                <a:solidFill>
                  <a:schemeClr val="tx1"/>
                </a:solidFill>
                <a:latin typeface="+mn-lt"/>
                <a:cs typeface="Calibri Light" panose="020F0302020204030204" pitchFamily="34" charset="0"/>
              </a:defRPr>
            </a:lvl3pPr>
            <a:lvl4pPr>
              <a:lnSpc>
                <a:spcPct val="100000"/>
              </a:lnSpc>
              <a:buClr>
                <a:schemeClr val="tx1"/>
              </a:buClr>
              <a:defRPr sz="1000" b="0" i="0">
                <a:solidFill>
                  <a:schemeClr val="tx1"/>
                </a:solidFill>
                <a:latin typeface="+mn-lt"/>
                <a:cs typeface="Calibri Light" panose="020F0302020204030204" pitchFamily="34" charset="0"/>
              </a:defRPr>
            </a:lvl4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Tree>
    <p:extLst>
      <p:ext uri="{BB962C8B-B14F-4D97-AF65-F5344CB8AC3E}">
        <p14:creationId xmlns:p14="http://schemas.microsoft.com/office/powerpoint/2010/main" val="254872193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88AE024E-D1DE-C94C-9CD8-854D4BCAA9B1}"/>
              </a:ext>
            </a:extLst>
          </p:cNvPr>
          <p:cNvPicPr>
            <a:picLocks noChangeAspect="1"/>
          </p:cNvPicPr>
          <p:nvPr userDrawn="1"/>
        </p:nvPicPr>
        <p:blipFill>
          <a:blip r:embed="rId5"/>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908D519-DB29-5745-B29A-73745ED259B2}"/>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07EDB387-9FED-7D4A-9D4B-F0FEF66D69E8}"/>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DCE77903-9A5C-CD4A-BFFA-94D952A945DA}"/>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7C1FB469-169F-6145-9457-2AD3FA7D036A}"/>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6" name="think-cell Slide" r:id="rId6" imgW="479" imgH="478" progId="TCLayout.ActiveDocument.1">
                  <p:embed/>
                </p:oleObj>
              </mc:Choice>
              <mc:Fallback>
                <p:oleObj name="think-cell Slide" r:id="rId6"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40959524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0"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FA0C0B3-F2D9-E64F-8BD1-FB651108C6E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AB368F29-A0F3-CB41-8BE8-8BBB19E488C6}"/>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70903148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ndard tex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4"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1EB9AEEA-C1D8-F744-818F-1B46877C98D0}"/>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BD88AF71-7FE9-C34C-BA7E-DCB255248016}"/>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0956133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wo conten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8"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0604DC70-6B27-494D-96E0-FD89F9EE6A3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0B597171-0B66-7940-8E37-08BEE9007F8B}"/>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3503578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bg>
      <p:bgPr>
        <a:solidFill>
          <a:srgbClr val="DE7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2"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E46D74D1-4655-1543-8CF6-6BF7823C4521}"/>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Tree>
    <p:extLst>
      <p:ext uri="{BB962C8B-B14F-4D97-AF65-F5344CB8AC3E}">
        <p14:creationId xmlns:p14="http://schemas.microsoft.com/office/powerpoint/2010/main" val="40227600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orange ">
    <p:bg>
      <p:bgPr>
        <a:solidFill>
          <a:srgbClr val="FDD37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6"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US" noProof="0"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r>
              <a:rPr lang="en-US" noProof="0" dirty="0">
                <a:solidFill>
                  <a:schemeClr val="tx2"/>
                </a:solidFill>
              </a:rPr>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D5C94CFF-D91A-4F41-8BA6-E95F1752CCD8}"/>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0FFAD38-CDC2-B446-A69B-6AE99B7F17AA}"/>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13834407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F2A7186A-964A-EB4F-9789-044D19D95B0B}"/>
              </a:ext>
            </a:extLst>
          </p:cNvPr>
          <p:cNvPicPr>
            <a:picLocks noChangeAspect="1"/>
          </p:cNvPicPr>
          <p:nvPr userDrawn="1"/>
        </p:nvPicPr>
        <p:blipFill>
          <a:blip r:embed="rId5"/>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0127F79B-1E65-DD48-B267-7AFEB6BBE223}"/>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920A9773-912D-6D4A-A0AE-90D94C6C65F8}"/>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B340A695-565C-C043-A4B4-C207135F1A1B}"/>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B239C626-9C15-2643-A855-1774CFA00034}"/>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0" name="think-cell Slide" r:id="rId6" imgW="479" imgH="478" progId="TCLayout.ActiveDocument.1">
                  <p:embed/>
                </p:oleObj>
              </mc:Choice>
              <mc:Fallback>
                <p:oleObj name="think-cell Slide" r:id="rId6"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34451841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4"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5D31B981-DD0B-5D4C-8417-F2DDB9BFD56A}"/>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0D286636-2880-ED4E-BBAA-D8B224CAD920}"/>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40561767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tandard tex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8"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E1BA89A-E5A3-F641-B25E-4A811196930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901DB0F5-C84F-CC4F-AF5C-9DB1CBA15779}"/>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8963872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nten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2"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8C348877-476A-6B4C-A12D-64D2709CD87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A9AFBC0C-67B5-B845-B0A6-CCF7CFE846D7}"/>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4138674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2283829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lnSpc>
                <a:spcPct val="100000"/>
              </a:lnSpc>
              <a:defRPr sz="2400">
                <a:solidFill>
                  <a:srgbClr val="00629F"/>
                </a:solidFill>
              </a:defRPr>
            </a:lvl1pPr>
          </a:lstStyle>
          <a:p>
            <a:endParaRPr lang="en-US" noProof="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endParaRPr lang="en-US" noProof="0" dirty="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p:txBody>
          <a:bodyPr/>
          <a:lstStyle>
            <a:lvl1pPr>
              <a:defRPr>
                <a:solidFill>
                  <a:schemeClr val="tx1"/>
                </a:solidFill>
                <a:latin typeface="+mn-lt"/>
              </a:defRPr>
            </a:lvl1pPr>
          </a:lstStyle>
          <a:p>
            <a:r>
              <a:rPr lang="en-US" noProof="0" dirty="0"/>
              <a:t>©2021 Koninklijke Philips N.V. All rights reserved. Approved for internal distribution. D2021120801</a:t>
            </a:r>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US" noProof="0" smtClean="0"/>
              <a:pPr/>
              <a:t>‹#›</a:t>
            </a:fld>
            <a:endParaRPr lang="en-US" noProof="0" dirty="0"/>
          </a:p>
        </p:txBody>
      </p:sp>
    </p:spTree>
    <p:extLst>
      <p:ext uri="{BB962C8B-B14F-4D97-AF65-F5344CB8AC3E}">
        <p14:creationId xmlns:p14="http://schemas.microsoft.com/office/powerpoint/2010/main" val="406447332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only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6"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5E7A9680-8254-064D-82E7-A42090B7D70A}"/>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Tree>
    <p:extLst>
      <p:ext uri="{BB962C8B-B14F-4D97-AF65-F5344CB8AC3E}">
        <p14:creationId xmlns:p14="http://schemas.microsoft.com/office/powerpoint/2010/main" val="123605685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magenta ">
    <p:bg>
      <p:bgPr>
        <a:solidFill>
          <a:srgbClr val="EABED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0"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US" noProof="0"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r>
              <a:rPr lang="en-US" noProof="0" dirty="0">
                <a:solidFill>
                  <a:schemeClr val="tx2"/>
                </a:solidFill>
              </a:rPr>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232576B3-A440-3948-B537-27709157EB01}"/>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B673564-5C8F-924B-865D-42FDB779244F}"/>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77885949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1BB80A2C-1391-9F42-89CA-3283D0122709}"/>
              </a:ext>
            </a:extLst>
          </p:cNvPr>
          <p:cNvPicPr>
            <a:picLocks noChangeAspect="1"/>
          </p:cNvPicPr>
          <p:nvPr userDrawn="1"/>
        </p:nvPicPr>
        <p:blipFill>
          <a:blip r:embed="rId5"/>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B725152D-96F4-C548-8A29-98FC76577403}"/>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a:t>_Author</a:t>
            </a:r>
          </a:p>
        </p:txBody>
      </p:sp>
      <p:sp>
        <p:nvSpPr>
          <p:cNvPr id="14" name="Text Placeholder 3">
            <a:extLst>
              <a:ext uri="{FF2B5EF4-FFF2-40B4-BE49-F238E27FC236}">
                <a16:creationId xmlns:a16="http://schemas.microsoft.com/office/drawing/2014/main" id="{AFA72A02-B72F-AA46-A1B9-972C4E491110}"/>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Business</a:t>
            </a:r>
          </a:p>
        </p:txBody>
      </p:sp>
      <p:sp>
        <p:nvSpPr>
          <p:cNvPr id="15" name="Text Placeholder 3">
            <a:extLst>
              <a:ext uri="{FF2B5EF4-FFF2-40B4-BE49-F238E27FC236}">
                <a16:creationId xmlns:a16="http://schemas.microsoft.com/office/drawing/2014/main" id="{9BE3F0DA-D8A1-4C4E-B6E8-DA8D240EF83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a:t>_Date</a:t>
            </a:r>
          </a:p>
        </p:txBody>
      </p:sp>
      <p:sp>
        <p:nvSpPr>
          <p:cNvPr id="16" name="Text Placeholder 3">
            <a:extLst>
              <a:ext uri="{FF2B5EF4-FFF2-40B4-BE49-F238E27FC236}">
                <a16:creationId xmlns:a16="http://schemas.microsoft.com/office/drawing/2014/main" id="{FCDE3264-E045-0641-A1A3-A1E80BC0E425}"/>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4" name="think-cell Slide" r:id="rId6" imgW="479" imgH="478" progId="TCLayout.ActiveDocument.1">
                  <p:embed/>
                </p:oleObj>
              </mc:Choice>
              <mc:Fallback>
                <p:oleObj name="think-cell Slide" r:id="rId6"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60848415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8"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9CAD6624-CFD3-DE4F-9CE8-5EA1C453A87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5F89A81F-5DBF-634D-A753-E2383D9012F5}"/>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57207831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tandard text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2"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05406B4-D089-FF4F-8963-A2FC70C89784}"/>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A523F0ED-CB93-DE48-AFB9-A53AD558356E}"/>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89913291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 content - purple ">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6"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5" name="Footer Placeholder 4">
            <a:extLst>
              <a:ext uri="{FF2B5EF4-FFF2-40B4-BE49-F238E27FC236}">
                <a16:creationId xmlns:a16="http://schemas.microsoft.com/office/drawing/2014/main" id="{AFBDA501-D362-2A4F-A6ED-4245831FDEA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243130FA-B170-8448-BE52-8B7BFBDA9E8C}"/>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819669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only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0"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AD822C79-3554-5A4B-9209-FC2B5267AA88}"/>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Tree>
    <p:extLst>
      <p:ext uri="{BB962C8B-B14F-4D97-AF65-F5344CB8AC3E}">
        <p14:creationId xmlns:p14="http://schemas.microsoft.com/office/powerpoint/2010/main" val="246373964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purple">
    <p:bg>
      <p:bgPr>
        <a:solidFill>
          <a:srgbClr val="C1A0E8"/>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4"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US" noProof="0"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r>
              <a:rPr lang="en-US" noProof="0" dirty="0">
                <a:solidFill>
                  <a:schemeClr val="tx2"/>
                </a:solidFill>
              </a:rPr>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US" noProof="0" smtClean="0"/>
              <a:pPr/>
              <a:t>‹#›</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7"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3431FD78-9D96-9849-AB18-46CC54BF0B00}"/>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F7567609-5959-4141-B4DA-A1F5F678EFFB}"/>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299451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userDrawn="1">
            <p:custDataLst>
              <p:tags r:id="rId2"/>
            </p:custDataLst>
            <p:extLst>
              <p:ext uri="{D42A27DB-BD31-4B8C-83A1-F6EECF244321}">
                <p14:modId xmlns:p14="http://schemas.microsoft.com/office/powerpoint/2010/main" val="2110378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8" name="think-cell Slide" r:id="rId6" imgW="479" imgH="478" progId="TCLayout.ActiveDocument.1">
                  <p:embed/>
                </p:oleObj>
              </mc:Choice>
              <mc:Fallback>
                <p:oleObj name="think-cell Slide" r:id="rId6" imgW="479" imgH="478" progId="TCLayout.ActiveDocument.1">
                  <p:embed/>
                  <p:pic>
                    <p:nvPicPr>
                      <p:cNvPr id="9" name="Object 8" hidden="1">
                        <a:extLst>
                          <a:ext uri="{FF2B5EF4-FFF2-40B4-BE49-F238E27FC236}">
                            <a16:creationId xmlns:a16="http://schemas.microsoft.com/office/drawing/2014/main" id="{D750CE0E-F179-458C-AEB1-36BDA9AF42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Content, unit measurement</a:t>
            </a:r>
          </a:p>
        </p:txBody>
      </p:sp>
      <p:cxnSp>
        <p:nvCxnSpPr>
          <p:cNvPr id="13" name="Straight Connector 17">
            <a:extLst>
              <a:ext uri="{FF2B5EF4-FFF2-40B4-BE49-F238E27FC236}">
                <a16:creationId xmlns:a16="http://schemas.microsoft.com/office/drawing/2014/main" id="{C4A983AC-6F9B-471B-87E8-D4505A31FE4E}"/>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94456" y="948267"/>
            <a:ext cx="8955089" cy="377613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3" name="Date Placeholder 2">
            <a:extLst>
              <a:ext uri="{FF2B5EF4-FFF2-40B4-BE49-F238E27FC236}">
                <a16:creationId xmlns:a16="http://schemas.microsoft.com/office/drawing/2014/main" id="{12A3B99A-F127-9346-BD1E-5E71BD5CE196}"/>
              </a:ext>
            </a:extLst>
          </p:cNvPr>
          <p:cNvSpPr>
            <a:spLocks noGrp="1"/>
          </p:cNvSpPr>
          <p:nvPr>
            <p:ph type="dt" sz="half" idx="30"/>
          </p:nvPr>
        </p:nvSpPr>
        <p:spPr/>
        <p:txBody>
          <a:bodyPr/>
          <a:lstStyle/>
          <a:p>
            <a:endParaRPr lang="en-US" noProof="0" dirty="0">
              <a:solidFill>
                <a:schemeClr val="tx1"/>
              </a:solidFill>
            </a:endParaRPr>
          </a:p>
        </p:txBody>
      </p:sp>
      <p:sp>
        <p:nvSpPr>
          <p:cNvPr id="7" name="Footer Placeholder 6">
            <a:extLst>
              <a:ext uri="{FF2B5EF4-FFF2-40B4-BE49-F238E27FC236}">
                <a16:creationId xmlns:a16="http://schemas.microsoft.com/office/drawing/2014/main" id="{3A0BD20F-1F50-6A4D-99F6-9DA774AC2A4E}"/>
              </a:ext>
            </a:extLst>
          </p:cNvPr>
          <p:cNvSpPr>
            <a:spLocks noGrp="1"/>
          </p:cNvSpPr>
          <p:nvPr>
            <p:ph type="ftr" sz="quarter" idx="31"/>
          </p:nvPr>
        </p:nvSpPr>
        <p:spPr/>
        <p:txBody>
          <a:bodyPr/>
          <a:lstStyle/>
          <a:p>
            <a:r>
              <a:rPr lang="en-US" noProof="0" dirty="0"/>
              <a:t>©2021 Koninklijke Philips N.V. All rights reserved. Approved for internal distribution. D2021120801</a:t>
            </a:r>
          </a:p>
        </p:txBody>
      </p:sp>
      <p:sp>
        <p:nvSpPr>
          <p:cNvPr id="18" name="Slide Number Placeholder 17">
            <a:extLst>
              <a:ext uri="{FF2B5EF4-FFF2-40B4-BE49-F238E27FC236}">
                <a16:creationId xmlns:a16="http://schemas.microsoft.com/office/drawing/2014/main" id="{C5230213-6661-3D4D-8989-3D83676989A5}"/>
              </a:ext>
            </a:extLst>
          </p:cNvPr>
          <p:cNvSpPr>
            <a:spLocks noGrp="1"/>
          </p:cNvSpPr>
          <p:nvPr>
            <p:ph type="sldNum" sz="quarter" idx="32"/>
          </p:nvPr>
        </p:nvSpPr>
        <p:spPr/>
        <p:txBody>
          <a:bodyPr/>
          <a:lstStyle/>
          <a:p>
            <a:fld id="{A5163908-529D-4A49-892F-D37C4044DFD8}" type="slidenum">
              <a:rPr lang="en-US" noProof="0" smtClean="0"/>
              <a:pPr/>
              <a:t>‹#›</a:t>
            </a:fld>
            <a:endParaRPr lang="en-US" noProof="0" dirty="0"/>
          </a:p>
        </p:txBody>
      </p:sp>
    </p:spTree>
    <p:extLst>
      <p:ext uri="{BB962C8B-B14F-4D97-AF65-F5344CB8AC3E}">
        <p14:creationId xmlns:p14="http://schemas.microsoft.com/office/powerpoint/2010/main" val="19347175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userDrawn="1">
            <p:custDataLst>
              <p:tags r:id="rId2"/>
            </p:custDataLst>
            <p:extLst>
              <p:ext uri="{D42A27DB-BD31-4B8C-83A1-F6EECF244321}">
                <p14:modId xmlns:p14="http://schemas.microsoft.com/office/powerpoint/2010/main" val="3157532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2" name="think-cell Slide" r:id="rId6" imgW="479" imgH="478" progId="TCLayout.ActiveDocument.1">
                  <p:embed/>
                </p:oleObj>
              </mc:Choice>
              <mc:Fallback>
                <p:oleObj name="think-cell Slide" r:id="rId6" imgW="479" imgH="478" progId="TCLayout.ActiveDocument.1">
                  <p:embed/>
                  <p:pic>
                    <p:nvPicPr>
                      <p:cNvPr id="4" name="Object 3" hidden="1">
                        <a:extLst>
                          <a:ext uri="{FF2B5EF4-FFF2-40B4-BE49-F238E27FC236}">
                            <a16:creationId xmlns:a16="http://schemas.microsoft.com/office/drawing/2014/main" id="{4AB418BD-1930-49DC-9A84-0178614669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23" name="Text Placeholder 2"/>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15" name="Text Placeholder 2"/>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8" name="Text Placeholder 2"/>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24"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p:txBody>
          <a:bodyPr/>
          <a:lstStyle/>
          <a:p>
            <a:endParaRPr lang="en-US" noProof="0" dirty="0"/>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p:txBody>
          <a:bodyPr/>
          <a:lstStyle/>
          <a:p>
            <a:r>
              <a:rPr lang="en-US" noProof="0" dirty="0"/>
              <a:t>©2021 Koninklijke Philips N.V. All rights reserved. Approved for internal distribution. D2021120801</a:t>
            </a:r>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US" noProof="0" smtClean="0"/>
              <a:pPr/>
              <a:t>‹#›</a:t>
            </a:fld>
            <a:endParaRPr lang="en-US" noProof="0" dirty="0"/>
          </a:p>
        </p:txBody>
      </p:sp>
      <p:cxnSp>
        <p:nvCxnSpPr>
          <p:cNvPr id="14" name="Straight Connector 17">
            <a:extLst>
              <a:ext uri="{FF2B5EF4-FFF2-40B4-BE49-F238E27FC236}">
                <a16:creationId xmlns:a16="http://schemas.microsoft.com/office/drawing/2014/main" id="{073504F8-A36C-4A96-9962-DBD59D731B7C}"/>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94456" y="948268"/>
            <a:ext cx="8955089" cy="377613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4494894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orient="horz" pos="534">
          <p15:clr>
            <a:srgbClr val="FBAE40"/>
          </p15:clr>
        </p15:guide>
        <p15:guide id="3" pos="5697">
          <p15:clr>
            <a:srgbClr val="FBAE40"/>
          </p15:clr>
        </p15:guide>
        <p15:guide id="4" orient="horz" pos="393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3437664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latin typeface="+mn-lt"/>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US" noProof="0" smtClean="0"/>
              <a:pPr/>
              <a:t>‹#›</a:t>
            </a:fld>
            <a:endParaRPr lang="en-US" noProof="0" dirty="0"/>
          </a:p>
        </p:txBody>
      </p:sp>
    </p:spTree>
    <p:extLst>
      <p:ext uri="{BB962C8B-B14F-4D97-AF65-F5344CB8AC3E}">
        <p14:creationId xmlns:p14="http://schemas.microsoft.com/office/powerpoint/2010/main" val="400369799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userDrawn="1">
            <p:custDataLst>
              <p:tags r:id="rId2"/>
            </p:custDataLst>
            <p:extLst>
              <p:ext uri="{D42A27DB-BD31-4B8C-83A1-F6EECF244321}">
                <p14:modId xmlns:p14="http://schemas.microsoft.com/office/powerpoint/2010/main" val="216675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6" name="think-cell Slide" r:id="rId6" imgW="479" imgH="478" progId="TCLayout.ActiveDocument.1">
                  <p:embed/>
                </p:oleObj>
              </mc:Choice>
              <mc:Fallback>
                <p:oleObj name="think-cell Slide" r:id="rId6" imgW="479" imgH="478" progId="TCLayout.ActiveDocument.1">
                  <p:embed/>
                  <p:pic>
                    <p:nvPicPr>
                      <p:cNvPr id="3" name="Object 2" hidden="1">
                        <a:extLst>
                          <a:ext uri="{FF2B5EF4-FFF2-40B4-BE49-F238E27FC236}">
                            <a16:creationId xmlns:a16="http://schemas.microsoft.com/office/drawing/2014/main" id="{70C896B7-FACB-4D7B-A4F4-8CE484CBAD4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p:txBody>
          <a:bodyPr/>
          <a:lstStyle/>
          <a:p>
            <a:endParaRPr lang="en-US" noProof="0" dirty="0"/>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p:txBody>
          <a:bodyPr/>
          <a:lstStyle/>
          <a:p>
            <a:r>
              <a:rPr lang="en-US" noProof="0" dirty="0"/>
              <a:t>©2021 Koninklijke Philips N.V. All rights reserved. Approved for internal distribution. D2021120801</a:t>
            </a:r>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US" noProof="0" smtClean="0"/>
              <a:pPr/>
              <a:t>‹#›</a:t>
            </a:fld>
            <a:endParaRPr lang="en-US" noProof="0" dirty="0"/>
          </a:p>
        </p:txBody>
      </p:sp>
      <p:cxnSp>
        <p:nvCxnSpPr>
          <p:cNvPr id="13" name="Straight Connector 17">
            <a:extLst>
              <a:ext uri="{FF2B5EF4-FFF2-40B4-BE49-F238E27FC236}">
                <a16:creationId xmlns:a16="http://schemas.microsoft.com/office/drawing/2014/main" id="{8CA4B699-1B76-42B1-970D-8B5F927F5D43}"/>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80735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userDrawn="1">
            <p:custDataLst>
              <p:tags r:id="rId2"/>
            </p:custDataLst>
            <p:extLst>
              <p:ext uri="{D42A27DB-BD31-4B8C-83A1-F6EECF244321}">
                <p14:modId xmlns:p14="http://schemas.microsoft.com/office/powerpoint/2010/main" val="356806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0" name="think-cell Slide" r:id="rId6" imgW="479" imgH="478" progId="TCLayout.ActiveDocument.1">
                  <p:embed/>
                </p:oleObj>
              </mc:Choice>
              <mc:Fallback>
                <p:oleObj name="think-cell Slide" r:id="rId6" imgW="479" imgH="478" progId="TCLayout.ActiveDocument.1">
                  <p:embed/>
                  <p:pic>
                    <p:nvPicPr>
                      <p:cNvPr id="3" name="Object 2" hidden="1">
                        <a:extLst>
                          <a:ext uri="{FF2B5EF4-FFF2-40B4-BE49-F238E27FC236}">
                            <a16:creationId xmlns:a16="http://schemas.microsoft.com/office/drawing/2014/main" id="{E147BB81-5ED6-4620-B6AB-9F7CAE2CB6E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p:txBody>
          <a:bodyPr/>
          <a:lstStyle/>
          <a:p>
            <a:endParaRPr lang="en-US" noProof="0" dirty="0"/>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p:txBody>
          <a:body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US" noProof="0" smtClean="0"/>
              <a:pPr/>
              <a:t>‹#›</a:t>
            </a:fld>
            <a:endParaRPr lang="en-US" noProof="0" dirty="0"/>
          </a:p>
        </p:txBody>
      </p:sp>
      <p:cxnSp>
        <p:nvCxnSpPr>
          <p:cNvPr id="9" name="Straight Connector 17">
            <a:extLst>
              <a:ext uri="{FF2B5EF4-FFF2-40B4-BE49-F238E27FC236}">
                <a16:creationId xmlns:a16="http://schemas.microsoft.com/office/drawing/2014/main" id="{50CCBDD5-A078-4F63-AC4E-A4BB95B75007}"/>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77947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userDrawn="1">
            <p:custDataLst>
              <p:tags r:id="rId2"/>
            </p:custDataLst>
            <p:extLst>
              <p:ext uri="{D42A27DB-BD31-4B8C-83A1-F6EECF244321}">
                <p14:modId xmlns:p14="http://schemas.microsoft.com/office/powerpoint/2010/main" val="396276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4" name="think-cell Slide" r:id="rId6" imgW="479" imgH="478" progId="TCLayout.ActiveDocument.1">
                  <p:embed/>
                </p:oleObj>
              </mc:Choice>
              <mc:Fallback>
                <p:oleObj name="think-cell Slide" r:id="rId6" imgW="479" imgH="478" progId="TCLayout.ActiveDocument.1">
                  <p:embed/>
                  <p:pic>
                    <p:nvPicPr>
                      <p:cNvPr id="3" name="Object 2" hidden="1">
                        <a:extLst>
                          <a:ext uri="{FF2B5EF4-FFF2-40B4-BE49-F238E27FC236}">
                            <a16:creationId xmlns:a16="http://schemas.microsoft.com/office/drawing/2014/main" id="{8A73966E-CFE3-49CC-B52A-C5B637544F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p:txBody>
          <a:bodyPr/>
          <a:lstStyle/>
          <a:p>
            <a:endParaRPr lang="en-US" noProof="0" dirty="0"/>
          </a:p>
        </p:txBody>
      </p:sp>
      <p:sp>
        <p:nvSpPr>
          <p:cNvPr id="6" name="Footer Placeholder 5">
            <a:extLst>
              <a:ext uri="{FF2B5EF4-FFF2-40B4-BE49-F238E27FC236}">
                <a16:creationId xmlns:a16="http://schemas.microsoft.com/office/drawing/2014/main" id="{2B1E07C9-1AA8-427A-8D3F-F90DA800C51B}"/>
              </a:ext>
            </a:extLst>
          </p:cNvPr>
          <p:cNvSpPr>
            <a:spLocks noGrp="1"/>
          </p:cNvSpPr>
          <p:nvPr>
            <p:ph type="ftr" sz="quarter" idx="25"/>
          </p:nvPr>
        </p:nvSpPr>
        <p:spPr/>
        <p:txBody>
          <a:body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US" noProof="0" smtClean="0"/>
              <a:pPr/>
              <a:t>‹#›</a:t>
            </a:fld>
            <a:endParaRPr lang="en-US" noProof="0" dirty="0"/>
          </a:p>
        </p:txBody>
      </p:sp>
      <p:cxnSp>
        <p:nvCxnSpPr>
          <p:cNvPr id="15" name="Straight Connector 17">
            <a:extLst>
              <a:ext uri="{FF2B5EF4-FFF2-40B4-BE49-F238E27FC236}">
                <a16:creationId xmlns:a16="http://schemas.microsoft.com/office/drawing/2014/main" id="{F4A6D036-B440-4848-AD09-10D95A6851EB}"/>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6355361" y="948268"/>
            <a:ext cx="2694184" cy="377613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0047765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userDrawn="1">
            <p:custDataLst>
              <p:tags r:id="rId2"/>
            </p:custDataLst>
            <p:extLst>
              <p:ext uri="{D42A27DB-BD31-4B8C-83A1-F6EECF244321}">
                <p14:modId xmlns:p14="http://schemas.microsoft.com/office/powerpoint/2010/main" val="1830625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8" name="think-cell Slide" r:id="rId6" imgW="479" imgH="478" progId="TCLayout.ActiveDocument.1">
                  <p:embed/>
                </p:oleObj>
              </mc:Choice>
              <mc:Fallback>
                <p:oleObj name="think-cell Slide" r:id="rId6" imgW="479" imgH="478" progId="TCLayout.ActiveDocument.1">
                  <p:embed/>
                  <p:pic>
                    <p:nvPicPr>
                      <p:cNvPr id="3" name="Object 2" hidden="1">
                        <a:extLst>
                          <a:ext uri="{FF2B5EF4-FFF2-40B4-BE49-F238E27FC236}">
                            <a16:creationId xmlns:a16="http://schemas.microsoft.com/office/drawing/2014/main" id="{2E039C25-38EE-4409-8846-AD3780FDA7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noProof="0"/>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noProof="0"/>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noProof="0"/>
              <a:t>P&amp;L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p:txBody>
          <a:bodyPr/>
          <a:lstStyle/>
          <a:p>
            <a:endParaRPr lang="en-US" noProof="0" dirty="0"/>
          </a:p>
        </p:txBody>
      </p:sp>
      <p:sp>
        <p:nvSpPr>
          <p:cNvPr id="5" name="Footer Placeholder 4">
            <a:extLst>
              <a:ext uri="{FF2B5EF4-FFF2-40B4-BE49-F238E27FC236}">
                <a16:creationId xmlns:a16="http://schemas.microsoft.com/office/drawing/2014/main" id="{F838CB85-32FF-48FD-9896-C7B7E8F6EDB6}"/>
              </a:ext>
            </a:extLst>
          </p:cNvPr>
          <p:cNvSpPr>
            <a:spLocks noGrp="1"/>
          </p:cNvSpPr>
          <p:nvPr>
            <p:ph type="ftr" sz="quarter" idx="25"/>
          </p:nvPr>
        </p:nvSpPr>
        <p:spPr/>
        <p:txBody>
          <a:bodyPr/>
          <a:lstStyle/>
          <a:p>
            <a:r>
              <a:rPr lang="en-US" noProof="0" dirty="0"/>
              <a:t>©2021 Koninklijke Philips N.V. All rights reserved. Approved for internal distribution. D2021120801</a:t>
            </a:r>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US" noProof="0" smtClean="0"/>
              <a:pPr/>
              <a:t>‹#›</a:t>
            </a:fld>
            <a:endParaRPr lang="en-US" noProof="0" dirty="0"/>
          </a:p>
        </p:txBody>
      </p:sp>
      <p:cxnSp>
        <p:nvCxnSpPr>
          <p:cNvPr id="15" name="Straight Connector 17">
            <a:extLst>
              <a:ext uri="{FF2B5EF4-FFF2-40B4-BE49-F238E27FC236}">
                <a16:creationId xmlns:a16="http://schemas.microsoft.com/office/drawing/2014/main" id="{C539D5CE-18F8-4235-A29E-31342295EE06}"/>
              </a:ext>
            </a:extLst>
          </p:cNvPr>
          <p:cNvCxnSpPr/>
          <p:nvPr userDrawn="1">
            <p:custDataLst>
              <p:tags r:id="rId4"/>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94456" y="3528059"/>
            <a:ext cx="3817122" cy="119634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111687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slide -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2"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pic>
        <p:nvPicPr>
          <p:cNvPr id="14" name="Picture 13">
            <a:extLst>
              <a:ext uri="{FF2B5EF4-FFF2-40B4-BE49-F238E27FC236}">
                <a16:creationId xmlns:a16="http://schemas.microsoft.com/office/drawing/2014/main" id="{6C937022-651A-CB44-9522-9D3927CBABCD}"/>
              </a:ext>
            </a:extLst>
          </p:cNvPr>
          <p:cNvPicPr>
            <a:picLocks/>
          </p:cNvPicPr>
          <p:nvPr userDrawn="1"/>
        </p:nvPicPr>
        <p:blipFill>
          <a:blip r:embed="rId7">
            <a:alphaModFix/>
          </a:blip>
          <a:stretch>
            <a:fillRect/>
          </a:stretch>
        </p:blipFill>
        <p:spPr>
          <a:xfrm>
            <a:off x="3988103" y="1835838"/>
            <a:ext cx="1144502" cy="1457824"/>
          </a:xfrm>
          <a:prstGeom prst="rect">
            <a:avLst/>
          </a:prstGeom>
          <a:noFill/>
        </p:spPr>
      </p:pic>
    </p:spTree>
    <p:extLst>
      <p:ext uri="{BB962C8B-B14F-4D97-AF65-F5344CB8AC3E}">
        <p14:creationId xmlns:p14="http://schemas.microsoft.com/office/powerpoint/2010/main" val="40617794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 white">
    <p:spTree>
      <p:nvGrpSpPr>
        <p:cNvPr id="1" name=""/>
        <p:cNvGrpSpPr/>
        <p:nvPr/>
      </p:nvGrpSpPr>
      <p:grpSpPr>
        <a:xfrm>
          <a:off x="0" y="0"/>
          <a:ext cx="0" cy="0"/>
          <a:chOff x="0" y="0"/>
          <a:chExt cx="0" cy="0"/>
        </a:xfrm>
      </p:grpSpPr>
      <p:sp>
        <p:nvSpPr>
          <p:cNvPr id="7" name="Rectangle 6"/>
          <p:cNvSpPr/>
          <p:nvPr userDrawn="1"/>
        </p:nvSpPr>
        <p:spPr bwMode="white">
          <a:xfrm>
            <a:off x="107504" y="4677984"/>
            <a:ext cx="8928992"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31" tIns="40815" rIns="81631" bIns="40815" rtlCol="0" anchor="ctr"/>
          <a:lstStyle/>
          <a:p>
            <a:pPr algn="ctr"/>
            <a:endParaRPr lang="en-US" b="0" i="0" noProof="0" dirty="0">
              <a:latin typeface="Calibri Light" panose="020F0302020204030204" pitchFamily="34" charset="0"/>
            </a:endParaRPr>
          </a:p>
        </p:txBody>
      </p:sp>
      <p:pic>
        <p:nvPicPr>
          <p:cNvPr id="3" name="Picture 6">
            <a:extLst>
              <a:ext uri="{FF2B5EF4-FFF2-40B4-BE49-F238E27FC236}">
                <a16:creationId xmlns:a16="http://schemas.microsoft.com/office/drawing/2014/main" id="{D2D99289-1788-4094-95D8-16BE8E42F8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88103" y="1835837"/>
            <a:ext cx="1144502" cy="1454950"/>
          </a:xfrm>
          <a:prstGeom prst="rect">
            <a:avLst/>
          </a:prstGeom>
          <a:ln>
            <a:noFill/>
          </a:ln>
        </p:spPr>
      </p:pic>
    </p:spTree>
    <p:extLst>
      <p:ext uri="{BB962C8B-B14F-4D97-AF65-F5344CB8AC3E}">
        <p14:creationId xmlns:p14="http://schemas.microsoft.com/office/powerpoint/2010/main" val="342286215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 white">
    <p:bg>
      <p:bgPr>
        <a:solidFill>
          <a:schemeClr val="bg1"/>
        </a:solidFill>
        <a:effectLst/>
      </p:bgPr>
    </p:bg>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F14B76D6-1E80-FE45-861E-898D9060FB16}"/>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90000"/>
              </a:lnSpc>
              <a:buClr>
                <a:srgbClr val="00629F"/>
              </a:buClr>
              <a:buNone/>
              <a:tabLst/>
              <a:defRPr sz="3600" b="0" i="0">
                <a:solidFill>
                  <a:srgbClr val="00629F"/>
                </a:solidFill>
                <a:latin typeface="+mj-lt"/>
                <a:cs typeface="Calibri Light" panose="020F0302020204030204" pitchFamily="34" charset="0"/>
              </a:defRPr>
            </a:lvl1pPr>
            <a:lvl2pPr marL="757238" indent="-401638">
              <a:lnSpc>
                <a:spcPct val="90000"/>
              </a:lnSpc>
              <a:buClr>
                <a:srgbClr val="00629F"/>
              </a:buClr>
              <a:buNone/>
              <a:tabLst/>
              <a:defRPr sz="3800" b="0" i="0">
                <a:solidFill>
                  <a:srgbClr val="00629F"/>
                </a:solidFill>
                <a:latin typeface="+mj-lt"/>
                <a:cs typeface="Calibri Light" panose="020F0302020204030204" pitchFamily="34" charset="0"/>
              </a:defRPr>
            </a:lvl2pPr>
            <a:lvl3pPr marL="979488" indent="-266700">
              <a:lnSpc>
                <a:spcPct val="90000"/>
              </a:lnSpc>
              <a:buClr>
                <a:srgbClr val="00629F"/>
              </a:buClr>
              <a:buNone/>
              <a:tabLst/>
              <a:defRPr sz="3000" b="0" i="0">
                <a:solidFill>
                  <a:srgbClr val="00629F"/>
                </a:solidFill>
                <a:latin typeface="+mj-lt"/>
                <a:cs typeface="Calibri Light" panose="020F0302020204030204" pitchFamily="34" charset="0"/>
              </a:defRPr>
            </a:lvl3pPr>
            <a:lvl4pPr marL="1292225" indent="-254000">
              <a:lnSpc>
                <a:spcPct val="90000"/>
              </a:lnSpc>
              <a:buClr>
                <a:srgbClr val="00629F"/>
              </a:buClr>
              <a:buNone/>
              <a:tabLst/>
              <a:defRPr sz="2600" b="0" i="0">
                <a:solidFill>
                  <a:srgbClr val="00629F"/>
                </a:solidFill>
                <a:latin typeface="+mj-lt"/>
                <a:cs typeface="Calibri Light" panose="020F0302020204030204" pitchFamily="34" charset="0"/>
              </a:defRPr>
            </a:lvl4pPr>
          </a:lstStyle>
          <a:p>
            <a:pPr lvl="0"/>
            <a:r>
              <a:rPr lang="en-US" noProof="0"/>
              <a:t>Click to edit Master text styles</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endParaRPr lang="en-US" noProof="0"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latin typeface="+mn-lt"/>
              </a:defRPr>
            </a:lvl1pPr>
          </a:lstStyle>
          <a:p>
            <a:r>
              <a:rPr lang="en-US" noProof="0" dirty="0"/>
              <a:t>©2021 Koninklijke Philips N.V. All rights reserved. Approved for internal distribution. D2021120801</a:t>
            </a: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US" noProof="0" smtClean="0"/>
              <a:pPr/>
              <a:t>‹#›</a:t>
            </a:fld>
            <a:endParaRPr lang="en-US" noProof="0" dirty="0"/>
          </a:p>
        </p:txBody>
      </p:sp>
    </p:spTree>
    <p:extLst>
      <p:ext uri="{BB962C8B-B14F-4D97-AF65-F5344CB8AC3E}">
        <p14:creationId xmlns:p14="http://schemas.microsoft.com/office/powerpoint/2010/main" val="373400568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bleed video">
    <p:bg>
      <p:bgPr>
        <a:solidFill>
          <a:schemeClr val="bg1">
            <a:lumMod val="75000"/>
          </a:schemeClr>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8386B580-0255-B14B-8CC7-759D3E4E7726}"/>
              </a:ext>
            </a:extLst>
          </p:cNvPr>
          <p:cNvSpPr>
            <a:spLocks noGrp="1"/>
          </p:cNvSpPr>
          <p:nvPr>
            <p:ph type="media" sz="quarter" idx="24"/>
          </p:nvPr>
        </p:nvSpPr>
        <p:spPr>
          <a:xfrm>
            <a:off x="0" y="0"/>
            <a:ext cx="9144000" cy="5143500"/>
          </a:xfrm>
          <a:solidFill>
            <a:schemeClr val="bg1">
              <a:lumMod val="85000"/>
            </a:schemeClr>
          </a:solidFill>
        </p:spPr>
        <p:txBody>
          <a:bodyPr bIns="503999" anchor="ctr"/>
          <a:lstStyle>
            <a:lvl1pPr algn="ctr">
              <a:buNone/>
              <a:defRPr/>
            </a:lvl1pPr>
          </a:lstStyle>
          <a:p>
            <a:endParaRPr lang="en-US" noProof="0" dirty="0"/>
          </a:p>
        </p:txBody>
      </p:sp>
      <p:sp>
        <p:nvSpPr>
          <p:cNvPr id="13" name="Footer Placeholder 4">
            <a:extLst>
              <a:ext uri="{FF2B5EF4-FFF2-40B4-BE49-F238E27FC236}">
                <a16:creationId xmlns:a16="http://schemas.microsoft.com/office/drawing/2014/main" id="{1A9D1465-550E-0E4E-B1C9-13DDC9BD1E1F}"/>
              </a:ext>
            </a:extLst>
          </p:cNvPr>
          <p:cNvSpPr txBox="1">
            <a:spLocks/>
          </p:cNvSpPr>
          <p:nvPr userDrawn="1"/>
        </p:nvSpPr>
        <p:spPr>
          <a:xfrm>
            <a:off x="7889640" y="4719600"/>
            <a:ext cx="1063904"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latin typeface="+mn-lt"/>
              </a:defRPr>
            </a:lvl1pPr>
          </a:lstStyle>
          <a:p>
            <a:endParaRPr lang="en-US" noProof="0" dirty="0"/>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p:txBody>
          <a:bodyPr/>
          <a:lstStyle>
            <a:lvl1pPr>
              <a:defRPr>
                <a:solidFill>
                  <a:schemeClr val="bg1"/>
                </a:solidFill>
                <a:latin typeface="+mn-lt"/>
              </a:defRPr>
            </a:lvl1pPr>
          </a:lstStyle>
          <a:p>
            <a:r>
              <a:rPr lang="en-US" noProof="0" dirty="0"/>
              <a:t>©2021 Koninklijke Philips N.V. All rights reserved. Approved for internal distribution. D2021120801</a:t>
            </a:r>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latin typeface="+mn-lt"/>
              </a:defRPr>
            </a:lvl1pPr>
          </a:lstStyle>
          <a:p>
            <a:fld id="{A5163908-529D-4A49-892F-D37C4044DFD8}" type="slidenum">
              <a:rPr lang="en-US" noProof="0" smtClean="0"/>
              <a:pPr/>
              <a:t>‹#›</a:t>
            </a:fld>
            <a:endParaRPr lang="en-US" noProof="0" dirty="0"/>
          </a:p>
        </p:txBody>
      </p:sp>
    </p:spTree>
    <p:extLst>
      <p:ext uri="{BB962C8B-B14F-4D97-AF65-F5344CB8AC3E}">
        <p14:creationId xmlns:p14="http://schemas.microsoft.com/office/powerpoint/2010/main" val="427894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dirty="0"/>
              <a:t>Click icon to insert photo 1500 x 843 px</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defRPr>
            </a:lvl1pPr>
          </a:lstStyle>
          <a:p>
            <a:endParaRPr lang="en-US" noProof="0" dirty="0">
              <a:solidFill>
                <a:schemeClr val="bg1"/>
              </a:solidFill>
            </a:endParaRPr>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p:txBody>
          <a:bodyPr/>
          <a:lstStyle>
            <a:lvl1pPr>
              <a:defRPr>
                <a:solidFill>
                  <a:schemeClr val="bg1"/>
                </a:solidFill>
              </a:defRPr>
            </a:lvl1pPr>
          </a:lstStyle>
          <a:p>
            <a:r>
              <a:rPr lang="en-US" noProof="0" dirty="0">
                <a:solidFill>
                  <a:schemeClr val="bg1"/>
                </a:solidFill>
              </a:rPr>
              <a:t>©2021 Koninklijke Philips N.V. All rights reserved. Approved for internal distribution. D2021120801</a:t>
            </a:r>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US" noProof="0" smtClean="0"/>
              <a:pPr/>
              <a:t>‹#›</a:t>
            </a:fld>
            <a:endParaRPr lang="en-US" noProof="0" dirty="0"/>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8510"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2FBD5542-7C18-554E-8C38-9C18824A0F23}"/>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318029592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2.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94855376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032"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91" y="1192"/>
                        <a:ext cx="1587" cy="1190"/>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A5D2E64-2649-4557-8200-E78DF2A57EFC}"/>
              </a:ext>
            </a:extLst>
          </p:cNvPr>
          <p:cNvPicPr>
            <a:picLocks noChangeAspect="1"/>
          </p:cNvPicPr>
          <p:nvPr userDrawn="1"/>
        </p:nvPicPr>
        <p:blipFill>
          <a:blip r:embed="rId72" cstate="print">
            <a:extLst>
              <a:ext uri="{28A0092B-C50C-407E-A947-70E740481C1C}">
                <a14:useLocalDpi xmlns:a14="http://schemas.microsoft.com/office/drawing/2010/main" val="0"/>
              </a:ext>
            </a:extLst>
          </a:blip>
          <a:stretch>
            <a:fillRect/>
          </a:stretch>
        </p:blipFill>
        <p:spPr>
          <a:xfrm>
            <a:off x="8280763" y="216000"/>
            <a:ext cx="360000" cy="457297"/>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504826" y="4884454"/>
            <a:ext cx="718767"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endParaRPr lang="en-US" noProof="0" dirty="0">
              <a:solidFill>
                <a:schemeClr val="tx1"/>
              </a:solidFill>
            </a:endParaRPr>
          </a:p>
        </p:txBody>
      </p:sp>
      <p:sp>
        <p:nvSpPr>
          <p:cNvPr id="7" name="Footer Placeholder 6">
            <a:extLst>
              <a:ext uri="{FF2B5EF4-FFF2-40B4-BE49-F238E27FC236}">
                <a16:creationId xmlns:a16="http://schemas.microsoft.com/office/drawing/2014/main" id="{B1528AAF-4F0A-419B-8AAE-5F058B1EDEF5}"/>
              </a:ext>
            </a:extLst>
          </p:cNvPr>
          <p:cNvSpPr>
            <a:spLocks noGrp="1"/>
          </p:cNvSpPr>
          <p:nvPr>
            <p:ph type="ftr" sz="quarter" idx="3"/>
          </p:nvPr>
        </p:nvSpPr>
        <p:spPr>
          <a:xfrm>
            <a:off x="1948068" y="4884454"/>
            <a:ext cx="3910151"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r>
              <a:rPr lang="en-US" noProof="0" dirty="0"/>
              <a:t>©2021 Koninklijke Philips N.V. All rights reserved. Approved for internal distribution. D2021120801</a:t>
            </a:r>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182120" y="4864360"/>
            <a:ext cx="199973" cy="150200"/>
          </a:xfrm>
          <a:prstGeom prst="rect">
            <a:avLst/>
          </a:prstGeom>
        </p:spPr>
        <p:txBody>
          <a:bodyPr vert="horz" lIns="0" tIns="0" rIns="0" bIns="0" rtlCol="0" anchor="t"/>
          <a:lstStyle>
            <a:lvl1pPr algn="l">
              <a:defRPr sz="900" b="0" i="0">
                <a:solidFill>
                  <a:schemeClr val="tx1"/>
                </a:solidFill>
                <a:latin typeface="+mn-lt"/>
                <a:cs typeface="Calibri Light" panose="020F0302020204030204" pitchFamily="34" charset="0"/>
              </a:defRPr>
            </a:lvl1pPr>
          </a:lstStyle>
          <a:p>
            <a:fld id="{A5163908-529D-4A49-892F-D37C4044DFD8}" type="slidenum">
              <a:rPr lang="en-US" noProof="0" smtClean="0"/>
              <a:pPr/>
              <a:t>‹#›</a:t>
            </a:fld>
            <a:endParaRPr lang="en-US" noProof="0" dirty="0"/>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504823" y="1211263"/>
            <a:ext cx="8132765" cy="3484800"/>
          </a:xfrm>
          <a:prstGeom prst="rect">
            <a:avLst/>
          </a:prstGeom>
        </p:spPr>
        <p:txBody>
          <a:bodyPr vert="horz" lIns="0" tIns="0" rIns="0" bIns="0" spcCol="32400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Footer Placeholder 4">
            <a:extLst>
              <a:ext uri="{FF2B5EF4-FFF2-40B4-BE49-F238E27FC236}">
                <a16:creationId xmlns:a16="http://schemas.microsoft.com/office/drawing/2014/main" id="{894B2A6A-BE43-1D4A-8330-3072C7FC58B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6" name="Title Placeholder 5">
            <a:extLst>
              <a:ext uri="{FF2B5EF4-FFF2-40B4-BE49-F238E27FC236}">
                <a16:creationId xmlns:a16="http://schemas.microsoft.com/office/drawing/2014/main" id="{A0613193-D73A-5A4B-9E3D-2F277B4E033F}"/>
              </a:ext>
            </a:extLst>
          </p:cNvPr>
          <p:cNvSpPr>
            <a:spLocks noGrp="1"/>
          </p:cNvSpPr>
          <p:nvPr>
            <p:ph type="title"/>
          </p:nvPr>
        </p:nvSpPr>
        <p:spPr>
          <a:xfrm>
            <a:off x="503238" y="376238"/>
            <a:ext cx="7524750" cy="719137"/>
          </a:xfrm>
          <a:prstGeom prst="rect">
            <a:avLst/>
          </a:prstGeom>
        </p:spPr>
        <p:txBody>
          <a:bodyPr vert="horz" lIns="0" tIns="0" rIns="0" bIns="0" rtlCol="0" anchor="t">
            <a:noAutofit/>
          </a:bodyPr>
          <a:lstStyle/>
          <a:p>
            <a:r>
              <a:rPr lang="en-US" noProof="0"/>
              <a:t>Click to edit Master title style</a:t>
            </a:r>
          </a:p>
        </p:txBody>
      </p:sp>
      <p:sp>
        <p:nvSpPr>
          <p:cNvPr id="5" name="Rectangle 4" hidden="1">
            <a:extLst>
              <a:ext uri="{FF2B5EF4-FFF2-40B4-BE49-F238E27FC236}">
                <a16:creationId xmlns:a16="http://schemas.microsoft.com/office/drawing/2014/main" id="{E111333B-FBA5-4875-A5DE-3B4281D761D5}"/>
              </a:ext>
            </a:extLst>
          </p:cNvPr>
          <p:cNvSpPr/>
          <p:nvPr userDrawn="1">
            <p:custDataLst>
              <p:tags r:id="rId69"/>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78" r:id="rId3"/>
    <p:sldLayoutId id="2147483860" r:id="rId4"/>
    <p:sldLayoutId id="2147483955" r:id="rId5"/>
    <p:sldLayoutId id="2147483692" r:id="rId6"/>
    <p:sldLayoutId id="2147484176" r:id="rId7"/>
    <p:sldLayoutId id="2147483862" r:id="rId8"/>
    <p:sldLayoutId id="2147483948" r:id="rId9"/>
    <p:sldLayoutId id="2147483871" r:id="rId10"/>
    <p:sldLayoutId id="2147483866" r:id="rId11"/>
    <p:sldLayoutId id="2147483975" r:id="rId12"/>
    <p:sldLayoutId id="2147483867" r:id="rId13"/>
    <p:sldLayoutId id="2147483976" r:id="rId14"/>
    <p:sldLayoutId id="2147483984" r:id="rId15"/>
    <p:sldLayoutId id="2147483933" r:id="rId16"/>
    <p:sldLayoutId id="2147483869" r:id="rId17"/>
    <p:sldLayoutId id="2147483939" r:id="rId18"/>
    <p:sldLayoutId id="2147483936" r:id="rId19"/>
    <p:sldLayoutId id="2147483937" r:id="rId20"/>
    <p:sldLayoutId id="2147483938" r:id="rId21"/>
    <p:sldLayoutId id="2147484177" r:id="rId22"/>
    <p:sldLayoutId id="2147484146" r:id="rId23"/>
    <p:sldLayoutId id="2147484184" r:id="rId24"/>
    <p:sldLayoutId id="2147483918" r:id="rId25"/>
    <p:sldLayoutId id="2147483742" r:id="rId26"/>
    <p:sldLayoutId id="2147483766" r:id="rId27"/>
    <p:sldLayoutId id="2147484171" r:id="rId28"/>
    <p:sldLayoutId id="2147484149" r:id="rId29"/>
    <p:sldLayoutId id="2147484183" r:id="rId30"/>
    <p:sldLayoutId id="2147484095" r:id="rId31"/>
    <p:sldLayoutId id="2147484093" r:id="rId32"/>
    <p:sldLayoutId id="2147484100" r:id="rId33"/>
    <p:sldLayoutId id="2147484172" r:id="rId34"/>
    <p:sldLayoutId id="2147484152" r:id="rId35"/>
    <p:sldLayoutId id="2147484182" r:id="rId36"/>
    <p:sldLayoutId id="2147484107" r:id="rId37"/>
    <p:sldLayoutId id="2147484105" r:id="rId38"/>
    <p:sldLayoutId id="2147484109" r:id="rId39"/>
    <p:sldLayoutId id="2147484173" r:id="rId40"/>
    <p:sldLayoutId id="2147484155" r:id="rId41"/>
    <p:sldLayoutId id="2147484181" r:id="rId42"/>
    <p:sldLayoutId id="2147484116" r:id="rId43"/>
    <p:sldLayoutId id="2147484114" r:id="rId44"/>
    <p:sldLayoutId id="2147484118" r:id="rId45"/>
    <p:sldLayoutId id="2147484174" r:id="rId46"/>
    <p:sldLayoutId id="2147484158" r:id="rId47"/>
    <p:sldLayoutId id="2147484180" r:id="rId48"/>
    <p:sldLayoutId id="2147484125" r:id="rId49"/>
    <p:sldLayoutId id="2147484123" r:id="rId50"/>
    <p:sldLayoutId id="2147484127" r:id="rId51"/>
    <p:sldLayoutId id="2147484175" r:id="rId52"/>
    <p:sldLayoutId id="2147484160" r:id="rId53"/>
    <p:sldLayoutId id="2147484179" r:id="rId54"/>
    <p:sldLayoutId id="2147484134" r:id="rId55"/>
    <p:sldLayoutId id="2147484132" r:id="rId56"/>
    <p:sldLayoutId id="2147484136" r:id="rId57"/>
    <p:sldLayoutId id="2147484185" r:id="rId58"/>
    <p:sldLayoutId id="2147484186" r:id="rId59"/>
    <p:sldLayoutId id="2147484187" r:id="rId60"/>
    <p:sldLayoutId id="2147484188" r:id="rId61"/>
    <p:sldLayoutId id="2147484189" r:id="rId62"/>
    <p:sldLayoutId id="2147484190" r:id="rId63"/>
    <p:sldLayoutId id="2147484169" r:id="rId64"/>
    <p:sldLayoutId id="2147484142" r:id="rId65"/>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hf hdr="0" dt="0"/>
  <p:txStyles>
    <p:titleStyle>
      <a:lvl1pPr algn="l" defTabSz="914377" rtl="0" eaLnBrk="1" latinLnBrk="0" hangingPunct="1">
        <a:lnSpc>
          <a:spcPct val="100000"/>
        </a:lnSpc>
        <a:spcBef>
          <a:spcPct val="0"/>
        </a:spcBef>
        <a:buNone/>
        <a:defRPr lang="en-US" sz="2400" kern="1200" smtClean="0">
          <a:solidFill>
            <a:srgbClr val="00629F"/>
          </a:solidFill>
          <a:latin typeface="+mj-lt"/>
          <a:ea typeface="+mj-ea"/>
          <a:cs typeface="+mj-cs"/>
        </a:defRPr>
      </a:lvl1pPr>
    </p:titleStyle>
    <p:bodyStyle>
      <a:lvl1pPr marL="144000" indent="-144000" algn="l" defTabSz="914377"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b="0" i="0" kern="1200" dirty="0">
          <a:solidFill>
            <a:schemeClr val="tx1"/>
          </a:solidFill>
          <a:latin typeface="+mn-lt"/>
          <a:ea typeface="+mn-ea"/>
          <a:cs typeface="Calibri Light" panose="020F0302020204030204" pitchFamily="34" charset="0"/>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b="0" i="0" kern="1200" dirty="0">
          <a:solidFill>
            <a:schemeClr val="tx1"/>
          </a:solidFill>
          <a:latin typeface="+mn-lt"/>
          <a:ea typeface="+mn-ea"/>
          <a:cs typeface="Calibri Light" panose="020F0302020204030204" pitchFamily="34" charset="0"/>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50" b="0" i="0" kern="1200" dirty="0">
          <a:solidFill>
            <a:schemeClr val="tx1"/>
          </a:solidFill>
          <a:latin typeface="+mn-lt"/>
          <a:ea typeface="+mn-ea"/>
          <a:cs typeface="Calibri Light" panose="020F0302020204030204" pitchFamily="34" charset="0"/>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b="0" i="0" kern="1200" dirty="0">
          <a:solidFill>
            <a:schemeClr val="tx1"/>
          </a:solidFill>
          <a:latin typeface="+mn-lt"/>
          <a:ea typeface="+mn-ea"/>
          <a:cs typeface="Calibri Light" panose="020F0302020204030204" pitchFamily="34" charset="0"/>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A4A3A4"/>
          </p15:clr>
        </p15:guide>
        <p15:guide id="2" pos="5441">
          <p15:clr>
            <a:srgbClr val="A4A3A4"/>
          </p15:clr>
        </p15:guide>
        <p15:guide id="4" orient="horz" pos="237">
          <p15:clr>
            <a:srgbClr val="A4A3A4"/>
          </p15:clr>
        </p15:guide>
        <p15:guide id="5" orient="horz" pos="690">
          <p15:clr>
            <a:srgbClr val="A4A3A4"/>
          </p15:clr>
        </p15:guide>
        <p15:guide id="6" orient="horz" pos="763">
          <p15:clr>
            <a:srgbClr val="A4A3A4"/>
          </p15:clr>
        </p15:guide>
        <p15:guide id="7" orient="horz" pos="2958">
          <p15:clr>
            <a:srgbClr val="A4A3A4"/>
          </p15:clr>
        </p15:guide>
        <p15:guide id="12" pos="2911" userDrawn="1">
          <p15:clr>
            <a:srgbClr val="A4A3A4"/>
          </p15:clr>
        </p15:guide>
        <p15:guide id="14" pos="2849"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10.xml"/><Relationship Id="rId1" Type="http://schemas.openxmlformats.org/officeDocument/2006/relationships/customXml" Target="../../customXml/item5.xml"/></Relationships>
</file>

<file path=ppt/slides/_rels/slide10.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11.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26" Type="http://schemas.openxmlformats.org/officeDocument/2006/relationships/image" Target="../media/image21.png"/><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12.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slide" Target="slide12.xml"/><Relationship Id="rId18" Type="http://schemas.openxmlformats.org/officeDocument/2006/relationships/slide" Target="slide17.xml"/><Relationship Id="rId26" Type="http://schemas.openxmlformats.org/officeDocument/2006/relationships/slide" Target="slide25.xml"/><Relationship Id="rId3" Type="http://schemas.openxmlformats.org/officeDocument/2006/relationships/image" Target="../media/image23.png"/><Relationship Id="rId21" Type="http://schemas.openxmlformats.org/officeDocument/2006/relationships/slide" Target="slide20.xml"/><Relationship Id="rId7" Type="http://schemas.openxmlformats.org/officeDocument/2006/relationships/slide" Target="slide5.xml"/><Relationship Id="rId12" Type="http://schemas.openxmlformats.org/officeDocument/2006/relationships/slide" Target="slide10.xml"/><Relationship Id="rId17" Type="http://schemas.openxmlformats.org/officeDocument/2006/relationships/slide" Target="slide16.xml"/><Relationship Id="rId25" Type="http://schemas.openxmlformats.org/officeDocument/2006/relationships/slide" Target="slide24.xml"/><Relationship Id="rId2" Type="http://schemas.openxmlformats.org/officeDocument/2006/relationships/image" Target="../media/image22.png"/><Relationship Id="rId16" Type="http://schemas.openxmlformats.org/officeDocument/2006/relationships/slide" Target="slide15.xml"/><Relationship Id="rId20" Type="http://schemas.openxmlformats.org/officeDocument/2006/relationships/slide" Target="slide19.xml"/><Relationship Id="rId1" Type="http://schemas.openxmlformats.org/officeDocument/2006/relationships/slideLayout" Target="../slideLayouts/slideLayout3.xml"/><Relationship Id="rId6" Type="http://schemas.openxmlformats.org/officeDocument/2006/relationships/slide" Target="slide4.xml"/><Relationship Id="rId11" Type="http://schemas.openxmlformats.org/officeDocument/2006/relationships/slide" Target="slide9.xml"/><Relationship Id="rId24" Type="http://schemas.openxmlformats.org/officeDocument/2006/relationships/slide" Target="slide23.xml"/><Relationship Id="rId5" Type="http://schemas.openxmlformats.org/officeDocument/2006/relationships/slide" Target="slide3.xml"/><Relationship Id="rId15" Type="http://schemas.openxmlformats.org/officeDocument/2006/relationships/slide" Target="slide14.xml"/><Relationship Id="rId23" Type="http://schemas.openxmlformats.org/officeDocument/2006/relationships/slide" Target="slide22.xml"/><Relationship Id="rId10" Type="http://schemas.openxmlformats.org/officeDocument/2006/relationships/slide" Target="slide8.xml"/><Relationship Id="rId19" Type="http://schemas.openxmlformats.org/officeDocument/2006/relationships/slide" Target="slide18.xml"/><Relationship Id="rId4" Type="http://schemas.openxmlformats.org/officeDocument/2006/relationships/slide" Target="slide2.xml"/><Relationship Id="rId9" Type="http://schemas.openxmlformats.org/officeDocument/2006/relationships/slide" Target="slide7.xml"/><Relationship Id="rId14" Type="http://schemas.openxmlformats.org/officeDocument/2006/relationships/slide" Target="slide13.xml"/><Relationship Id="rId22" Type="http://schemas.openxmlformats.org/officeDocument/2006/relationships/slide" Target="slide21.xml"/><Relationship Id="rId27" Type="http://schemas.openxmlformats.org/officeDocument/2006/relationships/slide" Target="slide26.xml"/></Relationships>
</file>

<file path=ppt/slides/_rels/slide13.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14.xml.rels><?xml version="1.0" encoding="UTF-8" standalone="yes"?>
<Relationships xmlns="http://schemas.openxmlformats.org/package/2006/relationships"><Relationship Id="rId8" Type="http://schemas.openxmlformats.org/officeDocument/2006/relationships/slide" Target="slide3.xml"/><Relationship Id="rId13" Type="http://schemas.openxmlformats.org/officeDocument/2006/relationships/slide" Target="slide8.xml"/><Relationship Id="rId18" Type="http://schemas.openxmlformats.org/officeDocument/2006/relationships/slide" Target="slide14.xml"/><Relationship Id="rId26" Type="http://schemas.openxmlformats.org/officeDocument/2006/relationships/slide" Target="slide22.xml"/><Relationship Id="rId3" Type="http://schemas.openxmlformats.org/officeDocument/2006/relationships/image" Target="../media/image25.png"/><Relationship Id="rId21" Type="http://schemas.openxmlformats.org/officeDocument/2006/relationships/slide" Target="slide17.xml"/><Relationship Id="rId7" Type="http://schemas.openxmlformats.org/officeDocument/2006/relationships/slide" Target="slide2.xml"/><Relationship Id="rId12" Type="http://schemas.openxmlformats.org/officeDocument/2006/relationships/slide" Target="slide7.xml"/><Relationship Id="rId17" Type="http://schemas.openxmlformats.org/officeDocument/2006/relationships/slide" Target="slide13.xml"/><Relationship Id="rId25" Type="http://schemas.openxmlformats.org/officeDocument/2006/relationships/slide" Target="slide21.xml"/><Relationship Id="rId2" Type="http://schemas.openxmlformats.org/officeDocument/2006/relationships/image" Target="../media/image24.png"/><Relationship Id="rId16" Type="http://schemas.openxmlformats.org/officeDocument/2006/relationships/slide" Target="slide12.xml"/><Relationship Id="rId20" Type="http://schemas.openxmlformats.org/officeDocument/2006/relationships/slide" Target="slide16.xml"/><Relationship Id="rId29" Type="http://schemas.openxmlformats.org/officeDocument/2006/relationships/slide" Target="slide25.xml"/><Relationship Id="rId1" Type="http://schemas.openxmlformats.org/officeDocument/2006/relationships/slideLayout" Target="../slideLayouts/slideLayout3.xml"/><Relationship Id="rId6" Type="http://schemas.openxmlformats.org/officeDocument/2006/relationships/image" Target="../media/image28.png"/><Relationship Id="rId11" Type="http://schemas.openxmlformats.org/officeDocument/2006/relationships/slide" Target="slide6.xml"/><Relationship Id="rId24" Type="http://schemas.openxmlformats.org/officeDocument/2006/relationships/slide" Target="slide20.xml"/><Relationship Id="rId5" Type="http://schemas.openxmlformats.org/officeDocument/2006/relationships/image" Target="../media/image27.png"/><Relationship Id="rId15" Type="http://schemas.openxmlformats.org/officeDocument/2006/relationships/slide" Target="slide10.xml"/><Relationship Id="rId23" Type="http://schemas.openxmlformats.org/officeDocument/2006/relationships/slide" Target="slide19.xml"/><Relationship Id="rId28" Type="http://schemas.openxmlformats.org/officeDocument/2006/relationships/slide" Target="slide24.xml"/><Relationship Id="rId10" Type="http://schemas.openxmlformats.org/officeDocument/2006/relationships/slide" Target="slide5.xml"/><Relationship Id="rId19" Type="http://schemas.openxmlformats.org/officeDocument/2006/relationships/slide" Target="slide15.xml"/><Relationship Id="rId4" Type="http://schemas.openxmlformats.org/officeDocument/2006/relationships/image" Target="../media/image26.png"/><Relationship Id="rId9" Type="http://schemas.openxmlformats.org/officeDocument/2006/relationships/slide" Target="slide4.xml"/><Relationship Id="rId14" Type="http://schemas.openxmlformats.org/officeDocument/2006/relationships/slide" Target="slide9.xml"/><Relationship Id="rId22" Type="http://schemas.openxmlformats.org/officeDocument/2006/relationships/slide" Target="slide18.xml"/><Relationship Id="rId27" Type="http://schemas.openxmlformats.org/officeDocument/2006/relationships/slide" Target="slide23.xml"/><Relationship Id="rId30" Type="http://schemas.openxmlformats.org/officeDocument/2006/relationships/slide" Target="slide26.xml"/></Relationships>
</file>

<file path=ppt/slides/_rels/slide15.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16.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slide" Target="slide13.xml"/><Relationship Id="rId18" Type="http://schemas.openxmlformats.org/officeDocument/2006/relationships/slide" Target="slide18.xml"/><Relationship Id="rId26" Type="http://schemas.openxmlformats.org/officeDocument/2006/relationships/slide" Target="slide26.xml"/><Relationship Id="rId3" Type="http://schemas.openxmlformats.org/officeDocument/2006/relationships/slide" Target="slide2.xml"/><Relationship Id="rId21" Type="http://schemas.openxmlformats.org/officeDocument/2006/relationships/slide" Target="slide21.xml"/><Relationship Id="rId7" Type="http://schemas.openxmlformats.org/officeDocument/2006/relationships/slide" Target="slide6.xml"/><Relationship Id="rId12" Type="http://schemas.openxmlformats.org/officeDocument/2006/relationships/slide" Target="slide12.xml"/><Relationship Id="rId17" Type="http://schemas.openxmlformats.org/officeDocument/2006/relationships/slide" Target="slide17.xml"/><Relationship Id="rId25" Type="http://schemas.openxmlformats.org/officeDocument/2006/relationships/slide" Target="slide25.xml"/><Relationship Id="rId2" Type="http://schemas.openxmlformats.org/officeDocument/2006/relationships/image" Target="../media/image29.png"/><Relationship Id="rId16" Type="http://schemas.openxmlformats.org/officeDocument/2006/relationships/slide" Target="slide16.xml"/><Relationship Id="rId20" Type="http://schemas.openxmlformats.org/officeDocument/2006/relationships/slide" Target="slide20.xml"/><Relationship Id="rId1" Type="http://schemas.openxmlformats.org/officeDocument/2006/relationships/slideLayout" Target="../slideLayouts/slideLayout3.xml"/><Relationship Id="rId6" Type="http://schemas.openxmlformats.org/officeDocument/2006/relationships/slide" Target="slide5.xml"/><Relationship Id="rId11" Type="http://schemas.openxmlformats.org/officeDocument/2006/relationships/slide" Target="slide10.xml"/><Relationship Id="rId24" Type="http://schemas.openxmlformats.org/officeDocument/2006/relationships/slide" Target="slide24.xml"/><Relationship Id="rId5" Type="http://schemas.openxmlformats.org/officeDocument/2006/relationships/slide" Target="slide4.xml"/><Relationship Id="rId15" Type="http://schemas.openxmlformats.org/officeDocument/2006/relationships/slide" Target="slide15.xml"/><Relationship Id="rId23" Type="http://schemas.openxmlformats.org/officeDocument/2006/relationships/slide" Target="slide23.xml"/><Relationship Id="rId10" Type="http://schemas.openxmlformats.org/officeDocument/2006/relationships/slide" Target="slide9.xml"/><Relationship Id="rId19" Type="http://schemas.openxmlformats.org/officeDocument/2006/relationships/slide" Target="slide19.xml"/><Relationship Id="rId4" Type="http://schemas.openxmlformats.org/officeDocument/2006/relationships/slide" Target="slide3.xml"/><Relationship Id="rId9" Type="http://schemas.openxmlformats.org/officeDocument/2006/relationships/slide" Target="slide8.xml"/><Relationship Id="rId14" Type="http://schemas.openxmlformats.org/officeDocument/2006/relationships/slide" Target="slide14.xml"/><Relationship Id="rId22" Type="http://schemas.openxmlformats.org/officeDocument/2006/relationships/slide" Target="slide22.xml"/></Relationships>
</file>

<file path=ppt/slides/_rels/slide17.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18.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19.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slide" Target="slide12.xml"/><Relationship Id="rId18" Type="http://schemas.openxmlformats.org/officeDocument/2006/relationships/slide" Target="slide17.xml"/><Relationship Id="rId26" Type="http://schemas.openxmlformats.org/officeDocument/2006/relationships/slide" Target="slide25.xml"/><Relationship Id="rId3" Type="http://schemas.openxmlformats.org/officeDocument/2006/relationships/image" Target="../media/image31.png"/><Relationship Id="rId21" Type="http://schemas.openxmlformats.org/officeDocument/2006/relationships/slide" Target="slide20.xml"/><Relationship Id="rId7" Type="http://schemas.openxmlformats.org/officeDocument/2006/relationships/slide" Target="slide5.xml"/><Relationship Id="rId12" Type="http://schemas.openxmlformats.org/officeDocument/2006/relationships/slide" Target="slide10.xml"/><Relationship Id="rId17" Type="http://schemas.openxmlformats.org/officeDocument/2006/relationships/slide" Target="slide16.xml"/><Relationship Id="rId25" Type="http://schemas.openxmlformats.org/officeDocument/2006/relationships/slide" Target="slide24.xml"/><Relationship Id="rId2" Type="http://schemas.openxmlformats.org/officeDocument/2006/relationships/image" Target="../media/image30.png"/><Relationship Id="rId16" Type="http://schemas.openxmlformats.org/officeDocument/2006/relationships/slide" Target="slide15.xml"/><Relationship Id="rId20" Type="http://schemas.openxmlformats.org/officeDocument/2006/relationships/slide" Target="slide19.xml"/><Relationship Id="rId1" Type="http://schemas.openxmlformats.org/officeDocument/2006/relationships/slideLayout" Target="../slideLayouts/slideLayout3.xml"/><Relationship Id="rId6" Type="http://schemas.openxmlformats.org/officeDocument/2006/relationships/slide" Target="slide4.xml"/><Relationship Id="rId11" Type="http://schemas.openxmlformats.org/officeDocument/2006/relationships/slide" Target="slide9.xml"/><Relationship Id="rId24" Type="http://schemas.openxmlformats.org/officeDocument/2006/relationships/slide" Target="slide23.xml"/><Relationship Id="rId5" Type="http://schemas.openxmlformats.org/officeDocument/2006/relationships/slide" Target="slide3.xml"/><Relationship Id="rId15" Type="http://schemas.openxmlformats.org/officeDocument/2006/relationships/slide" Target="slide14.xml"/><Relationship Id="rId23" Type="http://schemas.openxmlformats.org/officeDocument/2006/relationships/slide" Target="slide22.xml"/><Relationship Id="rId10" Type="http://schemas.openxmlformats.org/officeDocument/2006/relationships/slide" Target="slide8.xml"/><Relationship Id="rId19" Type="http://schemas.openxmlformats.org/officeDocument/2006/relationships/slide" Target="slide18.xml"/><Relationship Id="rId4" Type="http://schemas.openxmlformats.org/officeDocument/2006/relationships/slide" Target="slide2.xml"/><Relationship Id="rId9" Type="http://schemas.openxmlformats.org/officeDocument/2006/relationships/slide" Target="slide7.xml"/><Relationship Id="rId14" Type="http://schemas.openxmlformats.org/officeDocument/2006/relationships/slide" Target="slide13.xml"/><Relationship Id="rId22" Type="http://schemas.openxmlformats.org/officeDocument/2006/relationships/slide" Target="slide21.xml"/><Relationship Id="rId27" Type="http://schemas.openxmlformats.org/officeDocument/2006/relationships/slide" Target="slide26.xml"/></Relationships>
</file>

<file path=ppt/slides/_rels/slide2.xml.rels><?xml version="1.0" encoding="UTF-8" standalone="yes"?>
<Relationships xmlns="http://schemas.openxmlformats.org/package/2006/relationships"><Relationship Id="rId8" Type="http://schemas.openxmlformats.org/officeDocument/2006/relationships/slide" Target="slide4.xml"/><Relationship Id="rId13" Type="http://schemas.openxmlformats.org/officeDocument/2006/relationships/slide" Target="slide9.xml"/><Relationship Id="rId18" Type="http://schemas.openxmlformats.org/officeDocument/2006/relationships/slide" Target="slide15.xml"/><Relationship Id="rId26" Type="http://schemas.openxmlformats.org/officeDocument/2006/relationships/slide" Target="slide23.xml"/><Relationship Id="rId3" Type="http://schemas.openxmlformats.org/officeDocument/2006/relationships/slideLayout" Target="../slideLayouts/slideLayout3.xml"/><Relationship Id="rId21" Type="http://schemas.openxmlformats.org/officeDocument/2006/relationships/slide" Target="slide18.xml"/><Relationship Id="rId7" Type="http://schemas.openxmlformats.org/officeDocument/2006/relationships/slide" Target="slide3.xml"/><Relationship Id="rId12" Type="http://schemas.openxmlformats.org/officeDocument/2006/relationships/slide" Target="slide8.xml"/><Relationship Id="rId17" Type="http://schemas.openxmlformats.org/officeDocument/2006/relationships/slide" Target="slide14.xml"/><Relationship Id="rId25" Type="http://schemas.openxmlformats.org/officeDocument/2006/relationships/slide" Target="slide22.xml"/><Relationship Id="rId2" Type="http://schemas.openxmlformats.org/officeDocument/2006/relationships/customXml" Target="../../customXml/item11.xml"/><Relationship Id="rId16" Type="http://schemas.openxmlformats.org/officeDocument/2006/relationships/slide" Target="slide13.xml"/><Relationship Id="rId20" Type="http://schemas.openxmlformats.org/officeDocument/2006/relationships/slide" Target="slide17.xml"/><Relationship Id="rId29" Type="http://schemas.openxmlformats.org/officeDocument/2006/relationships/slide" Target="slide26.xml"/><Relationship Id="rId1" Type="http://schemas.openxmlformats.org/officeDocument/2006/relationships/customXml" Target="../../customXml/item4.xml"/><Relationship Id="rId6" Type="http://schemas.openxmlformats.org/officeDocument/2006/relationships/slide" Target="slide2.xml"/><Relationship Id="rId11" Type="http://schemas.openxmlformats.org/officeDocument/2006/relationships/slide" Target="slide7.xml"/><Relationship Id="rId24" Type="http://schemas.openxmlformats.org/officeDocument/2006/relationships/slide" Target="slide21.xml"/><Relationship Id="rId5" Type="http://schemas.openxmlformats.org/officeDocument/2006/relationships/image" Target="../media/image15.png"/><Relationship Id="rId15" Type="http://schemas.openxmlformats.org/officeDocument/2006/relationships/slide" Target="slide12.xml"/><Relationship Id="rId23" Type="http://schemas.openxmlformats.org/officeDocument/2006/relationships/slide" Target="slide20.xml"/><Relationship Id="rId28" Type="http://schemas.openxmlformats.org/officeDocument/2006/relationships/slide" Target="slide25.xml"/><Relationship Id="rId10" Type="http://schemas.openxmlformats.org/officeDocument/2006/relationships/slide" Target="slide6.xml"/><Relationship Id="rId19" Type="http://schemas.openxmlformats.org/officeDocument/2006/relationships/slide" Target="slide16.xml"/><Relationship Id="rId4" Type="http://schemas.openxmlformats.org/officeDocument/2006/relationships/hyperlink" Target="http://www.philips.com/deviceinfection" TargetMode="External"/><Relationship Id="rId9" Type="http://schemas.openxmlformats.org/officeDocument/2006/relationships/slide" Target="slide5.xml"/><Relationship Id="rId14" Type="http://schemas.openxmlformats.org/officeDocument/2006/relationships/slide" Target="slide10.xml"/><Relationship Id="rId22" Type="http://schemas.openxmlformats.org/officeDocument/2006/relationships/slide" Target="slide19.xml"/><Relationship Id="rId27" Type="http://schemas.openxmlformats.org/officeDocument/2006/relationships/slide" Target="slide24.xml"/></Relationships>
</file>

<file path=ppt/slides/_rels/slide20.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slide" Target="slide13.xml"/><Relationship Id="rId18" Type="http://schemas.openxmlformats.org/officeDocument/2006/relationships/slide" Target="slide18.xml"/><Relationship Id="rId26" Type="http://schemas.openxmlformats.org/officeDocument/2006/relationships/slide" Target="slide26.xml"/><Relationship Id="rId3" Type="http://schemas.openxmlformats.org/officeDocument/2006/relationships/slide" Target="slide2.xml"/><Relationship Id="rId21" Type="http://schemas.openxmlformats.org/officeDocument/2006/relationships/slide" Target="slide21.xml"/><Relationship Id="rId7" Type="http://schemas.openxmlformats.org/officeDocument/2006/relationships/slide" Target="slide6.xml"/><Relationship Id="rId12" Type="http://schemas.openxmlformats.org/officeDocument/2006/relationships/slide" Target="slide12.xml"/><Relationship Id="rId17" Type="http://schemas.openxmlformats.org/officeDocument/2006/relationships/slide" Target="slide17.xml"/><Relationship Id="rId25" Type="http://schemas.openxmlformats.org/officeDocument/2006/relationships/slide" Target="slide25.xml"/><Relationship Id="rId2" Type="http://schemas.openxmlformats.org/officeDocument/2006/relationships/image" Target="../media/image32.png"/><Relationship Id="rId16" Type="http://schemas.openxmlformats.org/officeDocument/2006/relationships/slide" Target="slide16.xml"/><Relationship Id="rId20" Type="http://schemas.openxmlformats.org/officeDocument/2006/relationships/slide" Target="slide20.xml"/><Relationship Id="rId1" Type="http://schemas.openxmlformats.org/officeDocument/2006/relationships/slideLayout" Target="../slideLayouts/slideLayout3.xml"/><Relationship Id="rId6" Type="http://schemas.openxmlformats.org/officeDocument/2006/relationships/slide" Target="slide5.xml"/><Relationship Id="rId11" Type="http://schemas.openxmlformats.org/officeDocument/2006/relationships/slide" Target="slide10.xml"/><Relationship Id="rId24" Type="http://schemas.openxmlformats.org/officeDocument/2006/relationships/slide" Target="slide24.xml"/><Relationship Id="rId5" Type="http://schemas.openxmlformats.org/officeDocument/2006/relationships/slide" Target="slide4.xml"/><Relationship Id="rId15" Type="http://schemas.openxmlformats.org/officeDocument/2006/relationships/slide" Target="slide15.xml"/><Relationship Id="rId23" Type="http://schemas.openxmlformats.org/officeDocument/2006/relationships/slide" Target="slide23.xml"/><Relationship Id="rId10" Type="http://schemas.openxmlformats.org/officeDocument/2006/relationships/slide" Target="slide9.xml"/><Relationship Id="rId19" Type="http://schemas.openxmlformats.org/officeDocument/2006/relationships/slide" Target="slide19.xml"/><Relationship Id="rId4" Type="http://schemas.openxmlformats.org/officeDocument/2006/relationships/slide" Target="slide3.xml"/><Relationship Id="rId9" Type="http://schemas.openxmlformats.org/officeDocument/2006/relationships/slide" Target="slide8.xml"/><Relationship Id="rId14" Type="http://schemas.openxmlformats.org/officeDocument/2006/relationships/slide" Target="slide14.xml"/><Relationship Id="rId22" Type="http://schemas.openxmlformats.org/officeDocument/2006/relationships/slide" Target="slide22.xml"/></Relationships>
</file>

<file path=ppt/slides/_rels/slide21.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22.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23.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24.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26" Type="http://schemas.openxmlformats.org/officeDocument/2006/relationships/image" Target="../media/image33.emf"/><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25.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slide" Target="slide12.xml"/><Relationship Id="rId18" Type="http://schemas.openxmlformats.org/officeDocument/2006/relationships/slide" Target="slide17.xml"/><Relationship Id="rId26" Type="http://schemas.openxmlformats.org/officeDocument/2006/relationships/slide" Target="slide25.xml"/><Relationship Id="rId3" Type="http://schemas.openxmlformats.org/officeDocument/2006/relationships/image" Target="../media/image35.png"/><Relationship Id="rId21" Type="http://schemas.openxmlformats.org/officeDocument/2006/relationships/slide" Target="slide20.xml"/><Relationship Id="rId7" Type="http://schemas.openxmlformats.org/officeDocument/2006/relationships/slide" Target="slide5.xml"/><Relationship Id="rId12" Type="http://schemas.openxmlformats.org/officeDocument/2006/relationships/slide" Target="slide10.xml"/><Relationship Id="rId17" Type="http://schemas.openxmlformats.org/officeDocument/2006/relationships/slide" Target="slide16.xml"/><Relationship Id="rId25" Type="http://schemas.openxmlformats.org/officeDocument/2006/relationships/slide" Target="slide24.xml"/><Relationship Id="rId2" Type="http://schemas.openxmlformats.org/officeDocument/2006/relationships/image" Target="../media/image34.png"/><Relationship Id="rId16" Type="http://schemas.openxmlformats.org/officeDocument/2006/relationships/slide" Target="slide15.xml"/><Relationship Id="rId20" Type="http://schemas.openxmlformats.org/officeDocument/2006/relationships/slide" Target="slide19.xml"/><Relationship Id="rId1" Type="http://schemas.openxmlformats.org/officeDocument/2006/relationships/slideLayout" Target="../slideLayouts/slideLayout3.xml"/><Relationship Id="rId6" Type="http://schemas.openxmlformats.org/officeDocument/2006/relationships/slide" Target="slide4.xml"/><Relationship Id="rId11" Type="http://schemas.openxmlformats.org/officeDocument/2006/relationships/slide" Target="slide9.xml"/><Relationship Id="rId24" Type="http://schemas.openxmlformats.org/officeDocument/2006/relationships/slide" Target="slide23.xml"/><Relationship Id="rId5" Type="http://schemas.openxmlformats.org/officeDocument/2006/relationships/slide" Target="slide3.xml"/><Relationship Id="rId15" Type="http://schemas.openxmlformats.org/officeDocument/2006/relationships/slide" Target="slide14.xml"/><Relationship Id="rId23" Type="http://schemas.openxmlformats.org/officeDocument/2006/relationships/slide" Target="slide22.xml"/><Relationship Id="rId10" Type="http://schemas.openxmlformats.org/officeDocument/2006/relationships/slide" Target="slide8.xml"/><Relationship Id="rId19" Type="http://schemas.openxmlformats.org/officeDocument/2006/relationships/slide" Target="slide18.xml"/><Relationship Id="rId4" Type="http://schemas.openxmlformats.org/officeDocument/2006/relationships/slide" Target="slide2.xml"/><Relationship Id="rId9" Type="http://schemas.openxmlformats.org/officeDocument/2006/relationships/slide" Target="slide7.xml"/><Relationship Id="rId14" Type="http://schemas.openxmlformats.org/officeDocument/2006/relationships/slide" Target="slide13.xml"/><Relationship Id="rId22" Type="http://schemas.openxmlformats.org/officeDocument/2006/relationships/slide" Target="slide21.xml"/><Relationship Id="rId27" Type="http://schemas.openxmlformats.org/officeDocument/2006/relationships/slide" Target="slide26.xml"/></Relationships>
</file>

<file path=ppt/slides/_rels/slide26.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27.xml.rels><?xml version="1.0" encoding="UTF-8" standalone="yes"?>
<Relationships xmlns="http://schemas.openxmlformats.org/package/2006/relationships"><Relationship Id="rId3" Type="http://schemas.openxmlformats.org/officeDocument/2006/relationships/hyperlink" Target="https://pubmed.ncbi.nlm.nih.gov/31046136/" TargetMode="External"/><Relationship Id="rId2" Type="http://schemas.openxmlformats.org/officeDocument/2006/relationships/hyperlink" Target="https://doi.org/10.1371/journal.pone.0206611" TargetMode="External"/><Relationship Id="rId1" Type="http://schemas.openxmlformats.org/officeDocument/2006/relationships/slideLayout" Target="../slideLayouts/slideLayout5.xml"/><Relationship Id="rId4" Type="http://schemas.openxmlformats.org/officeDocument/2006/relationships/hyperlink" Target="https://doi.org/10.1016/j.ijcard.2017.07.061" TargetMode="Externa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customXml" Target="../../customXml/item6.xml"/><Relationship Id="rId1" Type="http://schemas.openxmlformats.org/officeDocument/2006/relationships/customXml" Target="../../customXml/item1.xml"/></Relationships>
</file>

<file path=ppt/slides/_rels/slide3.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4.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5.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6.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slide" Target="slide13.xml"/><Relationship Id="rId18" Type="http://schemas.openxmlformats.org/officeDocument/2006/relationships/slide" Target="slide18.xml"/><Relationship Id="rId26" Type="http://schemas.openxmlformats.org/officeDocument/2006/relationships/slide" Target="slide26.xml"/><Relationship Id="rId3" Type="http://schemas.openxmlformats.org/officeDocument/2006/relationships/slide" Target="slide2.xml"/><Relationship Id="rId21" Type="http://schemas.openxmlformats.org/officeDocument/2006/relationships/slide" Target="slide21.xml"/><Relationship Id="rId7" Type="http://schemas.openxmlformats.org/officeDocument/2006/relationships/slide" Target="slide6.xml"/><Relationship Id="rId12" Type="http://schemas.openxmlformats.org/officeDocument/2006/relationships/slide" Target="slide12.xml"/><Relationship Id="rId17" Type="http://schemas.openxmlformats.org/officeDocument/2006/relationships/slide" Target="slide17.xml"/><Relationship Id="rId25" Type="http://schemas.openxmlformats.org/officeDocument/2006/relationships/slide" Target="slide25.xml"/><Relationship Id="rId2" Type="http://schemas.openxmlformats.org/officeDocument/2006/relationships/image" Target="../media/image16.png"/><Relationship Id="rId16" Type="http://schemas.openxmlformats.org/officeDocument/2006/relationships/slide" Target="slide16.xml"/><Relationship Id="rId20" Type="http://schemas.openxmlformats.org/officeDocument/2006/relationships/slide" Target="slide20.xml"/><Relationship Id="rId1" Type="http://schemas.openxmlformats.org/officeDocument/2006/relationships/slideLayout" Target="../slideLayouts/slideLayout3.xml"/><Relationship Id="rId6" Type="http://schemas.openxmlformats.org/officeDocument/2006/relationships/slide" Target="slide5.xml"/><Relationship Id="rId11" Type="http://schemas.openxmlformats.org/officeDocument/2006/relationships/slide" Target="slide10.xml"/><Relationship Id="rId24" Type="http://schemas.openxmlformats.org/officeDocument/2006/relationships/slide" Target="slide24.xml"/><Relationship Id="rId5" Type="http://schemas.openxmlformats.org/officeDocument/2006/relationships/slide" Target="slide4.xml"/><Relationship Id="rId15" Type="http://schemas.openxmlformats.org/officeDocument/2006/relationships/slide" Target="slide15.xml"/><Relationship Id="rId23" Type="http://schemas.openxmlformats.org/officeDocument/2006/relationships/slide" Target="slide23.xml"/><Relationship Id="rId10" Type="http://schemas.openxmlformats.org/officeDocument/2006/relationships/slide" Target="slide9.xml"/><Relationship Id="rId19" Type="http://schemas.openxmlformats.org/officeDocument/2006/relationships/slide" Target="slide19.xml"/><Relationship Id="rId4" Type="http://schemas.openxmlformats.org/officeDocument/2006/relationships/slide" Target="slide3.xml"/><Relationship Id="rId9" Type="http://schemas.openxmlformats.org/officeDocument/2006/relationships/slide" Target="slide8.xml"/><Relationship Id="rId14" Type="http://schemas.openxmlformats.org/officeDocument/2006/relationships/slide" Target="slide14.xml"/><Relationship Id="rId22" Type="http://schemas.openxmlformats.org/officeDocument/2006/relationships/slide" Target="slide22.xml"/></Relationships>
</file>

<file path=ppt/slides/_rels/slide7.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14.xml"/><Relationship Id="rId18" Type="http://schemas.openxmlformats.org/officeDocument/2006/relationships/slide" Target="slide19.xml"/><Relationship Id="rId3" Type="http://schemas.openxmlformats.org/officeDocument/2006/relationships/slide" Target="slide3.xml"/><Relationship Id="rId21" Type="http://schemas.openxmlformats.org/officeDocument/2006/relationships/slide" Target="slide22.xml"/><Relationship Id="rId7" Type="http://schemas.openxmlformats.org/officeDocument/2006/relationships/slide" Target="slide7.xml"/><Relationship Id="rId12" Type="http://schemas.openxmlformats.org/officeDocument/2006/relationships/slide" Target="slide13.xml"/><Relationship Id="rId17" Type="http://schemas.openxmlformats.org/officeDocument/2006/relationships/slide" Target="slide18.xml"/><Relationship Id="rId25" Type="http://schemas.openxmlformats.org/officeDocument/2006/relationships/slide" Target="slide26.xml"/><Relationship Id="rId2" Type="http://schemas.openxmlformats.org/officeDocument/2006/relationships/slide" Target="slide2.xml"/><Relationship Id="rId16" Type="http://schemas.openxmlformats.org/officeDocument/2006/relationships/slide" Target="slide17.xml"/><Relationship Id="rId20" Type="http://schemas.openxmlformats.org/officeDocument/2006/relationships/slide" Target="slide21.xml"/><Relationship Id="rId1" Type="http://schemas.openxmlformats.org/officeDocument/2006/relationships/slideLayout" Target="../slideLayouts/slideLayout3.xml"/><Relationship Id="rId6" Type="http://schemas.openxmlformats.org/officeDocument/2006/relationships/slide" Target="slide6.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5.xml"/><Relationship Id="rId15" Type="http://schemas.openxmlformats.org/officeDocument/2006/relationships/slide" Target="slide16.xml"/><Relationship Id="rId23" Type="http://schemas.openxmlformats.org/officeDocument/2006/relationships/slide" Target="slide24.xml"/><Relationship Id="rId10" Type="http://schemas.openxmlformats.org/officeDocument/2006/relationships/slide" Target="slide10.xml"/><Relationship Id="rId19" Type="http://schemas.openxmlformats.org/officeDocument/2006/relationships/slide" Target="slide20.xml"/><Relationship Id="rId4" Type="http://schemas.openxmlformats.org/officeDocument/2006/relationships/slide" Target="slide4.xml"/><Relationship Id="rId9" Type="http://schemas.openxmlformats.org/officeDocument/2006/relationships/slide" Target="slide9.xml"/><Relationship Id="rId14" Type="http://schemas.openxmlformats.org/officeDocument/2006/relationships/slide" Target="slide15.xml"/><Relationship Id="rId22" Type="http://schemas.openxmlformats.org/officeDocument/2006/relationships/slide" Target="slide23.xml"/></Relationships>
</file>

<file path=ppt/slides/_rels/slide8.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slide" Target="slide12.xml"/><Relationship Id="rId18" Type="http://schemas.openxmlformats.org/officeDocument/2006/relationships/slide" Target="slide17.xml"/><Relationship Id="rId26" Type="http://schemas.openxmlformats.org/officeDocument/2006/relationships/slide" Target="slide25.xml"/><Relationship Id="rId3" Type="http://schemas.openxmlformats.org/officeDocument/2006/relationships/image" Target="../media/image17.jpeg"/><Relationship Id="rId21" Type="http://schemas.openxmlformats.org/officeDocument/2006/relationships/slide" Target="slide20.xml"/><Relationship Id="rId7" Type="http://schemas.openxmlformats.org/officeDocument/2006/relationships/slide" Target="slide5.xml"/><Relationship Id="rId12" Type="http://schemas.openxmlformats.org/officeDocument/2006/relationships/slide" Target="slide10.xml"/><Relationship Id="rId17" Type="http://schemas.openxmlformats.org/officeDocument/2006/relationships/slide" Target="slide16.xml"/><Relationship Id="rId25" Type="http://schemas.openxmlformats.org/officeDocument/2006/relationships/slide" Target="slide24.xml"/><Relationship Id="rId2" Type="http://schemas.openxmlformats.org/officeDocument/2006/relationships/slideLayout" Target="../slideLayouts/slideLayout3.xml"/><Relationship Id="rId16" Type="http://schemas.openxmlformats.org/officeDocument/2006/relationships/slide" Target="slide15.xml"/><Relationship Id="rId20" Type="http://schemas.openxmlformats.org/officeDocument/2006/relationships/slide" Target="slide19.xml"/><Relationship Id="rId1" Type="http://schemas.openxmlformats.org/officeDocument/2006/relationships/tags" Target="../tags/tag110.xml"/><Relationship Id="rId6" Type="http://schemas.openxmlformats.org/officeDocument/2006/relationships/slide" Target="slide4.xml"/><Relationship Id="rId11" Type="http://schemas.openxmlformats.org/officeDocument/2006/relationships/slide" Target="slide9.xml"/><Relationship Id="rId24" Type="http://schemas.openxmlformats.org/officeDocument/2006/relationships/slide" Target="slide23.xml"/><Relationship Id="rId5" Type="http://schemas.openxmlformats.org/officeDocument/2006/relationships/slide" Target="slide3.xml"/><Relationship Id="rId15" Type="http://schemas.openxmlformats.org/officeDocument/2006/relationships/slide" Target="slide14.xml"/><Relationship Id="rId23" Type="http://schemas.openxmlformats.org/officeDocument/2006/relationships/slide" Target="slide22.xml"/><Relationship Id="rId10" Type="http://schemas.openxmlformats.org/officeDocument/2006/relationships/slide" Target="slide8.xml"/><Relationship Id="rId19" Type="http://schemas.openxmlformats.org/officeDocument/2006/relationships/slide" Target="slide18.xml"/><Relationship Id="rId4" Type="http://schemas.openxmlformats.org/officeDocument/2006/relationships/slide" Target="slide2.xml"/><Relationship Id="rId9" Type="http://schemas.openxmlformats.org/officeDocument/2006/relationships/slide" Target="slide7.xml"/><Relationship Id="rId14" Type="http://schemas.openxmlformats.org/officeDocument/2006/relationships/slide" Target="slide13.xml"/><Relationship Id="rId22" Type="http://schemas.openxmlformats.org/officeDocument/2006/relationships/slide" Target="slide21.xml"/><Relationship Id="rId27" Type="http://schemas.openxmlformats.org/officeDocument/2006/relationships/slide" Target="slide26.xml"/></Relationships>
</file>

<file path=ppt/slides/_rels/slide9.xml.rels><?xml version="1.0" encoding="UTF-8" standalone="yes"?>
<Relationships xmlns="http://schemas.openxmlformats.org/package/2006/relationships"><Relationship Id="rId8" Type="http://schemas.openxmlformats.org/officeDocument/2006/relationships/slide" Target="slide4.xml"/><Relationship Id="rId13" Type="http://schemas.openxmlformats.org/officeDocument/2006/relationships/slide" Target="slide9.xml"/><Relationship Id="rId18" Type="http://schemas.openxmlformats.org/officeDocument/2006/relationships/slide" Target="slide15.xml"/><Relationship Id="rId26" Type="http://schemas.openxmlformats.org/officeDocument/2006/relationships/slide" Target="slide23.xml"/><Relationship Id="rId3" Type="http://schemas.openxmlformats.org/officeDocument/2006/relationships/image" Target="../media/image18.jpeg"/><Relationship Id="rId21" Type="http://schemas.openxmlformats.org/officeDocument/2006/relationships/slide" Target="slide18.xml"/><Relationship Id="rId7" Type="http://schemas.openxmlformats.org/officeDocument/2006/relationships/slide" Target="slide3.xml"/><Relationship Id="rId12" Type="http://schemas.openxmlformats.org/officeDocument/2006/relationships/slide" Target="slide8.xml"/><Relationship Id="rId17" Type="http://schemas.openxmlformats.org/officeDocument/2006/relationships/slide" Target="slide14.xml"/><Relationship Id="rId25" Type="http://schemas.openxmlformats.org/officeDocument/2006/relationships/slide" Target="slide22.xml"/><Relationship Id="rId2" Type="http://schemas.openxmlformats.org/officeDocument/2006/relationships/slideLayout" Target="../slideLayouts/slideLayout3.xml"/><Relationship Id="rId16" Type="http://schemas.openxmlformats.org/officeDocument/2006/relationships/slide" Target="slide13.xml"/><Relationship Id="rId20" Type="http://schemas.openxmlformats.org/officeDocument/2006/relationships/slide" Target="slide17.xml"/><Relationship Id="rId29" Type="http://schemas.openxmlformats.org/officeDocument/2006/relationships/slide" Target="slide26.xml"/><Relationship Id="rId1" Type="http://schemas.openxmlformats.org/officeDocument/2006/relationships/tags" Target="../tags/tag111.xml"/><Relationship Id="rId6" Type="http://schemas.openxmlformats.org/officeDocument/2006/relationships/slide" Target="slide2.xml"/><Relationship Id="rId11" Type="http://schemas.openxmlformats.org/officeDocument/2006/relationships/slide" Target="slide7.xml"/><Relationship Id="rId24" Type="http://schemas.openxmlformats.org/officeDocument/2006/relationships/slide" Target="slide21.xml"/><Relationship Id="rId5" Type="http://schemas.openxmlformats.org/officeDocument/2006/relationships/image" Target="../media/image20.png"/><Relationship Id="rId15" Type="http://schemas.openxmlformats.org/officeDocument/2006/relationships/slide" Target="slide12.xml"/><Relationship Id="rId23" Type="http://schemas.openxmlformats.org/officeDocument/2006/relationships/slide" Target="slide20.xml"/><Relationship Id="rId28" Type="http://schemas.openxmlformats.org/officeDocument/2006/relationships/slide" Target="slide25.xml"/><Relationship Id="rId10" Type="http://schemas.openxmlformats.org/officeDocument/2006/relationships/slide" Target="slide6.xml"/><Relationship Id="rId19" Type="http://schemas.openxmlformats.org/officeDocument/2006/relationships/slide" Target="slide16.xml"/><Relationship Id="rId4" Type="http://schemas.openxmlformats.org/officeDocument/2006/relationships/image" Target="../media/image19.png"/><Relationship Id="rId9" Type="http://schemas.openxmlformats.org/officeDocument/2006/relationships/slide" Target="slide5.xml"/><Relationship Id="rId14" Type="http://schemas.openxmlformats.org/officeDocument/2006/relationships/slide" Target="slide10.xml"/><Relationship Id="rId22" Type="http://schemas.openxmlformats.org/officeDocument/2006/relationships/slide" Target="slide19.xml"/><Relationship Id="rId27" Type="http://schemas.openxmlformats.org/officeDocument/2006/relationships/slide" Target="slide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78D1A23-1CF2-49EB-8D65-646B3B630C72}"/>
              </a:ext>
            </a:extLst>
          </p:cNvPr>
          <p:cNvSpPr>
            <a:spLocks noGrp="1"/>
          </p:cNvSpPr>
          <p:nvPr>
            <p:ph type="body" sz="quarter" idx="15"/>
          </p:nvPr>
        </p:nvSpPr>
        <p:spPr>
          <a:xfrm>
            <a:off x="837437" y="4817113"/>
            <a:ext cx="4324891" cy="189214"/>
          </a:xfrm>
        </p:spPr>
        <p:txBody>
          <a:bodyPr/>
          <a:lstStyle/>
          <a:p>
            <a:r>
              <a:rPr lang="en-GB" sz="800" noProof="0" dirty="0"/>
              <a:t>©2021 </a:t>
            </a:r>
            <a:r>
              <a:rPr lang="en-GB" sz="800" noProof="0" dirty="0" err="1"/>
              <a:t>Koninklijke</a:t>
            </a:r>
            <a:r>
              <a:rPr lang="en-GB" sz="800" noProof="0" dirty="0"/>
              <a:t> Philips N.V. All rights reserved. Approved for internal distribution. D2021120801</a:t>
            </a:r>
          </a:p>
        </p:txBody>
      </p:sp>
      <p:sp>
        <p:nvSpPr>
          <p:cNvPr id="5" name="Text Placeholder 4">
            <a:extLst>
              <a:ext uri="{FF2B5EF4-FFF2-40B4-BE49-F238E27FC236}">
                <a16:creationId xmlns:a16="http://schemas.microsoft.com/office/drawing/2014/main" id="{BF41DCD1-7E07-4346-AC06-6E652593FAE8}"/>
              </a:ext>
            </a:extLst>
          </p:cNvPr>
          <p:cNvSpPr>
            <a:spLocks noGrp="1"/>
          </p:cNvSpPr>
          <p:nvPr>
            <p:ph type="body" sz="quarter" idx="10"/>
          </p:nvPr>
        </p:nvSpPr>
        <p:spPr/>
        <p:txBody>
          <a:bodyPr/>
          <a:lstStyle/>
          <a:p>
            <a:r>
              <a:rPr lang="en-GB" noProof="0" dirty="0">
                <a:latin typeface="Neue Frutiger World" panose="020B0603040304020203" pitchFamily="34" charset="0"/>
                <a:cs typeface="Neue Frutiger World" panose="020B0603040304020203" pitchFamily="34" charset="0"/>
              </a:rPr>
              <a:t>International </a:t>
            </a:r>
          </a:p>
          <a:p>
            <a:r>
              <a:rPr lang="en-GB" noProof="0" dirty="0">
                <a:latin typeface="Neue Frutiger World" panose="020B0603040304020203" pitchFamily="34" charset="0"/>
                <a:cs typeface="Neue Frutiger World" panose="020B0603040304020203" pitchFamily="34" charset="0"/>
              </a:rPr>
              <a:t>Infection Atlas</a:t>
            </a:r>
          </a:p>
        </p:txBody>
      </p:sp>
      <p:sp>
        <p:nvSpPr>
          <p:cNvPr id="7" name="Rectangle 6">
            <a:extLst>
              <a:ext uri="{FF2B5EF4-FFF2-40B4-BE49-F238E27FC236}">
                <a16:creationId xmlns:a16="http://schemas.microsoft.com/office/drawing/2014/main" id="{6B9E326E-4045-4299-8ED8-C9BC5CD9F0F8}"/>
              </a:ext>
            </a:extLst>
          </p:cNvPr>
          <p:cNvSpPr/>
          <p:nvPr/>
        </p:nvSpPr>
        <p:spPr>
          <a:xfrm>
            <a:off x="837437" y="905000"/>
            <a:ext cx="1317600" cy="334862"/>
          </a:xfrm>
          <a:prstGeom prst="rect">
            <a:avLst/>
          </a:prstGeom>
          <a:solidFill>
            <a:srgbClr val="0057A5"/>
          </a:solidFill>
          <a:ln w="25400" cap="flat" cmpd="sng" algn="ctr">
            <a:solidFill>
              <a:srgbClr val="0057A5"/>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850" dirty="0">
                <a:latin typeface="Neue Frutiger World" panose="020B0603040304020203" pitchFamily="34" charset="0"/>
                <a:cs typeface="Neue Frutiger World" panose="020B0603040304020203" pitchFamily="34" charset="0"/>
              </a:rPr>
              <a:t>Heart Rhythm Management</a:t>
            </a:r>
            <a:endParaRPr lang="en-US" sz="850" dirty="0">
              <a:latin typeface="Neue Frutiger World" panose="020B0603040304020203" pitchFamily="34" charset="0"/>
              <a:cs typeface="Neue Frutiger World" panose="020B0603040304020203" pitchFamily="34" charset="0"/>
            </a:endParaRPr>
          </a:p>
        </p:txBody>
      </p:sp>
      <p:sp>
        <p:nvSpPr>
          <p:cNvPr id="8" name="Rectangle 7">
            <a:extLst>
              <a:ext uri="{FF2B5EF4-FFF2-40B4-BE49-F238E27FC236}">
                <a16:creationId xmlns:a16="http://schemas.microsoft.com/office/drawing/2014/main" id="{FF44CC95-56AD-4571-A127-BD84980DC9E0}"/>
              </a:ext>
            </a:extLst>
          </p:cNvPr>
          <p:cNvSpPr/>
          <p:nvPr/>
        </p:nvSpPr>
        <p:spPr>
          <a:xfrm>
            <a:off x="841786" y="581000"/>
            <a:ext cx="1314000" cy="324000"/>
          </a:xfrm>
          <a:prstGeom prst="rect">
            <a:avLst/>
          </a:prstGeom>
          <a:solidFill>
            <a:srgbClr val="0084BE"/>
          </a:solidFill>
          <a:ln w="25400" cap="flat" cmpd="sng" algn="ctr">
            <a:solidFill>
              <a:srgbClr val="0084BE"/>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850" dirty="0">
                <a:latin typeface="Neue Frutiger World" panose="020B0603040304020203" pitchFamily="34" charset="0"/>
                <a:cs typeface="Neue Frutiger World" panose="020B0603040304020203" pitchFamily="34" charset="0"/>
              </a:rPr>
              <a:t>Image Guided Therapy</a:t>
            </a:r>
            <a:endParaRPr lang="en-US" sz="850" dirty="0">
              <a:latin typeface="Neue Frutiger World" panose="020B0603040304020203" pitchFamily="34" charset="0"/>
              <a:cs typeface="Neue Frutiger World" panose="020B0603040304020203" pitchFamily="34" charset="0"/>
            </a:endParaRPr>
          </a:p>
        </p:txBody>
      </p:sp>
      <p:sp>
        <p:nvSpPr>
          <p:cNvPr id="9" name="TextBox 8">
            <a:extLst>
              <a:ext uri="{FF2B5EF4-FFF2-40B4-BE49-F238E27FC236}">
                <a16:creationId xmlns:a16="http://schemas.microsoft.com/office/drawing/2014/main" id="{A6423F4C-1299-42B3-91AB-E7EE44F3AADD}"/>
              </a:ext>
            </a:extLst>
          </p:cNvPr>
          <p:cNvSpPr txBox="1"/>
          <p:nvPr/>
        </p:nvSpPr>
        <p:spPr>
          <a:xfrm>
            <a:off x="8100392" y="4803998"/>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Confidential</a:t>
            </a:r>
            <a:endParaRPr lang="en-US" dirty="0">
              <a:latin typeface="Neue Frutiger World" panose="020B0603040304020203" pitchFamily="34" charset="0"/>
              <a:cs typeface="Neue Frutiger World" panose="020B0603040304020203" pitchFamily="34" charset="0"/>
            </a:endParaRPr>
          </a:p>
        </p:txBody>
      </p:sp>
    </p:spTree>
    <p:custDataLst>
      <p:custData r:id="rId1"/>
      <p:custData r:id="rId2"/>
    </p:custDataLst>
    <p:extLst>
      <p:ext uri="{BB962C8B-B14F-4D97-AF65-F5344CB8AC3E}">
        <p14:creationId xmlns:p14="http://schemas.microsoft.com/office/powerpoint/2010/main" val="178835646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xmlns:a16="http://schemas.microsoft.com/office/drawing/2014/main">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13E40-4C64-4023-88E8-F4DE64BA7A65}"/>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Key messages (1/2)</a:t>
            </a:r>
          </a:p>
        </p:txBody>
      </p:sp>
      <p:sp>
        <p:nvSpPr>
          <p:cNvPr id="3" name="Footer Placeholder 2">
            <a:extLst>
              <a:ext uri="{FF2B5EF4-FFF2-40B4-BE49-F238E27FC236}">
                <a16:creationId xmlns:a16="http://schemas.microsoft.com/office/drawing/2014/main" id="{4A386A40-13B7-407E-B8FF-FCDB94BF4CC0}"/>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99F6BCFA-AECD-4DFC-8BCC-CE11F36AA6BD}"/>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10</a:t>
            </a:fld>
            <a:endParaRPr lang="en-US" noProof="0" dirty="0">
              <a:latin typeface="Neue Frutiger World" panose="020B0603040304020203" pitchFamily="34" charset="0"/>
              <a:cs typeface="Neue Frutiger World" panose="020B0603040304020203" pitchFamily="34" charset="0"/>
            </a:endParaRPr>
          </a:p>
        </p:txBody>
      </p:sp>
      <p:sp>
        <p:nvSpPr>
          <p:cNvPr id="6" name="object 4">
            <a:extLst>
              <a:ext uri="{FF2B5EF4-FFF2-40B4-BE49-F238E27FC236}">
                <a16:creationId xmlns:a16="http://schemas.microsoft.com/office/drawing/2014/main" id="{A7118770-8DA9-4866-A511-3DDFA6DD3281}"/>
              </a:ext>
            </a:extLst>
          </p:cNvPr>
          <p:cNvSpPr txBox="1">
            <a:spLocks noGrp="1"/>
          </p:cNvSpPr>
          <p:nvPr>
            <p:ph type="body" sz="quarter" idx="14"/>
          </p:nvPr>
        </p:nvSpPr>
        <p:spPr>
          <a:xfrm>
            <a:off x="1547813" y="956526"/>
            <a:ext cx="3672259" cy="3271408"/>
          </a:xfrm>
          <a:prstGeom prst="rect">
            <a:avLst/>
          </a:prstGeom>
        </p:spPr>
        <p:txBody>
          <a:bodyPr vert="horz" wrap="square" lIns="0" tIns="74930" rIns="0" bIns="0" rtlCol="0">
            <a:spAutoFit/>
          </a:bodyPr>
          <a:lstStyle/>
          <a:p>
            <a:pPr marL="0" indent="0">
              <a:spcBef>
                <a:spcPts val="590"/>
              </a:spcBef>
              <a:buNone/>
            </a:pPr>
            <a:r>
              <a:rPr lang="en-GB" sz="900" b="1" spc="-15" noProof="0" dirty="0">
                <a:solidFill>
                  <a:srgbClr val="231F20"/>
                </a:solidFill>
                <a:latin typeface="Neue Frutiger World" panose="020B0603040304020203" pitchFamily="34" charset="0"/>
                <a:cs typeface="Neue Frutiger World" panose="020B0603040304020203" pitchFamily="34" charset="0"/>
              </a:rPr>
              <a:t>Systemic</a:t>
            </a:r>
            <a:r>
              <a:rPr lang="en-GB" sz="900" b="1" spc="-65" noProof="0" dirty="0">
                <a:solidFill>
                  <a:srgbClr val="231F20"/>
                </a:solidFill>
                <a:latin typeface="Neue Frutiger World" panose="020B0603040304020203" pitchFamily="34" charset="0"/>
                <a:cs typeface="Neue Frutiger World" panose="020B0603040304020203" pitchFamily="34" charset="0"/>
              </a:rPr>
              <a:t> </a:t>
            </a:r>
            <a:r>
              <a:rPr lang="en-GB" sz="900" b="1" spc="5" noProof="0" dirty="0">
                <a:solidFill>
                  <a:srgbClr val="231F20"/>
                </a:solidFill>
                <a:latin typeface="Neue Frutiger World" panose="020B0603040304020203" pitchFamily="34" charset="0"/>
                <a:cs typeface="Neue Frutiger World" panose="020B0603040304020203" pitchFamily="34" charset="0"/>
              </a:rPr>
              <a:t>infections have 31% 1-year mortality rate</a:t>
            </a:r>
            <a:r>
              <a:rPr lang="en-GB" sz="900" b="1" spc="-40" noProof="0" dirty="0">
                <a:solidFill>
                  <a:srgbClr val="231F20"/>
                </a:solidFill>
                <a:latin typeface="Neue Frutiger World" panose="020B0603040304020203" pitchFamily="34" charset="0"/>
                <a:cs typeface="Neue Frutiger World" panose="020B0603040304020203" pitchFamily="34" charset="0"/>
              </a:rPr>
              <a:t>.</a:t>
            </a:r>
            <a:r>
              <a:rPr lang="en-GB" sz="900" b="1" spc="-60" baseline="30864" noProof="0" dirty="0">
                <a:solidFill>
                  <a:srgbClr val="231F20"/>
                </a:solidFill>
                <a:latin typeface="Neue Frutiger World" panose="020B0603040304020203" pitchFamily="34" charset="0"/>
                <a:cs typeface="Neue Frutiger World" panose="020B0603040304020203" pitchFamily="34" charset="0"/>
              </a:rPr>
              <a:t>12</a:t>
            </a:r>
            <a:endParaRPr lang="en-GB" sz="900" b="1" baseline="30864" noProof="0" dirty="0">
              <a:latin typeface="Neue Frutiger World" panose="020B0603040304020203" pitchFamily="34" charset="0"/>
              <a:cs typeface="Neue Frutiger World" panose="020B0603040304020203" pitchFamily="34" charset="0"/>
            </a:endParaRPr>
          </a:p>
          <a:p>
            <a:pPr marL="139688" indent="-101592">
              <a:spcBef>
                <a:spcPts val="489"/>
              </a:spcBef>
              <a:buChar char="•"/>
              <a:tabLst>
                <a:tab pos="139688" algn="l"/>
              </a:tabLst>
            </a:pPr>
            <a:r>
              <a:rPr lang="en-GB" sz="900" spc="-5" noProof="0" dirty="0">
                <a:solidFill>
                  <a:srgbClr val="231F20"/>
                </a:solidFill>
                <a:latin typeface="Neue Frutiger World" panose="020B0603040304020203" pitchFamily="34" charset="0"/>
                <a:cs typeface="Neue Frutiger World" panose="020B0603040304020203" pitchFamily="34" charset="0"/>
              </a:rPr>
              <a:t>If</a:t>
            </a:r>
            <a:r>
              <a:rPr lang="en-GB" sz="900" spc="-10" noProof="0" dirty="0">
                <a:solidFill>
                  <a:srgbClr val="231F20"/>
                </a:solidFill>
                <a:latin typeface="Neue Frutiger World" panose="020B0603040304020203" pitchFamily="34" charset="0"/>
                <a:cs typeface="Neue Frutiger World" panose="020B0603040304020203" pitchFamily="34" charset="0"/>
              </a:rPr>
              <a:t> left</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15" noProof="0" dirty="0">
                <a:solidFill>
                  <a:srgbClr val="231F20"/>
                </a:solidFill>
                <a:latin typeface="Neue Frutiger World" panose="020B0603040304020203" pitchFamily="34" charset="0"/>
                <a:cs typeface="Neue Frutiger World" panose="020B0603040304020203" pitchFamily="34" charset="0"/>
              </a:rPr>
              <a:t>untreated</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an</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infected</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device</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or</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leads</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noProof="0" dirty="0">
                <a:solidFill>
                  <a:srgbClr val="231F20"/>
                </a:solidFill>
                <a:latin typeface="Neue Frutiger World" panose="020B0603040304020203" pitchFamily="34" charset="0"/>
                <a:cs typeface="Neue Frutiger World" panose="020B0603040304020203" pitchFamily="34" charset="0"/>
              </a:rPr>
              <a:t>may</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lead</a:t>
            </a:r>
            <a:r>
              <a:rPr lang="en-GB" sz="900" spc="5" noProof="0" dirty="0">
                <a:solidFill>
                  <a:srgbClr val="231F20"/>
                </a:solidFill>
                <a:latin typeface="Neue Frutiger World" panose="020B0603040304020203" pitchFamily="34" charset="0"/>
                <a:cs typeface="Neue Frutiger World" panose="020B0603040304020203" pitchFamily="34" charset="0"/>
              </a:rPr>
              <a:t> </a:t>
            </a:r>
            <a:r>
              <a:rPr lang="en-GB" sz="900" spc="-20" noProof="0" dirty="0">
                <a:solidFill>
                  <a:srgbClr val="231F20"/>
                </a:solidFill>
                <a:latin typeface="Neue Frutiger World" panose="020B0603040304020203" pitchFamily="34" charset="0"/>
                <a:cs typeface="Neue Frutiger World" panose="020B0603040304020203" pitchFamily="34" charset="0"/>
              </a:rPr>
              <a:t>to</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endocarditis</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or</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death.</a:t>
            </a:r>
          </a:p>
          <a:p>
            <a:pPr marL="0" indent="0">
              <a:spcBef>
                <a:spcPts val="100"/>
              </a:spcBef>
              <a:buNone/>
            </a:pPr>
            <a:endParaRPr lang="en-GB" sz="900" spc="-5" noProof="0" dirty="0">
              <a:solidFill>
                <a:srgbClr val="231F20"/>
              </a:solidFill>
              <a:latin typeface="Neue Frutiger World" panose="020B0603040304020203" pitchFamily="34" charset="0"/>
              <a:cs typeface="Neue Frutiger World" panose="020B0603040304020203" pitchFamily="34" charset="0"/>
            </a:endParaRPr>
          </a:p>
          <a:p>
            <a:pPr marL="0" indent="0">
              <a:spcBef>
                <a:spcPts val="100"/>
              </a:spcBef>
              <a:buNone/>
            </a:pPr>
            <a:r>
              <a:rPr lang="en-GB" sz="900" b="1" spc="5" noProof="0" dirty="0">
                <a:solidFill>
                  <a:srgbClr val="231F20"/>
                </a:solidFill>
                <a:latin typeface="Neue Frutiger World" panose="020B0603040304020203" pitchFamily="34" charset="0"/>
                <a:cs typeface="Neue Frutiger World" panose="020B0603040304020203" pitchFamily="34" charset="0"/>
              </a:rPr>
              <a:t>Risk of relapse is up to 100% without complete system removal</a:t>
            </a:r>
            <a:r>
              <a:rPr lang="en-GB" sz="900" b="1" spc="-10" noProof="0" dirty="0">
                <a:solidFill>
                  <a:srgbClr val="231F20"/>
                </a:solidFill>
                <a:latin typeface="Neue Frutiger World" panose="020B0603040304020203" pitchFamily="34" charset="0"/>
                <a:cs typeface="Neue Frutiger World" panose="020B0603040304020203" pitchFamily="34" charset="0"/>
              </a:rPr>
              <a:t>.</a:t>
            </a:r>
            <a:r>
              <a:rPr lang="en-GB" sz="900" b="1" spc="-15" baseline="30864" noProof="0" dirty="0">
                <a:solidFill>
                  <a:srgbClr val="231F20"/>
                </a:solidFill>
                <a:latin typeface="Neue Frutiger World" panose="020B0603040304020203" pitchFamily="34" charset="0"/>
                <a:cs typeface="Neue Frutiger World" panose="020B0603040304020203" pitchFamily="34" charset="0"/>
              </a:rPr>
              <a:t>5-9</a:t>
            </a:r>
          </a:p>
          <a:p>
            <a:pPr marL="253979">
              <a:spcBef>
                <a:spcPts val="270"/>
              </a:spcBef>
            </a:pPr>
            <a:endParaRPr lang="en-GB" sz="900" spc="-5" noProof="0" dirty="0">
              <a:solidFill>
                <a:srgbClr val="231F20"/>
              </a:solidFill>
              <a:latin typeface="Neue Frutiger World" panose="020B0603040304020203" pitchFamily="34" charset="0"/>
              <a:cs typeface="Neue Frutiger World" panose="020B0603040304020203" pitchFamily="34" charset="0"/>
            </a:endParaRPr>
          </a:p>
          <a:p>
            <a:pPr marL="0" indent="0">
              <a:spcBef>
                <a:spcPts val="590"/>
              </a:spcBef>
              <a:buNone/>
            </a:pPr>
            <a:r>
              <a:rPr lang="en-GB" sz="900" b="1" spc="5" noProof="0" dirty="0">
                <a:solidFill>
                  <a:srgbClr val="231F20"/>
                </a:solidFill>
                <a:latin typeface="Neue Frutiger World" panose="020B0603040304020203" pitchFamily="34" charset="0"/>
                <a:cs typeface="Neue Frutiger World" panose="020B0603040304020203" pitchFamily="34" charset="0"/>
              </a:rPr>
              <a:t>CIED infections can originate from sources other than the device or leads.</a:t>
            </a:r>
          </a:p>
          <a:p>
            <a:pPr marL="139688" marR="30477" indent="-101592">
              <a:spcBef>
                <a:spcPts val="450"/>
              </a:spcBef>
              <a:buChar char="•"/>
              <a:tabLst>
                <a:tab pos="139688" algn="l"/>
              </a:tabLst>
            </a:pPr>
            <a:r>
              <a:rPr lang="en-GB" sz="900" spc="-5" noProof="0" dirty="0">
                <a:solidFill>
                  <a:srgbClr val="231F20"/>
                </a:solidFill>
                <a:latin typeface="Neue Frutiger World" panose="020B0603040304020203" pitchFamily="34" charset="0"/>
                <a:cs typeface="Neue Frutiger World" panose="020B0603040304020203" pitchFamily="34" charset="0"/>
              </a:rPr>
              <a:t>One</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study</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showed</a:t>
            </a:r>
            <a:r>
              <a:rPr lang="en-GB" sz="900" spc="5" noProof="0" dirty="0">
                <a:solidFill>
                  <a:srgbClr val="231F20"/>
                </a:solidFill>
                <a:latin typeface="Neue Frutiger World" panose="020B0603040304020203" pitchFamily="34" charset="0"/>
                <a:cs typeface="Neue Frutiger World" panose="020B0603040304020203" pitchFamily="34" charset="0"/>
              </a:rPr>
              <a:t> </a:t>
            </a:r>
            <a:r>
              <a:rPr lang="en-GB" sz="900" spc="-15" noProof="0" dirty="0">
                <a:solidFill>
                  <a:srgbClr val="231F20"/>
                </a:solidFill>
                <a:latin typeface="Neue Frutiger World" panose="020B0603040304020203" pitchFamily="34" charset="0"/>
                <a:cs typeface="Neue Frutiger World" panose="020B0603040304020203" pitchFamily="34" charset="0"/>
              </a:rPr>
              <a:t>that</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noProof="0" dirty="0">
                <a:latin typeface="Neue Frutiger World" panose="020B0603040304020203" pitchFamily="34" charset="0"/>
                <a:cs typeface="Neue Frutiger World" panose="020B0603040304020203" pitchFamily="34" charset="0"/>
              </a:rPr>
              <a:t>27.3%</a:t>
            </a:r>
            <a:r>
              <a:rPr lang="en-GB" sz="900" spc="10" noProof="0" dirty="0">
                <a:latin typeface="Neue Frutiger World" panose="020B0603040304020203" pitchFamily="34" charset="0"/>
                <a:cs typeface="Neue Frutiger World" panose="020B0603040304020203" pitchFamily="34" charset="0"/>
              </a:rPr>
              <a:t> </a:t>
            </a:r>
            <a:r>
              <a:rPr lang="en-GB" sz="900" noProof="0" dirty="0">
                <a:latin typeface="Neue Frutiger World" panose="020B0603040304020203" pitchFamily="34" charset="0"/>
                <a:cs typeface="Neue Frutiger World" panose="020B0603040304020203" pitchFamily="34" charset="0"/>
              </a:rPr>
              <a:t>of</a:t>
            </a:r>
            <a:r>
              <a:rPr lang="en-GB" sz="900" spc="-10" noProof="0" dirty="0">
                <a:latin typeface="Neue Frutiger World" panose="020B0603040304020203" pitchFamily="34" charset="0"/>
                <a:cs typeface="Neue Frutiger World" panose="020B0603040304020203" pitchFamily="34" charset="0"/>
              </a:rPr>
              <a:t> patients</a:t>
            </a:r>
            <a:r>
              <a:rPr lang="en-GB" sz="900" spc="15" noProof="0" dirty="0">
                <a:latin typeface="Neue Frutiger World" panose="020B0603040304020203" pitchFamily="34" charset="0"/>
                <a:cs typeface="Neue Frutiger World" panose="020B0603040304020203" pitchFamily="34" charset="0"/>
              </a:rPr>
              <a:t> </a:t>
            </a:r>
            <a:r>
              <a:rPr lang="en-GB" sz="900" spc="-5" noProof="0" dirty="0">
                <a:latin typeface="Neue Frutiger World" panose="020B0603040304020203" pitchFamily="34" charset="0"/>
                <a:cs typeface="Neue Frutiger World" panose="020B0603040304020203" pitchFamily="34" charset="0"/>
              </a:rPr>
              <a:t>had</a:t>
            </a:r>
            <a:r>
              <a:rPr lang="en-GB" sz="900" spc="10" noProof="0" dirty="0">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a</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device</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infection</a:t>
            </a:r>
            <a:r>
              <a:rPr lang="en-GB" sz="900" spc="5" noProof="0" dirty="0">
                <a:solidFill>
                  <a:srgbClr val="231F20"/>
                </a:solidFill>
                <a:latin typeface="Neue Frutiger World" panose="020B0603040304020203" pitchFamily="34" charset="0"/>
                <a:cs typeface="Neue Frutiger World" panose="020B0603040304020203" pitchFamily="34" charset="0"/>
              </a:rPr>
              <a:t> </a:t>
            </a:r>
            <a:r>
              <a:rPr lang="en-GB" sz="900" spc="-15" noProof="0" dirty="0">
                <a:solidFill>
                  <a:srgbClr val="231F20"/>
                </a:solidFill>
                <a:latin typeface="Neue Frutiger World" panose="020B0603040304020203" pitchFamily="34" charset="0"/>
                <a:cs typeface="Neue Frutiger World" panose="020B0603040304020203" pitchFamily="34" charset="0"/>
              </a:rPr>
              <a:t>that</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originated</a:t>
            </a:r>
            <a:r>
              <a:rPr lang="en-GB" sz="900" spc="5"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from</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a</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distant</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or</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latin typeface="Neue Frutiger World" panose="020B0603040304020203" pitchFamily="34" charset="0"/>
                <a:cs typeface="Neue Frutiger World" panose="020B0603040304020203" pitchFamily="34" charset="0"/>
              </a:rPr>
              <a:t>unknown </a:t>
            </a:r>
            <a:r>
              <a:rPr lang="en-GB" sz="900" spc="-10" noProof="0" dirty="0">
                <a:latin typeface="Neue Frutiger World" panose="020B0603040304020203" pitchFamily="34" charset="0"/>
                <a:cs typeface="Neue Frutiger World" panose="020B0603040304020203" pitchFamily="34" charset="0"/>
              </a:rPr>
              <a:t>source</a:t>
            </a:r>
            <a:r>
              <a:rPr lang="en-GB" sz="900" noProof="0" dirty="0">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other</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than</a:t>
            </a:r>
            <a:r>
              <a:rPr lang="en-GB" sz="900" spc="5"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device</a:t>
            </a:r>
            <a:r>
              <a:rPr lang="en-GB" sz="900" spc="5"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or</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leads).</a:t>
            </a:r>
            <a:r>
              <a:rPr lang="en-GB" sz="900" spc="-7" baseline="30864" noProof="0" dirty="0">
                <a:solidFill>
                  <a:srgbClr val="231F20"/>
                </a:solidFill>
                <a:latin typeface="Neue Frutiger World" panose="020B0603040304020203" pitchFamily="34" charset="0"/>
                <a:cs typeface="Neue Frutiger World" panose="020B0603040304020203" pitchFamily="34" charset="0"/>
              </a:rPr>
              <a:t>13</a:t>
            </a:r>
            <a:endParaRPr lang="en-GB" sz="900" baseline="30864" noProof="0" dirty="0">
              <a:latin typeface="Neue Frutiger World" panose="020B0603040304020203" pitchFamily="34" charset="0"/>
              <a:cs typeface="Neue Frutiger World" panose="020B0603040304020203" pitchFamily="34" charset="0"/>
            </a:endParaRPr>
          </a:p>
          <a:p>
            <a:pPr marL="380968" lvl="1" indent="-126989">
              <a:spcBef>
                <a:spcPts val="270"/>
              </a:spcBef>
              <a:buFont typeface="Trebuchet MS"/>
              <a:buChar char="–"/>
              <a:tabLst>
                <a:tab pos="380968" algn="l"/>
              </a:tabLst>
            </a:pPr>
            <a:r>
              <a:rPr lang="en-GB" sz="900" spc="-10" noProof="0" dirty="0">
                <a:solidFill>
                  <a:srgbClr val="231F20"/>
                </a:solidFill>
                <a:latin typeface="Neue Frutiger World" panose="020B0603040304020203" pitchFamily="34" charset="0"/>
                <a:cs typeface="Neue Frutiger World" panose="020B0603040304020203" pitchFamily="34" charset="0"/>
              </a:rPr>
              <a:t>Potential</a:t>
            </a:r>
            <a:r>
              <a:rPr lang="en-GB" sz="900" spc="5"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causes</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noProof="0" dirty="0">
                <a:solidFill>
                  <a:srgbClr val="231F20"/>
                </a:solidFill>
                <a:latin typeface="Neue Frutiger World" panose="020B0603040304020203" pitchFamily="34" charset="0"/>
                <a:cs typeface="Neue Frutiger World" panose="020B0603040304020203" pitchFamily="34" charset="0"/>
              </a:rPr>
              <a:t>of</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noProof="0" dirty="0">
                <a:solidFill>
                  <a:srgbClr val="231F20"/>
                </a:solidFill>
                <a:latin typeface="Neue Frutiger World" panose="020B0603040304020203" pitchFamily="34" charset="0"/>
                <a:cs typeface="Neue Frutiger World" panose="020B0603040304020203" pitchFamily="34" charset="0"/>
              </a:rPr>
              <a:t>secondary</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infection</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hematogenous</a:t>
            </a:r>
            <a:r>
              <a:rPr lang="en-GB" sz="900" spc="10" noProof="0" dirty="0">
                <a:solidFill>
                  <a:srgbClr val="231F20"/>
                </a:solidFill>
                <a:latin typeface="Neue Frutiger World" panose="020B0603040304020203" pitchFamily="34" charset="0"/>
                <a:cs typeface="Neue Frutiger World" panose="020B0603040304020203" pitchFamily="34" charset="0"/>
              </a:rPr>
              <a:t> </a:t>
            </a:r>
            <a:r>
              <a:rPr lang="en-GB" sz="900" noProof="0" dirty="0">
                <a:solidFill>
                  <a:srgbClr val="231F20"/>
                </a:solidFill>
                <a:latin typeface="Neue Frutiger World" panose="020B0603040304020203" pitchFamily="34" charset="0"/>
                <a:cs typeface="Neue Frutiger World" panose="020B0603040304020203" pitchFamily="34" charset="0"/>
              </a:rPr>
              <a:t>seeding)</a:t>
            </a:r>
            <a:r>
              <a:rPr lang="en-GB" sz="900" baseline="30864" noProof="0" dirty="0">
                <a:solidFill>
                  <a:srgbClr val="231F20"/>
                </a:solidFill>
                <a:latin typeface="Neue Frutiger World" panose="020B0603040304020203" pitchFamily="34" charset="0"/>
                <a:cs typeface="Neue Frutiger World" panose="020B0603040304020203" pitchFamily="34" charset="0"/>
              </a:rPr>
              <a:t>14</a:t>
            </a:r>
            <a:endParaRPr lang="en-GB" sz="900" baseline="30864" noProof="0" dirty="0">
              <a:latin typeface="Neue Frutiger World" panose="020B0603040304020203" pitchFamily="34" charset="0"/>
              <a:cs typeface="Neue Frutiger World" panose="020B0603040304020203" pitchFamily="34" charset="0"/>
            </a:endParaRPr>
          </a:p>
          <a:p>
            <a:pPr marL="438114" lvl="2" indent="-76194">
              <a:spcBef>
                <a:spcPts val="275"/>
              </a:spcBef>
              <a:buChar char="•"/>
              <a:tabLst>
                <a:tab pos="438114" algn="l"/>
              </a:tabLst>
            </a:pPr>
            <a:r>
              <a:rPr lang="en-GB" sz="900" spc="-10" noProof="0" dirty="0">
                <a:solidFill>
                  <a:srgbClr val="231F20"/>
                </a:solidFill>
                <a:latin typeface="Neue Frutiger World" panose="020B0603040304020203" pitchFamily="34" charset="0"/>
                <a:cs typeface="Neue Frutiger World" panose="020B0603040304020203" pitchFamily="34" charset="0"/>
              </a:rPr>
              <a:t>Catheter</a:t>
            </a:r>
            <a:r>
              <a:rPr lang="en-GB" sz="900" spc="-15"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bloodstream</a:t>
            </a:r>
            <a:r>
              <a:rPr lang="en-GB" sz="900" spc="5"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infection</a:t>
            </a:r>
            <a:endParaRPr lang="en-GB" sz="900" noProof="0" dirty="0">
              <a:latin typeface="Neue Frutiger World" panose="020B0603040304020203" pitchFamily="34" charset="0"/>
              <a:cs typeface="Neue Frutiger World" panose="020B0603040304020203" pitchFamily="34" charset="0"/>
            </a:endParaRPr>
          </a:p>
          <a:p>
            <a:pPr marL="438114" lvl="2" indent="-76194">
              <a:spcBef>
                <a:spcPts val="275"/>
              </a:spcBef>
              <a:buChar char="•"/>
              <a:tabLst>
                <a:tab pos="438114" algn="l"/>
              </a:tabLst>
            </a:pPr>
            <a:r>
              <a:rPr lang="en-GB" sz="900" spc="-10" noProof="0" dirty="0">
                <a:solidFill>
                  <a:srgbClr val="231F20"/>
                </a:solidFill>
                <a:latin typeface="Neue Frutiger World" panose="020B0603040304020203" pitchFamily="34" charset="0"/>
                <a:cs typeface="Neue Frutiger World" panose="020B0603040304020203" pitchFamily="34" charset="0"/>
              </a:rPr>
              <a:t>Intravascular</a:t>
            </a:r>
            <a:r>
              <a:rPr lang="en-GB" sz="900" spc="-20"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catheters</a:t>
            </a:r>
            <a:r>
              <a:rPr lang="en-GB" sz="900"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dialysis</a:t>
            </a:r>
            <a:r>
              <a:rPr lang="en-GB" sz="900" spc="5"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catheters)</a:t>
            </a:r>
            <a:endParaRPr lang="en-GB" sz="900" noProof="0" dirty="0">
              <a:latin typeface="Neue Frutiger World" panose="020B0603040304020203" pitchFamily="34" charset="0"/>
              <a:cs typeface="Neue Frutiger World" panose="020B0603040304020203" pitchFamily="34" charset="0"/>
            </a:endParaRPr>
          </a:p>
          <a:p>
            <a:pPr marL="438114" lvl="2" indent="-76194">
              <a:spcBef>
                <a:spcPts val="275"/>
              </a:spcBef>
              <a:buChar char="•"/>
              <a:tabLst>
                <a:tab pos="438114" algn="l"/>
              </a:tabLst>
            </a:pPr>
            <a:r>
              <a:rPr lang="en-GB" sz="900" spc="-5" noProof="0" dirty="0">
                <a:solidFill>
                  <a:srgbClr val="231F20"/>
                </a:solidFill>
                <a:latin typeface="Neue Frutiger World" panose="020B0603040304020203" pitchFamily="34" charset="0"/>
                <a:cs typeface="Neue Frutiger World" panose="020B0603040304020203" pitchFamily="34" charset="0"/>
              </a:rPr>
              <a:t>Decubitus</a:t>
            </a:r>
            <a:r>
              <a:rPr lang="en-GB" sz="900" spc="-40" noProof="0" dirty="0">
                <a:solidFill>
                  <a:srgbClr val="231F20"/>
                </a:solidFill>
                <a:latin typeface="Neue Frutiger World" panose="020B0603040304020203" pitchFamily="34" charset="0"/>
                <a:cs typeface="Neue Frutiger World" panose="020B0603040304020203" pitchFamily="34" charset="0"/>
              </a:rPr>
              <a:t> </a:t>
            </a:r>
            <a:r>
              <a:rPr lang="en-GB" sz="900" spc="-5" noProof="0" dirty="0">
                <a:solidFill>
                  <a:srgbClr val="231F20"/>
                </a:solidFill>
                <a:latin typeface="Neue Frutiger World" panose="020B0603040304020203" pitchFamily="34" charset="0"/>
                <a:cs typeface="Neue Frutiger World" panose="020B0603040304020203" pitchFamily="34" charset="0"/>
              </a:rPr>
              <a:t>ulcers</a:t>
            </a:r>
            <a:endParaRPr lang="en-GB" sz="900" noProof="0" dirty="0">
              <a:latin typeface="Neue Frutiger World" panose="020B0603040304020203" pitchFamily="34" charset="0"/>
              <a:cs typeface="Neue Frutiger World" panose="020B0603040304020203" pitchFamily="34" charset="0"/>
            </a:endParaRPr>
          </a:p>
          <a:p>
            <a:pPr marL="438114" lvl="2" indent="-76194">
              <a:spcBef>
                <a:spcPts val="275"/>
              </a:spcBef>
              <a:buChar char="•"/>
              <a:tabLst>
                <a:tab pos="438114" algn="l"/>
              </a:tabLst>
            </a:pPr>
            <a:r>
              <a:rPr lang="en-GB" sz="900" spc="-5" noProof="0" dirty="0">
                <a:solidFill>
                  <a:srgbClr val="231F20"/>
                </a:solidFill>
                <a:latin typeface="Neue Frutiger World" panose="020B0603040304020203" pitchFamily="34" charset="0"/>
                <a:cs typeface="Neue Frutiger World" panose="020B0603040304020203" pitchFamily="34" charset="0"/>
              </a:rPr>
              <a:t>Septic</a:t>
            </a:r>
            <a:r>
              <a:rPr lang="en-GB" sz="900" spc="-35" noProof="0" dirty="0">
                <a:solidFill>
                  <a:srgbClr val="231F20"/>
                </a:solidFill>
                <a:latin typeface="Neue Frutiger World" panose="020B0603040304020203" pitchFamily="34" charset="0"/>
                <a:cs typeface="Neue Frutiger World" panose="020B0603040304020203" pitchFamily="34" charset="0"/>
              </a:rPr>
              <a:t> </a:t>
            </a:r>
            <a:r>
              <a:rPr lang="en-GB" sz="900" spc="-10" noProof="0" dirty="0">
                <a:solidFill>
                  <a:srgbClr val="231F20"/>
                </a:solidFill>
                <a:latin typeface="Neue Frutiger World" panose="020B0603040304020203" pitchFamily="34" charset="0"/>
                <a:cs typeface="Neue Frutiger World" panose="020B0603040304020203" pitchFamily="34" charset="0"/>
              </a:rPr>
              <a:t>arthritis</a:t>
            </a:r>
          </a:p>
          <a:p>
            <a:pPr marL="438114" lvl="2" indent="-76194">
              <a:spcBef>
                <a:spcPts val="275"/>
              </a:spcBef>
              <a:buChar char="•"/>
              <a:tabLst>
                <a:tab pos="438114" algn="l"/>
              </a:tabLst>
            </a:pPr>
            <a:endParaRPr lang="en-GB" sz="900" noProof="0" dirty="0">
              <a:latin typeface="Neue Frutiger World" panose="020B0603040304020203" pitchFamily="34" charset="0"/>
              <a:cs typeface="Neue Frutiger World" panose="020B0603040304020203" pitchFamily="34" charset="0"/>
            </a:endParaRPr>
          </a:p>
          <a:p>
            <a:pPr marL="38097">
              <a:spcBef>
                <a:spcPts val="489"/>
              </a:spcBef>
              <a:tabLst>
                <a:tab pos="139688" algn="l"/>
              </a:tabLst>
            </a:pPr>
            <a:endParaRPr lang="en-GB" sz="900" noProof="0" dirty="0">
              <a:latin typeface="Neue Frutiger World" panose="020B0603040304020203" pitchFamily="34" charset="0"/>
              <a:cs typeface="Neue Frutiger World" panose="020B0603040304020203" pitchFamily="34" charset="0"/>
            </a:endParaRPr>
          </a:p>
        </p:txBody>
      </p:sp>
      <p:sp>
        <p:nvSpPr>
          <p:cNvPr id="8" name="object 9">
            <a:extLst>
              <a:ext uri="{FF2B5EF4-FFF2-40B4-BE49-F238E27FC236}">
                <a16:creationId xmlns:a16="http://schemas.microsoft.com/office/drawing/2014/main" id="{0D3E566A-BD8C-48EC-900D-574C67ED4071}"/>
              </a:ext>
            </a:extLst>
          </p:cNvPr>
          <p:cNvSpPr txBox="1"/>
          <p:nvPr/>
        </p:nvSpPr>
        <p:spPr>
          <a:xfrm>
            <a:off x="5436096" y="1131590"/>
            <a:ext cx="3312368" cy="1006429"/>
          </a:xfrm>
          <a:prstGeom prst="rect">
            <a:avLst/>
          </a:prstGeom>
        </p:spPr>
        <p:txBody>
          <a:bodyPr vert="horz" wrap="square" lIns="0" tIns="7620" rIns="0" bIns="0" rtlCol="0">
            <a:spAutoFit/>
          </a:bodyPr>
          <a:lstStyle/>
          <a:p>
            <a:pPr marL="139688" marR="30477" indent="-101592">
              <a:lnSpc>
                <a:spcPct val="102600"/>
              </a:lnSpc>
              <a:spcBef>
                <a:spcPts val="60"/>
              </a:spcBef>
            </a:pPr>
            <a:r>
              <a:rPr sz="1300" dirty="0">
                <a:solidFill>
                  <a:srgbClr val="0077CD"/>
                </a:solidFill>
                <a:latin typeface="Neue Frutiger World" panose="020B0603040304020203" pitchFamily="34" charset="0"/>
                <a:cs typeface="Neue Frutiger World" panose="020B0603040304020203" pitchFamily="34" charset="0"/>
              </a:rPr>
              <a:t>“Device</a:t>
            </a:r>
            <a:r>
              <a:rPr sz="1300" spc="10"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removal</a:t>
            </a:r>
            <a:r>
              <a:rPr sz="1300" spc="1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should</a:t>
            </a:r>
            <a:r>
              <a:rPr sz="1300" spc="10"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remain</a:t>
            </a:r>
            <a:r>
              <a:rPr sz="1300" spc="1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a</a:t>
            </a:r>
            <a:r>
              <a:rPr sz="1300" spc="1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mandatory</a:t>
            </a:r>
            <a:r>
              <a:rPr lang="en-GB" sz="1300" spc="-5"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and</a:t>
            </a:r>
            <a:r>
              <a:rPr sz="1300" spc="5" dirty="0">
                <a:solidFill>
                  <a:srgbClr val="0077CD"/>
                </a:solidFill>
                <a:latin typeface="Neue Frutiger World" panose="020B0603040304020203" pitchFamily="34" charset="0"/>
                <a:cs typeface="Neue Frutiger World" panose="020B0603040304020203" pitchFamily="34" charset="0"/>
              </a:rPr>
              <a:t> early</a:t>
            </a:r>
            <a:r>
              <a:rPr sz="1300" spc="-35"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management</a:t>
            </a:r>
            <a:r>
              <a:rPr sz="1300" spc="10"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intervention</a:t>
            </a:r>
            <a:r>
              <a:rPr sz="1300" spc="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in</a:t>
            </a:r>
            <a:r>
              <a:rPr lang="en-GB" sz="1300" spc="-10"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patients</a:t>
            </a:r>
            <a:r>
              <a:rPr sz="1300" spc="-3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with</a:t>
            </a:r>
            <a:r>
              <a:rPr sz="1300" spc="5"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CIED</a:t>
            </a:r>
            <a:r>
              <a:rPr sz="1300" spc="10"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infection.”</a:t>
            </a:r>
            <a:r>
              <a:rPr sz="1125" spc="-15" baseline="33333" dirty="0">
                <a:solidFill>
                  <a:srgbClr val="0077CD"/>
                </a:solidFill>
                <a:latin typeface="Neue Frutiger World" panose="020B0603040304020203" pitchFamily="34" charset="0"/>
                <a:cs typeface="Neue Frutiger World" panose="020B0603040304020203" pitchFamily="34" charset="0"/>
              </a:rPr>
              <a:t>21</a:t>
            </a:r>
            <a:endParaRPr sz="1125" baseline="33333" dirty="0">
              <a:latin typeface="Neue Frutiger World" panose="020B0603040304020203" pitchFamily="34" charset="0"/>
              <a:cs typeface="Neue Frutiger World" panose="020B0603040304020203" pitchFamily="34" charset="0"/>
            </a:endParaRPr>
          </a:p>
          <a:p>
            <a:pPr marL="895275">
              <a:spcBef>
                <a:spcPts val="390"/>
              </a:spcBef>
            </a:pPr>
            <a:r>
              <a:rPr sz="800" spc="90" dirty="0">
                <a:solidFill>
                  <a:srgbClr val="231F20"/>
                </a:solidFill>
                <a:latin typeface="Neue Frutiger World" panose="020B0603040304020203" pitchFamily="34" charset="0"/>
                <a:cs typeface="Neue Frutiger World" panose="020B0603040304020203" pitchFamily="34" charset="0"/>
              </a:rPr>
              <a:t>–</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James </a:t>
            </a:r>
            <a:r>
              <a:rPr sz="800" spc="10" dirty="0">
                <a:solidFill>
                  <a:srgbClr val="231F20"/>
                </a:solidFill>
                <a:latin typeface="Neue Frutiger World" panose="020B0603040304020203" pitchFamily="34" charset="0"/>
                <a:cs typeface="Neue Frutiger World" panose="020B0603040304020203" pitchFamily="34" charset="0"/>
              </a:rPr>
              <a:t>E.</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eacock, </a:t>
            </a:r>
            <a:r>
              <a:rPr sz="800" dirty="0">
                <a:solidFill>
                  <a:srgbClr val="231F20"/>
                </a:solidFill>
                <a:latin typeface="Neue Frutiger World" panose="020B0603040304020203" pitchFamily="34" charset="0"/>
                <a:cs typeface="Neue Frutiger World" panose="020B0603040304020203" pitchFamily="34" charset="0"/>
              </a:rPr>
              <a:t>MD</a:t>
            </a:r>
            <a:endParaRPr sz="800" dirty="0">
              <a:latin typeface="Neue Frutiger World" panose="020B0603040304020203" pitchFamily="34" charset="0"/>
              <a:cs typeface="Neue Frutiger World" panose="020B0603040304020203" pitchFamily="34" charset="0"/>
            </a:endParaRPr>
          </a:p>
        </p:txBody>
      </p:sp>
      <p:sp>
        <p:nvSpPr>
          <p:cNvPr id="9" name="object 9">
            <a:extLst>
              <a:ext uri="{FF2B5EF4-FFF2-40B4-BE49-F238E27FC236}">
                <a16:creationId xmlns:a16="http://schemas.microsoft.com/office/drawing/2014/main" id="{4F452AE8-CF85-463B-9E0E-4CFD06FBC4FB}"/>
              </a:ext>
            </a:extLst>
          </p:cNvPr>
          <p:cNvSpPr txBox="1"/>
          <p:nvPr/>
        </p:nvSpPr>
        <p:spPr>
          <a:xfrm>
            <a:off x="5436096" y="2166554"/>
            <a:ext cx="3312368" cy="1875257"/>
          </a:xfrm>
          <a:prstGeom prst="rect">
            <a:avLst/>
          </a:prstGeom>
        </p:spPr>
        <p:txBody>
          <a:bodyPr vert="horz" wrap="square" lIns="0" tIns="7620" rIns="0" bIns="0" rtlCol="0">
            <a:spAutoFit/>
          </a:bodyPr>
          <a:lstStyle/>
          <a:p>
            <a:pPr marL="139688" marR="30477" indent="-101592">
              <a:lnSpc>
                <a:spcPct val="102600"/>
              </a:lnSpc>
              <a:spcBef>
                <a:spcPts val="60"/>
              </a:spcBef>
            </a:pPr>
            <a:r>
              <a:rPr lang="en-US" sz="1300" dirty="0">
                <a:solidFill>
                  <a:srgbClr val="0077CD"/>
                </a:solidFill>
                <a:latin typeface="Neue Frutiger World" panose="020B0603040304020203" pitchFamily="34" charset="0"/>
                <a:cs typeface="Neue Frutiger World" panose="020B0603040304020203" pitchFamily="34" charset="0"/>
              </a:rPr>
              <a:t>“The diagnosis of CIED systemic infection and infective endocarditis without local infection may be more challenging. Symptoms may be non-specific (fever, chills, night sweats) and a long period of time may elapse between CIED implantation and symptom onset as well as diagnosis.”</a:t>
            </a:r>
          </a:p>
          <a:p>
            <a:pPr marL="139688" marR="30477" indent="-101592">
              <a:lnSpc>
                <a:spcPct val="102600"/>
              </a:lnSpc>
              <a:spcBef>
                <a:spcPts val="60"/>
              </a:spcBef>
            </a:pPr>
            <a:r>
              <a:rPr lang="en-US" sz="1300" spc="90" dirty="0">
                <a:solidFill>
                  <a:srgbClr val="0077CD"/>
                </a:solidFill>
                <a:latin typeface="Neue Frutiger World" panose="020B0603040304020203" pitchFamily="34" charset="0"/>
                <a:cs typeface="Neue Frutiger World" panose="020B0603040304020203" pitchFamily="34" charset="0"/>
              </a:rPr>
              <a:t>	</a:t>
            </a:r>
            <a:r>
              <a:rPr lang="en-US" sz="1300" spc="90" dirty="0">
                <a:solidFill>
                  <a:srgbClr val="FF0000"/>
                </a:solidFill>
                <a:latin typeface="Neue Frutiger World" panose="020B0603040304020203" pitchFamily="34" charset="0"/>
                <a:cs typeface="Neue Frutiger World" panose="020B0603040304020203" pitchFamily="34" charset="0"/>
              </a:rPr>
              <a:t>	</a:t>
            </a:r>
            <a:r>
              <a:rPr sz="800" spc="90" dirty="0">
                <a:latin typeface="Neue Frutiger World" panose="020B0603040304020203" pitchFamily="34" charset="0"/>
                <a:cs typeface="Neue Frutiger World" panose="020B0603040304020203" pitchFamily="34" charset="0"/>
              </a:rPr>
              <a:t>–</a:t>
            </a:r>
            <a:r>
              <a:rPr sz="800" spc="-5" dirty="0">
                <a:latin typeface="Neue Frutiger World" panose="020B0603040304020203" pitchFamily="34" charset="0"/>
                <a:cs typeface="Neue Frutiger World" panose="020B0603040304020203" pitchFamily="34" charset="0"/>
              </a:rPr>
              <a:t> </a:t>
            </a:r>
            <a:r>
              <a:rPr lang="en-GB" sz="800" dirty="0">
                <a:latin typeface="Neue Frutiger World" panose="020B0603040304020203" pitchFamily="34" charset="0"/>
                <a:cs typeface="Neue Frutiger World" panose="020B0603040304020203" pitchFamily="34" charset="0"/>
              </a:rPr>
              <a:t>EHRA Consensus Guidelines 2019</a:t>
            </a:r>
            <a:r>
              <a:rPr lang="en-GB" sz="800" baseline="30000" dirty="0">
                <a:latin typeface="Neue Frutiger World" panose="020B0603040304020203" pitchFamily="34" charset="0"/>
                <a:cs typeface="Neue Frutiger World" panose="020B0603040304020203" pitchFamily="34" charset="0"/>
              </a:rPr>
              <a:t>28</a:t>
            </a:r>
            <a:endParaRPr sz="800" baseline="30000" dirty="0">
              <a:latin typeface="Neue Frutiger World" panose="020B0603040304020203" pitchFamily="34" charset="0"/>
              <a:cs typeface="Neue Frutiger World" panose="020B0603040304020203" pitchFamily="34" charset="0"/>
            </a:endParaRPr>
          </a:p>
        </p:txBody>
      </p:sp>
      <p:sp>
        <p:nvSpPr>
          <p:cNvPr id="10" name="TextBox 9">
            <a:extLst>
              <a:ext uri="{FF2B5EF4-FFF2-40B4-BE49-F238E27FC236}">
                <a16:creationId xmlns:a16="http://schemas.microsoft.com/office/drawing/2014/main" id="{0FFB6835-7312-45AD-A454-8C4CF0D97A6F}"/>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1" name="Rectangle 10">
            <a:hlinkClick r:id="rId2" action="ppaction://hlinksldjump"/>
            <a:extLst>
              <a:ext uri="{FF2B5EF4-FFF2-40B4-BE49-F238E27FC236}">
                <a16:creationId xmlns:a16="http://schemas.microsoft.com/office/drawing/2014/main" id="{5EAF9D58-86E8-4BB9-BEAB-9DB85E5B9C19}"/>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2" name="Rectangle 11">
            <a:hlinkClick r:id="rId3" action="ppaction://hlinksldjump"/>
            <a:extLst>
              <a:ext uri="{FF2B5EF4-FFF2-40B4-BE49-F238E27FC236}">
                <a16:creationId xmlns:a16="http://schemas.microsoft.com/office/drawing/2014/main" id="{F3D81CA4-3C1A-4BEB-8B03-BE79A5E2FEE0}"/>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3" name="Rectangle 12">
            <a:hlinkClick r:id="rId4" action="ppaction://hlinksldjump"/>
            <a:extLst>
              <a:ext uri="{FF2B5EF4-FFF2-40B4-BE49-F238E27FC236}">
                <a16:creationId xmlns:a16="http://schemas.microsoft.com/office/drawing/2014/main" id="{55CC0E4B-863A-4504-9807-EE09E7E1078E}"/>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5" action="ppaction://hlinksldjump"/>
            <a:extLst>
              <a:ext uri="{FF2B5EF4-FFF2-40B4-BE49-F238E27FC236}">
                <a16:creationId xmlns:a16="http://schemas.microsoft.com/office/drawing/2014/main" id="{81552BD6-BE5B-4560-97BD-6A7AC119C0B2}"/>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6" action="ppaction://hlinksldjump"/>
            <a:extLst>
              <a:ext uri="{FF2B5EF4-FFF2-40B4-BE49-F238E27FC236}">
                <a16:creationId xmlns:a16="http://schemas.microsoft.com/office/drawing/2014/main" id="{9AD1D1BF-B366-4506-9214-9DEDC87CC543}"/>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7" action="ppaction://hlinksldjump"/>
            <a:extLst>
              <a:ext uri="{FF2B5EF4-FFF2-40B4-BE49-F238E27FC236}">
                <a16:creationId xmlns:a16="http://schemas.microsoft.com/office/drawing/2014/main" id="{9D9BAD97-EEFF-4517-8DD3-64CBDD161093}"/>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8" action="ppaction://hlinksldjump"/>
            <a:extLst>
              <a:ext uri="{FF2B5EF4-FFF2-40B4-BE49-F238E27FC236}">
                <a16:creationId xmlns:a16="http://schemas.microsoft.com/office/drawing/2014/main" id="{C9594224-B034-4AD3-B61F-FA3492E5B43A}"/>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9" action="ppaction://hlinksldjump"/>
            <a:extLst>
              <a:ext uri="{FF2B5EF4-FFF2-40B4-BE49-F238E27FC236}">
                <a16:creationId xmlns:a16="http://schemas.microsoft.com/office/drawing/2014/main" id="{63401390-4C54-4EDE-B99B-C63B4D16C079}"/>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extLst>
              <a:ext uri="{FF2B5EF4-FFF2-40B4-BE49-F238E27FC236}">
                <a16:creationId xmlns:a16="http://schemas.microsoft.com/office/drawing/2014/main" id="{5ACD2A1C-FD13-45A7-9EF9-19A5F2242E30}"/>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10" action="ppaction://hlinksldjump"/>
            <a:extLst>
              <a:ext uri="{FF2B5EF4-FFF2-40B4-BE49-F238E27FC236}">
                <a16:creationId xmlns:a16="http://schemas.microsoft.com/office/drawing/2014/main" id="{3AB33F1F-27DE-4302-9A5F-491AF0FF6CAF}"/>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1" action="ppaction://hlinksldjump"/>
            <a:extLst>
              <a:ext uri="{FF2B5EF4-FFF2-40B4-BE49-F238E27FC236}">
                <a16:creationId xmlns:a16="http://schemas.microsoft.com/office/drawing/2014/main" id="{409BDF87-03C0-4C65-9EE3-97CCDF50BC77}"/>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2" action="ppaction://hlinksldjump"/>
            <a:extLst>
              <a:ext uri="{FF2B5EF4-FFF2-40B4-BE49-F238E27FC236}">
                <a16:creationId xmlns:a16="http://schemas.microsoft.com/office/drawing/2014/main" id="{86D1C29B-0478-4651-AE70-F2AC08EB58AF}"/>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3" action="ppaction://hlinksldjump"/>
            <a:extLst>
              <a:ext uri="{FF2B5EF4-FFF2-40B4-BE49-F238E27FC236}">
                <a16:creationId xmlns:a16="http://schemas.microsoft.com/office/drawing/2014/main" id="{2BB15E32-D292-4A9D-BFC8-EE8BA86D5523}"/>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4" action="ppaction://hlinksldjump"/>
            <a:extLst>
              <a:ext uri="{FF2B5EF4-FFF2-40B4-BE49-F238E27FC236}">
                <a16:creationId xmlns:a16="http://schemas.microsoft.com/office/drawing/2014/main" id="{EA5294C1-BF8A-4C36-B4F4-4D16850BA83C}"/>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5" action="ppaction://hlinksldjump"/>
            <a:extLst>
              <a:ext uri="{FF2B5EF4-FFF2-40B4-BE49-F238E27FC236}">
                <a16:creationId xmlns:a16="http://schemas.microsoft.com/office/drawing/2014/main" id="{8A57A196-8768-452D-83EB-D9A138792728}"/>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6" action="ppaction://hlinksldjump"/>
            <a:extLst>
              <a:ext uri="{FF2B5EF4-FFF2-40B4-BE49-F238E27FC236}">
                <a16:creationId xmlns:a16="http://schemas.microsoft.com/office/drawing/2014/main" id="{A09554A1-35DB-4FAF-A94A-8B5F5F7C4BD8}"/>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7" action="ppaction://hlinksldjump"/>
            <a:extLst>
              <a:ext uri="{FF2B5EF4-FFF2-40B4-BE49-F238E27FC236}">
                <a16:creationId xmlns:a16="http://schemas.microsoft.com/office/drawing/2014/main" id="{3D339341-BADA-420F-8984-DA30D64FE309}"/>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8" action="ppaction://hlinksldjump"/>
            <a:extLst>
              <a:ext uri="{FF2B5EF4-FFF2-40B4-BE49-F238E27FC236}">
                <a16:creationId xmlns:a16="http://schemas.microsoft.com/office/drawing/2014/main" id="{62A81560-5EC1-45EE-AAB8-D7CC2E48057A}"/>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19" action="ppaction://hlinksldjump"/>
            <a:extLst>
              <a:ext uri="{FF2B5EF4-FFF2-40B4-BE49-F238E27FC236}">
                <a16:creationId xmlns:a16="http://schemas.microsoft.com/office/drawing/2014/main" id="{8DEF22BA-627A-4AEC-BB30-E9954A946114}"/>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20" action="ppaction://hlinksldjump"/>
            <a:extLst>
              <a:ext uri="{FF2B5EF4-FFF2-40B4-BE49-F238E27FC236}">
                <a16:creationId xmlns:a16="http://schemas.microsoft.com/office/drawing/2014/main" id="{71FEA88A-D409-4A21-A8C9-F6A5EED259F6}"/>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21" action="ppaction://hlinksldjump"/>
            <a:extLst>
              <a:ext uri="{FF2B5EF4-FFF2-40B4-BE49-F238E27FC236}">
                <a16:creationId xmlns:a16="http://schemas.microsoft.com/office/drawing/2014/main" id="{230D0C32-29F4-464F-9908-2603B92E66B3}"/>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22" action="ppaction://hlinksldjump"/>
            <a:extLst>
              <a:ext uri="{FF2B5EF4-FFF2-40B4-BE49-F238E27FC236}">
                <a16:creationId xmlns:a16="http://schemas.microsoft.com/office/drawing/2014/main" id="{7486621C-B242-4226-9E80-4ACBF5A38350}"/>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extLst>
              <a:ext uri="{FF2B5EF4-FFF2-40B4-BE49-F238E27FC236}">
                <a16:creationId xmlns:a16="http://schemas.microsoft.com/office/drawing/2014/main" id="{94DDDCC2-1FC2-4520-AA22-88B157B8382B}"/>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3" action="ppaction://hlinksldjump"/>
            <a:extLst>
              <a:ext uri="{FF2B5EF4-FFF2-40B4-BE49-F238E27FC236}">
                <a16:creationId xmlns:a16="http://schemas.microsoft.com/office/drawing/2014/main" id="{F363333E-1600-4D68-A0E5-EB6145DD1308}"/>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24" action="ppaction://hlinksldjump"/>
            <a:extLst>
              <a:ext uri="{FF2B5EF4-FFF2-40B4-BE49-F238E27FC236}">
                <a16:creationId xmlns:a16="http://schemas.microsoft.com/office/drawing/2014/main" id="{8B229A6A-FA47-4B52-9A57-E481F98D8D72}"/>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25" action="ppaction://hlinksldjump"/>
            <a:extLst>
              <a:ext uri="{FF2B5EF4-FFF2-40B4-BE49-F238E27FC236}">
                <a16:creationId xmlns:a16="http://schemas.microsoft.com/office/drawing/2014/main" id="{9D44A0DD-590D-4253-99F5-18FE9357539A}"/>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extLst>
              <a:ext uri="{FF2B5EF4-FFF2-40B4-BE49-F238E27FC236}">
                <a16:creationId xmlns:a16="http://schemas.microsoft.com/office/drawing/2014/main" id="{85A9B7AD-6B05-4065-89A9-930965FF6741}"/>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38" name="Table 37">
            <a:extLst>
              <a:ext uri="{FF2B5EF4-FFF2-40B4-BE49-F238E27FC236}">
                <a16:creationId xmlns:a16="http://schemas.microsoft.com/office/drawing/2014/main" id="{4A87A947-1FAC-4B9F-9E0F-9D953A195731}"/>
              </a:ext>
            </a:extLst>
          </p:cNvPr>
          <p:cNvGraphicFramePr>
            <a:graphicFrameLocks noGrp="1"/>
          </p:cNvGraphicFramePr>
          <p:nvPr>
            <p:extLst>
              <p:ext uri="{D42A27DB-BD31-4B8C-83A1-F6EECF244321}">
                <p14:modId xmlns:p14="http://schemas.microsoft.com/office/powerpoint/2010/main" val="1502146734"/>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39" name="Rectangle 38">
            <a:hlinkClick r:id="rId2" action="ppaction://hlinksldjump"/>
            <a:extLst>
              <a:ext uri="{FF2B5EF4-FFF2-40B4-BE49-F238E27FC236}">
                <a16:creationId xmlns:a16="http://schemas.microsoft.com/office/drawing/2014/main" id="{F15872EB-C2BD-48A6-BE5D-60B37525B2B4}"/>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3" action="ppaction://hlinksldjump"/>
            <a:extLst>
              <a:ext uri="{FF2B5EF4-FFF2-40B4-BE49-F238E27FC236}">
                <a16:creationId xmlns:a16="http://schemas.microsoft.com/office/drawing/2014/main" id="{B13E9281-1BA6-4995-B5BF-E1358FACB21A}"/>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4" action="ppaction://hlinksldjump"/>
            <a:extLst>
              <a:ext uri="{FF2B5EF4-FFF2-40B4-BE49-F238E27FC236}">
                <a16:creationId xmlns:a16="http://schemas.microsoft.com/office/drawing/2014/main" id="{E9C958E0-9ED1-46D2-BCD0-80B5300D4C15}"/>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5" action="ppaction://hlinksldjump"/>
            <a:extLst>
              <a:ext uri="{FF2B5EF4-FFF2-40B4-BE49-F238E27FC236}">
                <a16:creationId xmlns:a16="http://schemas.microsoft.com/office/drawing/2014/main" id="{E7BA3913-DEAE-4613-ADF2-B375E9E62749}"/>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6" action="ppaction://hlinksldjump"/>
            <a:extLst>
              <a:ext uri="{FF2B5EF4-FFF2-40B4-BE49-F238E27FC236}">
                <a16:creationId xmlns:a16="http://schemas.microsoft.com/office/drawing/2014/main" id="{27D501CC-5E0A-4B9C-AE13-9E6841CD9570}"/>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7" action="ppaction://hlinksldjump"/>
            <a:extLst>
              <a:ext uri="{FF2B5EF4-FFF2-40B4-BE49-F238E27FC236}">
                <a16:creationId xmlns:a16="http://schemas.microsoft.com/office/drawing/2014/main" id="{7110C83F-4980-4D9A-9102-E79660702E8A}"/>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8" action="ppaction://hlinksldjump"/>
            <a:extLst>
              <a:ext uri="{FF2B5EF4-FFF2-40B4-BE49-F238E27FC236}">
                <a16:creationId xmlns:a16="http://schemas.microsoft.com/office/drawing/2014/main" id="{8059581F-5020-4703-A516-D0E16BF054CC}"/>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9" action="ppaction://hlinksldjump"/>
            <a:extLst>
              <a:ext uri="{FF2B5EF4-FFF2-40B4-BE49-F238E27FC236}">
                <a16:creationId xmlns:a16="http://schemas.microsoft.com/office/drawing/2014/main" id="{36A93069-38BF-4A0F-90CA-53502C237239}"/>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extLst>
              <a:ext uri="{FF2B5EF4-FFF2-40B4-BE49-F238E27FC236}">
                <a16:creationId xmlns:a16="http://schemas.microsoft.com/office/drawing/2014/main" id="{865F3564-CBDE-47CE-9E81-4BC4FB0E7CE4}"/>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10" action="ppaction://hlinksldjump"/>
            <a:extLst>
              <a:ext uri="{FF2B5EF4-FFF2-40B4-BE49-F238E27FC236}">
                <a16:creationId xmlns:a16="http://schemas.microsoft.com/office/drawing/2014/main" id="{6A3B8937-B2D7-4E3D-AF40-36F705C64253}"/>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1" action="ppaction://hlinksldjump"/>
            <a:extLst>
              <a:ext uri="{FF2B5EF4-FFF2-40B4-BE49-F238E27FC236}">
                <a16:creationId xmlns:a16="http://schemas.microsoft.com/office/drawing/2014/main" id="{F0699EBF-E410-43D6-A078-F6DFC4D33216}"/>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2" action="ppaction://hlinksldjump"/>
            <a:extLst>
              <a:ext uri="{FF2B5EF4-FFF2-40B4-BE49-F238E27FC236}">
                <a16:creationId xmlns:a16="http://schemas.microsoft.com/office/drawing/2014/main" id="{AFF2782C-7A1E-43BF-BD9F-6FBC75BB3702}"/>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3" action="ppaction://hlinksldjump"/>
            <a:extLst>
              <a:ext uri="{FF2B5EF4-FFF2-40B4-BE49-F238E27FC236}">
                <a16:creationId xmlns:a16="http://schemas.microsoft.com/office/drawing/2014/main" id="{B001885B-A889-4030-A555-05AA6D6E7F3C}"/>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4" action="ppaction://hlinksldjump"/>
            <a:extLst>
              <a:ext uri="{FF2B5EF4-FFF2-40B4-BE49-F238E27FC236}">
                <a16:creationId xmlns:a16="http://schemas.microsoft.com/office/drawing/2014/main" id="{8D3A4D77-0DDA-47B3-A86D-E95DD0592371}"/>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5" action="ppaction://hlinksldjump"/>
            <a:extLst>
              <a:ext uri="{FF2B5EF4-FFF2-40B4-BE49-F238E27FC236}">
                <a16:creationId xmlns:a16="http://schemas.microsoft.com/office/drawing/2014/main" id="{CC2E016E-1C16-4FC8-AD91-9334ADF67425}"/>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6" action="ppaction://hlinksldjump"/>
            <a:extLst>
              <a:ext uri="{FF2B5EF4-FFF2-40B4-BE49-F238E27FC236}">
                <a16:creationId xmlns:a16="http://schemas.microsoft.com/office/drawing/2014/main" id="{4A34B15D-C14C-42AD-8BC1-036BEDD823D7}"/>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7" action="ppaction://hlinksldjump"/>
            <a:extLst>
              <a:ext uri="{FF2B5EF4-FFF2-40B4-BE49-F238E27FC236}">
                <a16:creationId xmlns:a16="http://schemas.microsoft.com/office/drawing/2014/main" id="{BA6DCD42-9D3E-48BF-8B97-C7D866E61C9E}"/>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8" action="ppaction://hlinksldjump"/>
            <a:extLst>
              <a:ext uri="{FF2B5EF4-FFF2-40B4-BE49-F238E27FC236}">
                <a16:creationId xmlns:a16="http://schemas.microsoft.com/office/drawing/2014/main" id="{9B81E7F6-B9AA-4321-8417-DA4157CF463F}"/>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9" action="ppaction://hlinksldjump"/>
            <a:extLst>
              <a:ext uri="{FF2B5EF4-FFF2-40B4-BE49-F238E27FC236}">
                <a16:creationId xmlns:a16="http://schemas.microsoft.com/office/drawing/2014/main" id="{FA5619A3-356A-44DB-8AAD-05DA4F7108B9}"/>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20" action="ppaction://hlinksldjump"/>
            <a:extLst>
              <a:ext uri="{FF2B5EF4-FFF2-40B4-BE49-F238E27FC236}">
                <a16:creationId xmlns:a16="http://schemas.microsoft.com/office/drawing/2014/main" id="{3E46809B-FD3B-41AB-86E3-8871F99C03F4}"/>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21" action="ppaction://hlinksldjump"/>
            <a:extLst>
              <a:ext uri="{FF2B5EF4-FFF2-40B4-BE49-F238E27FC236}">
                <a16:creationId xmlns:a16="http://schemas.microsoft.com/office/drawing/2014/main" id="{76D15F97-05D6-49C3-938A-E3C45CCA71DF}"/>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22" action="ppaction://hlinksldjump"/>
            <a:extLst>
              <a:ext uri="{FF2B5EF4-FFF2-40B4-BE49-F238E27FC236}">
                <a16:creationId xmlns:a16="http://schemas.microsoft.com/office/drawing/2014/main" id="{9DA24C9B-DD77-4BC5-A463-811215F41376}"/>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extLst>
              <a:ext uri="{FF2B5EF4-FFF2-40B4-BE49-F238E27FC236}">
                <a16:creationId xmlns:a16="http://schemas.microsoft.com/office/drawing/2014/main" id="{9A3E768C-9F47-4C06-A94B-BD6214B83449}"/>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3" action="ppaction://hlinksldjump"/>
            <a:extLst>
              <a:ext uri="{FF2B5EF4-FFF2-40B4-BE49-F238E27FC236}">
                <a16:creationId xmlns:a16="http://schemas.microsoft.com/office/drawing/2014/main" id="{5A1EBDE0-A1DF-4F99-8375-EF8FF9C22167}"/>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24" action="ppaction://hlinksldjump"/>
            <a:extLst>
              <a:ext uri="{FF2B5EF4-FFF2-40B4-BE49-F238E27FC236}">
                <a16:creationId xmlns:a16="http://schemas.microsoft.com/office/drawing/2014/main" id="{ED07F515-09AA-4C21-8DA5-EAD6929B8BA7}"/>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25" action="ppaction://hlinksldjump"/>
            <a:extLst>
              <a:ext uri="{FF2B5EF4-FFF2-40B4-BE49-F238E27FC236}">
                <a16:creationId xmlns:a16="http://schemas.microsoft.com/office/drawing/2014/main" id="{79D7732C-754F-4B45-A4FD-BF65255DCCA6}"/>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 name="Rectangle 4">
            <a:extLst>
              <a:ext uri="{FF2B5EF4-FFF2-40B4-BE49-F238E27FC236}">
                <a16:creationId xmlns:a16="http://schemas.microsoft.com/office/drawing/2014/main" id="{F6C76EFB-CFEE-45B0-AF3D-CECD44907DCA}"/>
              </a:ext>
            </a:extLst>
          </p:cNvPr>
          <p:cNvSpPr/>
          <p:nvPr/>
        </p:nvSpPr>
        <p:spPr>
          <a:xfrm>
            <a:off x="5364088" y="956526"/>
            <a:ext cx="3456384" cy="3271408"/>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GB"/>
          </a:p>
        </p:txBody>
      </p:sp>
    </p:spTree>
    <p:extLst>
      <p:ext uri="{BB962C8B-B14F-4D97-AF65-F5344CB8AC3E}">
        <p14:creationId xmlns:p14="http://schemas.microsoft.com/office/powerpoint/2010/main" val="238330296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25E93-9BDC-49A6-9056-D96471365DB1}"/>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Key messages (2/2)</a:t>
            </a:r>
          </a:p>
        </p:txBody>
      </p:sp>
      <p:sp>
        <p:nvSpPr>
          <p:cNvPr id="3" name="Footer Placeholder 2">
            <a:extLst>
              <a:ext uri="{FF2B5EF4-FFF2-40B4-BE49-F238E27FC236}">
                <a16:creationId xmlns:a16="http://schemas.microsoft.com/office/drawing/2014/main" id="{8AAC95DF-930E-4575-BAD5-C2AB10E3ADFA}"/>
              </a:ext>
            </a:extLst>
          </p:cNvPr>
          <p:cNvSpPr>
            <a:spLocks noGrp="1"/>
          </p:cNvSpPr>
          <p:nvPr>
            <p:ph type="ftr" sz="quarter" idx="17"/>
          </p:nvPr>
        </p:nvSpPr>
        <p:spPr/>
        <p:txBody>
          <a:bodyPr/>
          <a:lstStyle/>
          <a:p>
            <a:r>
              <a:rPr lang="en-US"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35EC4EB2-281C-4EB5-9AF5-163A1082260D}"/>
              </a:ext>
            </a:extLst>
          </p:cNvPr>
          <p:cNvSpPr>
            <a:spLocks noGrp="1"/>
          </p:cNvSpPr>
          <p:nvPr>
            <p:ph type="sldNum" sz="quarter" idx="18"/>
          </p:nvPr>
        </p:nvSpPr>
        <p:spPr/>
        <p:txBody>
          <a:bodyPr/>
          <a:lstStyle/>
          <a:p>
            <a:fld id="{A5163908-529D-4A49-892F-D37C4044DFD8}" type="slidenum">
              <a:rPr lang="en-US" smtClean="0">
                <a:latin typeface="Neue Frutiger World" panose="020B0603040304020203" pitchFamily="34" charset="0"/>
                <a:cs typeface="Neue Frutiger World" panose="020B0603040304020203" pitchFamily="34" charset="0"/>
              </a:rPr>
              <a:pPr/>
              <a:t>11</a:t>
            </a:fld>
            <a:endParaRPr lang="en-US" dirty="0">
              <a:latin typeface="Neue Frutiger World" panose="020B0603040304020203" pitchFamily="34" charset="0"/>
              <a:cs typeface="Neue Frutiger World" panose="020B0603040304020203" pitchFamily="34" charset="0"/>
            </a:endParaRPr>
          </a:p>
        </p:txBody>
      </p:sp>
      <p:sp>
        <p:nvSpPr>
          <p:cNvPr id="5" name="Text Placeholder 4">
            <a:extLst>
              <a:ext uri="{FF2B5EF4-FFF2-40B4-BE49-F238E27FC236}">
                <a16:creationId xmlns:a16="http://schemas.microsoft.com/office/drawing/2014/main" id="{E34DE43E-F76A-429C-AD7A-CACE01139626}"/>
              </a:ext>
            </a:extLst>
          </p:cNvPr>
          <p:cNvSpPr>
            <a:spLocks noGrp="1"/>
          </p:cNvSpPr>
          <p:nvPr>
            <p:ph type="body" sz="quarter" idx="14"/>
          </p:nvPr>
        </p:nvSpPr>
        <p:spPr>
          <a:xfrm>
            <a:off x="1547664" y="843558"/>
            <a:ext cx="3970446" cy="3852505"/>
          </a:xfrm>
        </p:spPr>
        <p:txBody>
          <a:bodyPr/>
          <a:lstStyle/>
          <a:p>
            <a:pPr marL="0" marR="0" lvl="0" indent="0" defTabSz="914377" rtl="0" eaLnBrk="1" fontAlgn="auto" latinLnBrk="0" hangingPunct="1">
              <a:lnSpc>
                <a:spcPct val="100000"/>
              </a:lnSpc>
              <a:spcBef>
                <a:spcPts val="590"/>
              </a:spcBef>
              <a:spcAft>
                <a:spcPts val="0"/>
              </a:spcAft>
              <a:buClr>
                <a:srgbClr val="000000"/>
              </a:buClr>
              <a:buSzPct val="100000"/>
              <a:buFont typeface="Arial" panose="020B0604020202020204" pitchFamily="34" charset="0"/>
              <a:buNone/>
              <a:tabLst/>
              <a:defRPr/>
            </a:pPr>
            <a:r>
              <a:rPr kumimoji="0" lang="en-GB" sz="900" b="1"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Systemic</a:t>
            </a:r>
            <a:r>
              <a:rPr kumimoji="0" lang="en-GB" sz="900" b="1" i="0" u="none" strike="noStrike" kern="1200" cap="none" spc="-7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1"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fections</a:t>
            </a:r>
            <a:r>
              <a:rPr kumimoji="0" lang="en-GB" sz="900" b="1" i="0" u="none" strike="noStrike" kern="1200" cap="none" spc="-6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can</a:t>
            </a:r>
            <a:r>
              <a:rPr kumimoji="0" lang="en-GB" sz="900" b="1" i="0" u="none" strike="noStrike" kern="1200" cap="none" spc="-6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1"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be</a:t>
            </a:r>
            <a:r>
              <a:rPr kumimoji="0" lang="en-GB" sz="900" b="1" i="0" u="none" strike="noStrike" kern="1200" cap="none" spc="-7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1"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difficult</a:t>
            </a:r>
            <a:r>
              <a:rPr kumimoji="0" lang="en-GB" sz="900" b="1" i="0" u="none" strike="noStrike" kern="1200" cap="none" spc="-6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1"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o</a:t>
            </a:r>
            <a:r>
              <a:rPr kumimoji="0" lang="en-GB" sz="900" b="1" i="0" u="none" strike="noStrike" kern="1200" cap="none" spc="-6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diagnose.</a:t>
            </a:r>
            <a:endParaRPr kumimoji="0" lang="en-GB" sz="900" b="1" i="0" u="none" strike="noStrike" kern="1200" cap="none" spc="0" normalizeH="0" baseline="0" noProof="0" dirty="0">
              <a:ln>
                <a:noFill/>
              </a:ln>
              <a:solidFill>
                <a:srgbClr val="000000"/>
              </a:solidFill>
              <a:effectLst/>
              <a:uLnTx/>
              <a:uFillTx/>
              <a:latin typeface="Neue Frutiger World" panose="020B0603040304020203" pitchFamily="34" charset="0"/>
              <a:cs typeface="Neue Frutiger World" panose="020B0603040304020203" pitchFamily="34" charset="0"/>
            </a:endParaRPr>
          </a:p>
          <a:p>
            <a:pPr marL="139688" marR="0" lvl="0" indent="-101592" defTabSz="914377" rtl="0" eaLnBrk="1" fontAlgn="auto" latinLnBrk="0" hangingPunct="1">
              <a:lnSpc>
                <a:spcPct val="100000"/>
              </a:lnSpc>
              <a:spcBef>
                <a:spcPts val="489"/>
              </a:spcBef>
              <a:spcAft>
                <a:spcPts val="0"/>
              </a:spcAft>
              <a:buClr>
                <a:srgbClr val="000000"/>
              </a:buClr>
              <a:buSzPct val="100000"/>
              <a:buFont typeface="Arial" panose="020B0604020202020204" pitchFamily="34" charset="0"/>
              <a:buChar char="•"/>
              <a:tabLst>
                <a:tab pos="139688" algn="l"/>
              </a:tabLst>
              <a:defRPr/>
            </a:pP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72%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of</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patients</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with</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symptoms</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limited</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o</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he</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pocket</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have</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leads</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with</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positive</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blood</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cultures.</a:t>
            </a:r>
            <a:r>
              <a:rPr kumimoji="0" lang="en-GB" sz="900" b="0" i="0" u="none" strike="noStrike" kern="1200" cap="none" spc="-7" normalizeH="0" baseline="30864" noProof="0" dirty="0">
                <a:ln>
                  <a:noFill/>
                </a:ln>
                <a:solidFill>
                  <a:srgbClr val="231F20"/>
                </a:solidFill>
                <a:effectLst/>
                <a:uLnTx/>
                <a:uFillTx/>
                <a:latin typeface="Neue Frutiger World" panose="020B0603040304020203" pitchFamily="34" charset="0"/>
                <a:cs typeface="Neue Frutiger World" panose="020B0603040304020203" pitchFamily="34" charset="0"/>
              </a:rPr>
              <a:t>6</a:t>
            </a:r>
            <a:endParaRPr kumimoji="0" lang="en-GB" sz="900" b="0" i="0" u="none" strike="noStrike" kern="1200" cap="none" spc="0" normalizeH="0" baseline="30864" noProof="0" dirty="0">
              <a:ln>
                <a:noFill/>
              </a:ln>
              <a:solidFill>
                <a:srgbClr val="000000"/>
              </a:solidFill>
              <a:effectLst/>
              <a:uLnTx/>
              <a:uFillTx/>
              <a:latin typeface="Neue Frutiger World" panose="020B0603040304020203" pitchFamily="34" charset="0"/>
              <a:cs typeface="Neue Frutiger World" panose="020B0603040304020203" pitchFamily="34" charset="0"/>
            </a:endParaRPr>
          </a:p>
          <a:p>
            <a:pPr marL="139688" marR="0" lvl="0" indent="-101592" defTabSz="914377" rtl="0" eaLnBrk="1" fontAlgn="auto" latinLnBrk="0" hangingPunct="1">
              <a:lnSpc>
                <a:spcPct val="100000"/>
              </a:lnSpc>
              <a:spcBef>
                <a:spcPts val="489"/>
              </a:spcBef>
              <a:spcAft>
                <a:spcPts val="0"/>
              </a:spcAft>
              <a:buClr>
                <a:srgbClr val="000000"/>
              </a:buClr>
              <a:buSzPct val="100000"/>
              <a:buFont typeface="Arial" panose="020B0604020202020204" pitchFamily="34" charset="0"/>
              <a:buChar char="•"/>
              <a:tabLst>
                <a:tab pos="139688" algn="l"/>
              </a:tabLst>
              <a:defRPr/>
            </a:pP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70%</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of</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patients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with</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staphylococcus</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ureus</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err="1">
                <a:ln>
                  <a:noFill/>
                </a:ln>
                <a:solidFill>
                  <a:srgbClr val="231F20"/>
                </a:solidFill>
                <a:effectLst/>
                <a:uLnTx/>
                <a:uFillTx/>
                <a:latin typeface="Neue Frutiger World" panose="020B0603040304020203" pitchFamily="34" charset="0"/>
                <a:cs typeface="Neue Frutiger World" panose="020B0603040304020203" pitchFamily="34" charset="0"/>
              </a:rPr>
              <a:t>bacteremia</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SAB),</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he</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device</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was</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lso</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shown</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o</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be</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fected.</a:t>
            </a:r>
            <a:r>
              <a:rPr kumimoji="0" lang="en-GB" sz="900" b="0" i="0" u="none" strike="noStrike" kern="1200" cap="none" spc="-15" normalizeH="0" baseline="30864" noProof="0" dirty="0">
                <a:ln>
                  <a:noFill/>
                </a:ln>
                <a:solidFill>
                  <a:srgbClr val="231F20"/>
                </a:solidFill>
                <a:effectLst/>
                <a:uLnTx/>
                <a:uFillTx/>
                <a:latin typeface="Neue Frutiger World" panose="020B0603040304020203" pitchFamily="34" charset="0"/>
                <a:cs typeface="Neue Frutiger World" panose="020B0603040304020203" pitchFamily="34" charset="0"/>
              </a:rPr>
              <a:t>13</a:t>
            </a:r>
            <a:endParaRPr kumimoji="0" lang="en-GB" sz="900" b="0" i="0" u="none" strike="noStrike" kern="1200" cap="none" spc="0" normalizeH="0" baseline="30864" noProof="0" dirty="0">
              <a:ln>
                <a:noFill/>
              </a:ln>
              <a:solidFill>
                <a:srgbClr val="000000"/>
              </a:solidFill>
              <a:effectLst/>
              <a:uLnTx/>
              <a:uFillTx/>
              <a:latin typeface="Neue Frutiger World" panose="020B0603040304020203" pitchFamily="34" charset="0"/>
              <a:cs typeface="Neue Frutiger World" panose="020B0603040304020203" pitchFamily="34" charset="0"/>
            </a:endParaRPr>
          </a:p>
          <a:p>
            <a:pPr marL="266700" marR="0" lvl="0" indent="0" defTabSz="914377" rtl="0" eaLnBrk="1" fontAlgn="auto" latinLnBrk="0" hangingPunct="1">
              <a:lnSpc>
                <a:spcPct val="100000"/>
              </a:lnSpc>
              <a:spcBef>
                <a:spcPts val="270"/>
              </a:spcBef>
              <a:spcAft>
                <a:spcPts val="0"/>
              </a:spcAft>
              <a:buClr>
                <a:srgbClr val="000000"/>
              </a:buClr>
              <a:buSzPct val="100000"/>
              <a:buFont typeface="Arial" panose="020B0604020202020204" pitchFamily="34" charset="0"/>
              <a:buNone/>
              <a:tabLst/>
              <a:defRPr/>
            </a:pPr>
            <a:r>
              <a:rPr kumimoji="0" lang="en-GB" sz="900" b="0" i="0" u="none" strike="noStrike" kern="1200" cap="none" spc="10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t>
            </a:r>
            <a:r>
              <a:rPr kumimoji="0" lang="en-GB" sz="900" b="0" i="0" u="none" strike="noStrike" kern="1200" cap="none" spc="37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60%</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of</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hese</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patients</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had</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no</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clinically</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detectable</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signs</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of</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infection</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near</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the</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generator</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pocket.</a:t>
            </a:r>
          </a:p>
          <a:p>
            <a:pPr marL="38097" marR="0" lvl="0" indent="0" defTabSz="914400" rtl="0" eaLnBrk="1" fontAlgn="auto" latinLnBrk="0" hangingPunct="1">
              <a:lnSpc>
                <a:spcPct val="100000"/>
              </a:lnSpc>
              <a:spcBef>
                <a:spcPts val="590"/>
              </a:spcBef>
              <a:spcAft>
                <a:spcPts val="0"/>
              </a:spcAft>
              <a:buClrTx/>
              <a:buSzTx/>
              <a:buFontTx/>
              <a:buNone/>
              <a:tabLst/>
              <a:defRPr/>
            </a:pP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Pocket</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infection</a:t>
            </a:r>
            <a:r>
              <a:rPr kumimoji="0" lang="en-GB" sz="900" b="1" i="0" u="none" strike="noStrike" kern="1200" cap="none" spc="1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is</a:t>
            </a:r>
            <a:r>
              <a:rPr kumimoji="0" lang="en-GB" sz="900" b="1" i="0" u="none" strike="noStrike" kern="1200" cap="none" spc="1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a</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Class</a:t>
            </a:r>
            <a:r>
              <a:rPr kumimoji="0" lang="en-GB" sz="900" b="1" i="0" u="none" strike="noStrike" kern="1200" cap="none" spc="1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I</a:t>
            </a:r>
            <a:r>
              <a:rPr kumimoji="0" lang="en-GB" sz="900" b="1" i="0" u="none" strike="noStrike" kern="1200" cap="none" spc="1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indication</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for removal</a:t>
            </a:r>
            <a:r>
              <a:rPr kumimoji="0" lang="en-GB" sz="900" b="1" i="0" u="none" strike="noStrike" kern="1200" cap="none" spc="1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of</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all</a:t>
            </a:r>
            <a:r>
              <a:rPr kumimoji="0" lang="en-GB" sz="900" b="1" i="0" u="none" strike="noStrike" kern="1200" cap="none" spc="1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hardware</a:t>
            </a:r>
            <a:r>
              <a:rPr kumimoji="0" lang="en-GB" sz="900" b="1" i="0" u="none" strike="noStrike" kern="1200" cap="none" spc="1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including</a:t>
            </a:r>
            <a:r>
              <a:rPr kumimoji="0" lang="en-GB" sz="900" b="1" i="0" u="none" strike="noStrike" kern="1200" cap="none" spc="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10"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the</a:t>
            </a:r>
            <a:r>
              <a:rPr kumimoji="0" lang="en-GB" sz="900" b="1" i="0" u="none" strike="noStrike" kern="1200" cap="none" spc="1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 </a:t>
            </a:r>
            <a:r>
              <a:rPr kumimoji="0" lang="en-GB" sz="900" b="1" i="0" u="none" strike="noStrike" kern="1200" cap="none" spc="-5" normalizeH="0" baseline="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leads.</a:t>
            </a:r>
            <a:r>
              <a:rPr kumimoji="0" lang="en-GB" sz="900" b="1" i="0" u="none" strike="noStrike" kern="1200" cap="none" spc="-5" normalizeH="0" baseline="30000" noProof="0" dirty="0">
                <a:ln>
                  <a:noFill/>
                </a:ln>
                <a:solidFill>
                  <a:srgbClr val="231F20"/>
                </a:solidFill>
                <a:effectLst/>
                <a:uLnTx/>
                <a:uFillTx/>
                <a:latin typeface="Neue Frutiger World" panose="020B0603040304020203" pitchFamily="34" charset="0"/>
                <a:ea typeface="Verdana" panose="020B0604030504040204" pitchFamily="34" charset="0"/>
                <a:cs typeface="Neue Frutiger World" panose="020B0603040304020203" pitchFamily="34" charset="0"/>
              </a:rPr>
              <a:t>17</a:t>
            </a:r>
            <a:endParaRPr kumimoji="0" lang="en-GB" sz="900" b="1" i="0" u="none" strike="noStrike" kern="1200" cap="none" spc="0" normalizeH="0" baseline="30864" noProof="0" dirty="0">
              <a:ln>
                <a:noFill/>
              </a:ln>
              <a:solidFill>
                <a:prstClr val="black"/>
              </a:solidFill>
              <a:effectLst/>
              <a:uLnTx/>
              <a:uFillTx/>
              <a:latin typeface="Neue Frutiger World" panose="020B0603040304020203" pitchFamily="34" charset="0"/>
              <a:ea typeface="Verdana" panose="020B0604030504040204" pitchFamily="34" charset="0"/>
              <a:cs typeface="Neue Frutiger World" panose="020B0603040304020203" pitchFamily="34" charset="0"/>
            </a:endParaRPr>
          </a:p>
          <a:p>
            <a:pPr marL="139688" marR="227310" lvl="0" indent="-101592" defTabSz="914400" rtl="0" eaLnBrk="1" fontAlgn="auto" latinLnBrk="0" hangingPunct="1">
              <a:lnSpc>
                <a:spcPct val="104200"/>
              </a:lnSpc>
              <a:spcBef>
                <a:spcPts val="450"/>
              </a:spcBef>
              <a:spcAft>
                <a:spcPts val="0"/>
              </a:spcAft>
              <a:buClrTx/>
              <a:buSzTx/>
              <a:buFontTx/>
              <a:buChar char="•"/>
              <a:tabLst>
                <a:tab pos="139688" algn="l"/>
              </a:tabLst>
              <a:defRPr/>
            </a:pP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Quick</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removal</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of</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ll</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hardware</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s</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warranted,</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s</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he</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leads</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may</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lso already</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be</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fected</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or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may</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become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fected</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f</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here</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s</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delay.</a:t>
            </a:r>
            <a:endParaRPr kumimoji="0" lang="en-GB" sz="900" b="0" i="0" u="none" strike="noStrike" kern="1200" cap="none" spc="0" normalizeH="0" baseline="0" noProof="0" dirty="0">
              <a:ln>
                <a:noFill/>
              </a:ln>
              <a:solidFill>
                <a:prstClr val="black"/>
              </a:solidFill>
              <a:effectLst/>
              <a:uLnTx/>
              <a:uFillTx/>
              <a:latin typeface="Neue Frutiger World" panose="020B0603040304020203" pitchFamily="34" charset="0"/>
              <a:cs typeface="Neue Frutiger World" panose="020B0603040304020203" pitchFamily="34" charset="0"/>
            </a:endParaRPr>
          </a:p>
          <a:p>
            <a:pPr marL="380968" marR="30477" lvl="0" indent="-126989" defTabSz="914400" rtl="0" eaLnBrk="1" fontAlgn="auto" latinLnBrk="0" hangingPunct="1">
              <a:lnSpc>
                <a:spcPct val="104200"/>
              </a:lnSpc>
              <a:spcBef>
                <a:spcPts val="229"/>
              </a:spcBef>
              <a:spcAft>
                <a:spcPts val="0"/>
              </a:spcAft>
              <a:buClrTx/>
              <a:buSzTx/>
              <a:buFontTx/>
              <a:buNone/>
              <a:tabLst/>
              <a:defRPr/>
            </a:pPr>
            <a:r>
              <a:rPr kumimoji="0" lang="en-GB" sz="900" b="0" i="0" u="none" strike="noStrike" kern="1200" cap="none" spc="10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t>
            </a:r>
            <a:r>
              <a:rPr kumimoji="0" lang="en-GB" sz="900" b="0" i="0" u="none" strike="noStrike" kern="1200" cap="none" spc="37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Even</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when</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fection</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symptoms</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re</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limited</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o</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he</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pocket,</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he</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travascular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segments</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of</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the</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leads</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will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have</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positive</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blood</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cultures</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72% </a:t>
            </a:r>
            <a:r>
              <a:rPr kumimoji="0" lang="en-GB" sz="9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of</a:t>
            </a:r>
            <a:r>
              <a:rPr kumimoji="0" lang="en-GB" sz="9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9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patients.</a:t>
            </a:r>
            <a:r>
              <a:rPr kumimoji="0" lang="en-GB" sz="900" b="0" i="0" u="none" strike="noStrike" kern="1200" cap="none" spc="-7" normalizeH="0" baseline="30864" noProof="0" dirty="0">
                <a:ln>
                  <a:noFill/>
                </a:ln>
                <a:solidFill>
                  <a:srgbClr val="231F20"/>
                </a:solidFill>
                <a:effectLst/>
                <a:uLnTx/>
                <a:uFillTx/>
                <a:latin typeface="Neue Frutiger World" panose="020B0603040304020203" pitchFamily="34" charset="0"/>
                <a:cs typeface="Neue Frutiger World" panose="020B0603040304020203" pitchFamily="34" charset="0"/>
              </a:rPr>
              <a:t>6</a:t>
            </a:r>
            <a:endParaRPr kumimoji="0" lang="en-GB" sz="900" b="0" i="0" u="none" strike="noStrike" kern="1200" cap="none" spc="0" normalizeH="0" baseline="30864" noProof="0" dirty="0">
              <a:ln>
                <a:noFill/>
              </a:ln>
              <a:solidFill>
                <a:prstClr val="black"/>
              </a:solidFill>
              <a:effectLst/>
              <a:uLnTx/>
              <a:uFillTx/>
              <a:latin typeface="Neue Frutiger World" panose="020B0603040304020203" pitchFamily="34" charset="0"/>
              <a:cs typeface="Neue Frutiger World" panose="020B0603040304020203" pitchFamily="34" charset="0"/>
            </a:endParaRPr>
          </a:p>
          <a:p>
            <a:pPr marL="0" indent="0">
              <a:buNone/>
            </a:pPr>
            <a:endParaRPr lang="en-GB" sz="900" noProof="0" dirty="0">
              <a:latin typeface="Neue Frutiger World" panose="020B0603040304020203" pitchFamily="34" charset="0"/>
              <a:cs typeface="Neue Frutiger World" panose="020B0603040304020203" pitchFamily="34" charset="0"/>
            </a:endParaRPr>
          </a:p>
        </p:txBody>
      </p:sp>
      <p:sp>
        <p:nvSpPr>
          <p:cNvPr id="10" name="Rectangle 9">
            <a:hlinkClick r:id="rId2" action="ppaction://hlinksldjump"/>
            <a:extLst>
              <a:ext uri="{FF2B5EF4-FFF2-40B4-BE49-F238E27FC236}">
                <a16:creationId xmlns:a16="http://schemas.microsoft.com/office/drawing/2014/main" id="{DD0A6AAF-482B-4B5E-B5E6-73A57B899E85}"/>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1" name="Rectangle 10">
            <a:hlinkClick r:id="rId3" action="ppaction://hlinksldjump"/>
            <a:extLst>
              <a:ext uri="{FF2B5EF4-FFF2-40B4-BE49-F238E27FC236}">
                <a16:creationId xmlns:a16="http://schemas.microsoft.com/office/drawing/2014/main" id="{F98884D4-2BF8-4623-8E87-6DC0E9445B78}"/>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2" name="Rectangle 11">
            <a:hlinkClick r:id="rId4" action="ppaction://hlinksldjump"/>
            <a:extLst>
              <a:ext uri="{FF2B5EF4-FFF2-40B4-BE49-F238E27FC236}">
                <a16:creationId xmlns:a16="http://schemas.microsoft.com/office/drawing/2014/main" id="{1501339D-60CC-4E1B-B7D3-3D4EEF1DBAF1}"/>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3" name="Rectangle 12">
            <a:hlinkClick r:id="rId5" action="ppaction://hlinksldjump"/>
            <a:extLst>
              <a:ext uri="{FF2B5EF4-FFF2-40B4-BE49-F238E27FC236}">
                <a16:creationId xmlns:a16="http://schemas.microsoft.com/office/drawing/2014/main" id="{DC891DF8-C5D2-43B1-AB34-57A044AE33C9}"/>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6" action="ppaction://hlinksldjump"/>
            <a:extLst>
              <a:ext uri="{FF2B5EF4-FFF2-40B4-BE49-F238E27FC236}">
                <a16:creationId xmlns:a16="http://schemas.microsoft.com/office/drawing/2014/main" id="{6C53F679-7E1D-4975-B97C-032DA69C63AE}"/>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7" action="ppaction://hlinksldjump"/>
            <a:extLst>
              <a:ext uri="{FF2B5EF4-FFF2-40B4-BE49-F238E27FC236}">
                <a16:creationId xmlns:a16="http://schemas.microsoft.com/office/drawing/2014/main" id="{7ECAAC6F-45F3-4AEC-90BB-AC3EF47DE223}"/>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8" action="ppaction://hlinksldjump"/>
            <a:extLst>
              <a:ext uri="{FF2B5EF4-FFF2-40B4-BE49-F238E27FC236}">
                <a16:creationId xmlns:a16="http://schemas.microsoft.com/office/drawing/2014/main" id="{3DD96AB1-6C1B-4362-9423-496F40EF2140}"/>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9" action="ppaction://hlinksldjump"/>
            <a:extLst>
              <a:ext uri="{FF2B5EF4-FFF2-40B4-BE49-F238E27FC236}">
                <a16:creationId xmlns:a16="http://schemas.microsoft.com/office/drawing/2014/main" id="{FA350A7C-0B2B-4C84-B2FE-8E3D545AA51B}"/>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extLst>
              <a:ext uri="{FF2B5EF4-FFF2-40B4-BE49-F238E27FC236}">
                <a16:creationId xmlns:a16="http://schemas.microsoft.com/office/drawing/2014/main" id="{1600A0CD-F19E-4970-8015-7B351602CA26}"/>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10" action="ppaction://hlinksldjump"/>
            <a:extLst>
              <a:ext uri="{FF2B5EF4-FFF2-40B4-BE49-F238E27FC236}">
                <a16:creationId xmlns:a16="http://schemas.microsoft.com/office/drawing/2014/main" id="{236D17E0-6A08-4260-B6CB-7A35348E5271}"/>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11" action="ppaction://hlinksldjump"/>
            <a:extLst>
              <a:ext uri="{FF2B5EF4-FFF2-40B4-BE49-F238E27FC236}">
                <a16:creationId xmlns:a16="http://schemas.microsoft.com/office/drawing/2014/main" id="{AD2A1772-0028-4784-9CA8-F4CCB5311CBD}"/>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2" action="ppaction://hlinksldjump"/>
            <a:extLst>
              <a:ext uri="{FF2B5EF4-FFF2-40B4-BE49-F238E27FC236}">
                <a16:creationId xmlns:a16="http://schemas.microsoft.com/office/drawing/2014/main" id="{F7BF1C43-56D0-48E9-B606-8CF18B046202}"/>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3" action="ppaction://hlinksldjump"/>
            <a:extLst>
              <a:ext uri="{FF2B5EF4-FFF2-40B4-BE49-F238E27FC236}">
                <a16:creationId xmlns:a16="http://schemas.microsoft.com/office/drawing/2014/main" id="{89120B39-8551-481F-8DC6-D9788089AD45}"/>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4" action="ppaction://hlinksldjump"/>
            <a:extLst>
              <a:ext uri="{FF2B5EF4-FFF2-40B4-BE49-F238E27FC236}">
                <a16:creationId xmlns:a16="http://schemas.microsoft.com/office/drawing/2014/main" id="{73BCE08F-8950-46C9-9B1B-803FEAEDE6EA}"/>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5" action="ppaction://hlinksldjump"/>
            <a:extLst>
              <a:ext uri="{FF2B5EF4-FFF2-40B4-BE49-F238E27FC236}">
                <a16:creationId xmlns:a16="http://schemas.microsoft.com/office/drawing/2014/main" id="{97B68874-BDDC-4679-B2D5-9020162F6FF2}"/>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6" action="ppaction://hlinksldjump"/>
            <a:extLst>
              <a:ext uri="{FF2B5EF4-FFF2-40B4-BE49-F238E27FC236}">
                <a16:creationId xmlns:a16="http://schemas.microsoft.com/office/drawing/2014/main" id="{825B397C-5603-4931-B841-E13B4C918488}"/>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7" action="ppaction://hlinksldjump"/>
            <a:extLst>
              <a:ext uri="{FF2B5EF4-FFF2-40B4-BE49-F238E27FC236}">
                <a16:creationId xmlns:a16="http://schemas.microsoft.com/office/drawing/2014/main" id="{AB52AEA9-59B5-4B2E-B38E-1068905F399A}"/>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8" action="ppaction://hlinksldjump"/>
            <a:extLst>
              <a:ext uri="{FF2B5EF4-FFF2-40B4-BE49-F238E27FC236}">
                <a16:creationId xmlns:a16="http://schemas.microsoft.com/office/drawing/2014/main" id="{D43FDFCA-B48B-4FEB-A46C-6E4BBD8C9171}"/>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9" action="ppaction://hlinksldjump"/>
            <a:extLst>
              <a:ext uri="{FF2B5EF4-FFF2-40B4-BE49-F238E27FC236}">
                <a16:creationId xmlns:a16="http://schemas.microsoft.com/office/drawing/2014/main" id="{CEB09E39-97DF-4D55-9CDE-D62FA5413FB9}"/>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20" action="ppaction://hlinksldjump"/>
            <a:extLst>
              <a:ext uri="{FF2B5EF4-FFF2-40B4-BE49-F238E27FC236}">
                <a16:creationId xmlns:a16="http://schemas.microsoft.com/office/drawing/2014/main" id="{16472001-F7F5-4F5A-A7B7-4CC08056036E}"/>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21" action="ppaction://hlinksldjump"/>
            <a:extLst>
              <a:ext uri="{FF2B5EF4-FFF2-40B4-BE49-F238E27FC236}">
                <a16:creationId xmlns:a16="http://schemas.microsoft.com/office/drawing/2014/main" id="{794770F8-F371-4F6D-BCEC-734C3FCF388C}"/>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22" action="ppaction://hlinksldjump"/>
            <a:extLst>
              <a:ext uri="{FF2B5EF4-FFF2-40B4-BE49-F238E27FC236}">
                <a16:creationId xmlns:a16="http://schemas.microsoft.com/office/drawing/2014/main" id="{CA741FE9-9CB8-47F0-B0D3-53068FA4CDC9}"/>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extLst>
              <a:ext uri="{FF2B5EF4-FFF2-40B4-BE49-F238E27FC236}">
                <a16:creationId xmlns:a16="http://schemas.microsoft.com/office/drawing/2014/main" id="{1B327496-F34B-4B58-B07D-593E510170F7}"/>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3" action="ppaction://hlinksldjump"/>
            <a:extLst>
              <a:ext uri="{FF2B5EF4-FFF2-40B4-BE49-F238E27FC236}">
                <a16:creationId xmlns:a16="http://schemas.microsoft.com/office/drawing/2014/main" id="{2DEA42BB-1A13-4353-913D-50B79D730185}"/>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4" action="ppaction://hlinksldjump"/>
            <a:extLst>
              <a:ext uri="{FF2B5EF4-FFF2-40B4-BE49-F238E27FC236}">
                <a16:creationId xmlns:a16="http://schemas.microsoft.com/office/drawing/2014/main" id="{6FB3E428-45A6-45CD-9CEE-907EE307D7D8}"/>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25" action="ppaction://hlinksldjump"/>
            <a:extLst>
              <a:ext uri="{FF2B5EF4-FFF2-40B4-BE49-F238E27FC236}">
                <a16:creationId xmlns:a16="http://schemas.microsoft.com/office/drawing/2014/main" id="{15869D74-BACD-439A-8007-C0B5A7F458A8}"/>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extLst>
              <a:ext uri="{FF2B5EF4-FFF2-40B4-BE49-F238E27FC236}">
                <a16:creationId xmlns:a16="http://schemas.microsoft.com/office/drawing/2014/main" id="{8167A3AC-D39E-4E2E-B84B-E5B5D6649C50}"/>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37" name="Table 36">
            <a:extLst>
              <a:ext uri="{FF2B5EF4-FFF2-40B4-BE49-F238E27FC236}">
                <a16:creationId xmlns:a16="http://schemas.microsoft.com/office/drawing/2014/main" id="{6F9982FB-51E5-4F79-A101-334141C1C5C7}"/>
              </a:ext>
            </a:extLst>
          </p:cNvPr>
          <p:cNvGraphicFramePr>
            <a:graphicFrameLocks noGrp="1"/>
          </p:cNvGraphicFramePr>
          <p:nvPr>
            <p:extLst>
              <p:ext uri="{D42A27DB-BD31-4B8C-83A1-F6EECF244321}">
                <p14:modId xmlns:p14="http://schemas.microsoft.com/office/powerpoint/2010/main" val="3618055912"/>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38" name="Rectangle 37">
            <a:hlinkClick r:id="rId2" action="ppaction://hlinksldjump"/>
            <a:extLst>
              <a:ext uri="{FF2B5EF4-FFF2-40B4-BE49-F238E27FC236}">
                <a16:creationId xmlns:a16="http://schemas.microsoft.com/office/drawing/2014/main" id="{80BA4C23-3F50-46D0-880F-B59EA4AA6D8E}"/>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3" action="ppaction://hlinksldjump"/>
            <a:extLst>
              <a:ext uri="{FF2B5EF4-FFF2-40B4-BE49-F238E27FC236}">
                <a16:creationId xmlns:a16="http://schemas.microsoft.com/office/drawing/2014/main" id="{AE8E380E-0F0B-414A-B208-34BA8D80E3AE}"/>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4" action="ppaction://hlinksldjump"/>
            <a:extLst>
              <a:ext uri="{FF2B5EF4-FFF2-40B4-BE49-F238E27FC236}">
                <a16:creationId xmlns:a16="http://schemas.microsoft.com/office/drawing/2014/main" id="{EDB0D9FB-6AEA-4E9A-950F-D7F7F9DDE2D0}"/>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5" action="ppaction://hlinksldjump"/>
            <a:extLst>
              <a:ext uri="{FF2B5EF4-FFF2-40B4-BE49-F238E27FC236}">
                <a16:creationId xmlns:a16="http://schemas.microsoft.com/office/drawing/2014/main" id="{31DBFF91-F373-48CD-9D28-CCEFBDD17A67}"/>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6" action="ppaction://hlinksldjump"/>
            <a:extLst>
              <a:ext uri="{FF2B5EF4-FFF2-40B4-BE49-F238E27FC236}">
                <a16:creationId xmlns:a16="http://schemas.microsoft.com/office/drawing/2014/main" id="{A8AD39E0-BB9F-43D0-9FBA-980FB93A8804}"/>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7" action="ppaction://hlinksldjump"/>
            <a:extLst>
              <a:ext uri="{FF2B5EF4-FFF2-40B4-BE49-F238E27FC236}">
                <a16:creationId xmlns:a16="http://schemas.microsoft.com/office/drawing/2014/main" id="{E10582E0-4877-4DD8-BDC4-0C53BB363130}"/>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8" action="ppaction://hlinksldjump"/>
            <a:extLst>
              <a:ext uri="{FF2B5EF4-FFF2-40B4-BE49-F238E27FC236}">
                <a16:creationId xmlns:a16="http://schemas.microsoft.com/office/drawing/2014/main" id="{7222D3AB-E7FE-4AF3-AF39-2739717A9478}"/>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9" action="ppaction://hlinksldjump"/>
            <a:extLst>
              <a:ext uri="{FF2B5EF4-FFF2-40B4-BE49-F238E27FC236}">
                <a16:creationId xmlns:a16="http://schemas.microsoft.com/office/drawing/2014/main" id="{BF97BC30-4B37-465A-BA52-C3F0133FDE09}"/>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extLst>
              <a:ext uri="{FF2B5EF4-FFF2-40B4-BE49-F238E27FC236}">
                <a16:creationId xmlns:a16="http://schemas.microsoft.com/office/drawing/2014/main" id="{591DC653-88DB-482F-88FB-8CA94997021C}"/>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10" action="ppaction://hlinksldjump"/>
            <a:extLst>
              <a:ext uri="{FF2B5EF4-FFF2-40B4-BE49-F238E27FC236}">
                <a16:creationId xmlns:a16="http://schemas.microsoft.com/office/drawing/2014/main" id="{5BBF5D3C-16EA-45A8-8CAD-6E94444C9B23}"/>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11" action="ppaction://hlinksldjump"/>
            <a:extLst>
              <a:ext uri="{FF2B5EF4-FFF2-40B4-BE49-F238E27FC236}">
                <a16:creationId xmlns:a16="http://schemas.microsoft.com/office/drawing/2014/main" id="{F69EBDF3-D683-4BCB-8F07-855326E2FD92}"/>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2" action="ppaction://hlinksldjump"/>
            <a:extLst>
              <a:ext uri="{FF2B5EF4-FFF2-40B4-BE49-F238E27FC236}">
                <a16:creationId xmlns:a16="http://schemas.microsoft.com/office/drawing/2014/main" id="{3FF3FE44-A822-4118-A814-96F582A9E148}"/>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3" action="ppaction://hlinksldjump"/>
            <a:extLst>
              <a:ext uri="{FF2B5EF4-FFF2-40B4-BE49-F238E27FC236}">
                <a16:creationId xmlns:a16="http://schemas.microsoft.com/office/drawing/2014/main" id="{E092A5F8-CA1B-4A8F-B415-09EDD9234077}"/>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4" action="ppaction://hlinksldjump"/>
            <a:extLst>
              <a:ext uri="{FF2B5EF4-FFF2-40B4-BE49-F238E27FC236}">
                <a16:creationId xmlns:a16="http://schemas.microsoft.com/office/drawing/2014/main" id="{7695BD63-9795-483D-9786-9E45411BDAAA}"/>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5" action="ppaction://hlinksldjump"/>
            <a:extLst>
              <a:ext uri="{FF2B5EF4-FFF2-40B4-BE49-F238E27FC236}">
                <a16:creationId xmlns:a16="http://schemas.microsoft.com/office/drawing/2014/main" id="{E5C552F9-82A1-42EA-8D24-8917D46004E6}"/>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6" action="ppaction://hlinksldjump"/>
            <a:extLst>
              <a:ext uri="{FF2B5EF4-FFF2-40B4-BE49-F238E27FC236}">
                <a16:creationId xmlns:a16="http://schemas.microsoft.com/office/drawing/2014/main" id="{7C096208-8D27-42AA-ACA8-0AE5035B06E6}"/>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7" action="ppaction://hlinksldjump"/>
            <a:extLst>
              <a:ext uri="{FF2B5EF4-FFF2-40B4-BE49-F238E27FC236}">
                <a16:creationId xmlns:a16="http://schemas.microsoft.com/office/drawing/2014/main" id="{43F80A13-D8DE-4F3A-B043-F82295356906}"/>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8" action="ppaction://hlinksldjump"/>
            <a:extLst>
              <a:ext uri="{FF2B5EF4-FFF2-40B4-BE49-F238E27FC236}">
                <a16:creationId xmlns:a16="http://schemas.microsoft.com/office/drawing/2014/main" id="{787A589B-A6BB-4B7B-A421-BEE8E9F5F05B}"/>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9" action="ppaction://hlinksldjump"/>
            <a:extLst>
              <a:ext uri="{FF2B5EF4-FFF2-40B4-BE49-F238E27FC236}">
                <a16:creationId xmlns:a16="http://schemas.microsoft.com/office/drawing/2014/main" id="{24C98054-9D06-4003-83E5-ED290617893C}"/>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20" action="ppaction://hlinksldjump"/>
            <a:extLst>
              <a:ext uri="{FF2B5EF4-FFF2-40B4-BE49-F238E27FC236}">
                <a16:creationId xmlns:a16="http://schemas.microsoft.com/office/drawing/2014/main" id="{D1EB45C4-13C7-40A1-906E-7558D1D3509F}"/>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21" action="ppaction://hlinksldjump"/>
            <a:extLst>
              <a:ext uri="{FF2B5EF4-FFF2-40B4-BE49-F238E27FC236}">
                <a16:creationId xmlns:a16="http://schemas.microsoft.com/office/drawing/2014/main" id="{F0DB0FAB-9B82-44D5-8CF6-D540119ED8AA}"/>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22" action="ppaction://hlinksldjump"/>
            <a:extLst>
              <a:ext uri="{FF2B5EF4-FFF2-40B4-BE49-F238E27FC236}">
                <a16:creationId xmlns:a16="http://schemas.microsoft.com/office/drawing/2014/main" id="{3FA08E48-F338-4943-A5A7-1C4D38EC5B29}"/>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extLst>
              <a:ext uri="{FF2B5EF4-FFF2-40B4-BE49-F238E27FC236}">
                <a16:creationId xmlns:a16="http://schemas.microsoft.com/office/drawing/2014/main" id="{96C99FA7-2739-4811-8D22-76A9018BE1E1}"/>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3" action="ppaction://hlinksldjump"/>
            <a:extLst>
              <a:ext uri="{FF2B5EF4-FFF2-40B4-BE49-F238E27FC236}">
                <a16:creationId xmlns:a16="http://schemas.microsoft.com/office/drawing/2014/main" id="{72E3DEF7-FAD5-4B00-A1C1-E929725C1B14}"/>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4" action="ppaction://hlinksldjump"/>
            <a:extLst>
              <a:ext uri="{FF2B5EF4-FFF2-40B4-BE49-F238E27FC236}">
                <a16:creationId xmlns:a16="http://schemas.microsoft.com/office/drawing/2014/main" id="{AEFBE0F9-2865-40B5-BC5D-7A3BC447D468}"/>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25" action="ppaction://hlinksldjump"/>
            <a:extLst>
              <a:ext uri="{FF2B5EF4-FFF2-40B4-BE49-F238E27FC236}">
                <a16:creationId xmlns:a16="http://schemas.microsoft.com/office/drawing/2014/main" id="{9131E2F7-42C4-4E4F-8C0A-399A2A06025B}"/>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pic>
        <p:nvPicPr>
          <p:cNvPr id="64" name="Picture 63">
            <a:extLst>
              <a:ext uri="{FF2B5EF4-FFF2-40B4-BE49-F238E27FC236}">
                <a16:creationId xmlns:a16="http://schemas.microsoft.com/office/drawing/2014/main" id="{55A6CFAB-D82F-45EB-A5B8-C410BBA2792E}"/>
              </a:ext>
            </a:extLst>
          </p:cNvPr>
          <p:cNvPicPr>
            <a:picLocks noChangeAspect="1"/>
          </p:cNvPicPr>
          <p:nvPr/>
        </p:nvPicPr>
        <p:blipFill rotWithShape="1">
          <a:blip r:embed="rId26"/>
          <a:srcRect t="49182"/>
          <a:stretch/>
        </p:blipFill>
        <p:spPr>
          <a:xfrm>
            <a:off x="1547663" y="3206129"/>
            <a:ext cx="6605143" cy="1296721"/>
          </a:xfrm>
          <a:prstGeom prst="rect">
            <a:avLst/>
          </a:prstGeom>
        </p:spPr>
      </p:pic>
      <p:sp>
        <p:nvSpPr>
          <p:cNvPr id="65" name="TextBox 64">
            <a:extLst>
              <a:ext uri="{FF2B5EF4-FFF2-40B4-BE49-F238E27FC236}">
                <a16:creationId xmlns:a16="http://schemas.microsoft.com/office/drawing/2014/main" id="{3ADDB817-B3C9-453A-AE3D-02714C318747}"/>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66" name="TextBox 65">
            <a:extLst>
              <a:ext uri="{FF2B5EF4-FFF2-40B4-BE49-F238E27FC236}">
                <a16:creationId xmlns:a16="http://schemas.microsoft.com/office/drawing/2014/main" id="{0574100F-C132-4AD0-9F07-613A0DF3A50D}"/>
              </a:ext>
            </a:extLst>
          </p:cNvPr>
          <p:cNvSpPr txBox="1"/>
          <p:nvPr/>
        </p:nvSpPr>
        <p:spPr>
          <a:xfrm>
            <a:off x="5724128" y="776061"/>
            <a:ext cx="3168352" cy="2267287"/>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a:spAutoFit/>
          </a:bodyPr>
          <a:lstStyle/>
          <a:p>
            <a:r>
              <a:rPr lang="en-US" sz="1300" dirty="0">
                <a:solidFill>
                  <a:srgbClr val="0077CD"/>
                </a:solidFill>
                <a:latin typeface="Neue Frutiger World" panose="020B0603040304020203" pitchFamily="34" charset="0"/>
                <a:cs typeface="Neue Frutiger World" panose="020B0603040304020203" pitchFamily="34" charset="0"/>
              </a:rPr>
              <a:t>“Regardless of the initial clinical presentation, complications at the pacemaker implantation site are associated with an infectious process in the vast majority of cases. Furthermore, even in the absence of signs or symptoms of systemic infection, the process is rarely limited to the extravascular components of the pacing system.” </a:t>
            </a:r>
            <a:r>
              <a:rPr lang="en-US" sz="1300" baseline="30000" dirty="0">
                <a:solidFill>
                  <a:srgbClr val="0077CD"/>
                </a:solidFill>
                <a:latin typeface="Neue Frutiger World" panose="020B0603040304020203" pitchFamily="34" charset="0"/>
                <a:cs typeface="Neue Frutiger World" panose="020B0603040304020203" pitchFamily="34" charset="0"/>
              </a:rPr>
              <a:t>6</a:t>
            </a:r>
            <a:endParaRPr lang="en-US" sz="1300" dirty="0">
              <a:solidFill>
                <a:srgbClr val="0077CD"/>
              </a:solidFill>
              <a:latin typeface="Neue Frutiger World" panose="020B0603040304020203" pitchFamily="34" charset="0"/>
              <a:cs typeface="Neue Frutiger World" panose="020B0603040304020203" pitchFamily="34" charset="0"/>
            </a:endParaRPr>
          </a:p>
          <a:p>
            <a:pPr marL="895275">
              <a:spcBef>
                <a:spcPts val="390"/>
              </a:spcBef>
            </a:pPr>
            <a:r>
              <a:rPr lang="en-US" sz="800" spc="90" dirty="0">
                <a:solidFill>
                  <a:srgbClr val="0077CD"/>
                </a:solidFill>
                <a:latin typeface="Neue Frutiger World" panose="020B0603040304020203" pitchFamily="34" charset="0"/>
                <a:cs typeface="Neue Frutiger World" panose="020B0603040304020203" pitchFamily="34" charset="0"/>
              </a:rPr>
              <a:t>- Klug et al.</a:t>
            </a:r>
          </a:p>
        </p:txBody>
      </p:sp>
    </p:spTree>
    <p:extLst>
      <p:ext uri="{BB962C8B-B14F-4D97-AF65-F5344CB8AC3E}">
        <p14:creationId xmlns:p14="http://schemas.microsoft.com/office/powerpoint/2010/main" val="17773149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EFD92-2FF2-448C-9F26-84D6B32FF18C}"/>
              </a:ext>
            </a:extLst>
          </p:cNvPr>
          <p:cNvSpPr>
            <a:spLocks noGrp="1"/>
          </p:cNvSpPr>
          <p:nvPr>
            <p:ph type="title"/>
          </p:nvPr>
        </p:nvSpPr>
        <p:spPr/>
        <p:txBody>
          <a:bodyPr/>
          <a:lstStyle/>
          <a:p>
            <a:r>
              <a:rPr lang="en-GB" sz="2000" spc="-5" noProof="0" dirty="0">
                <a:latin typeface="Neue Frutiger World" panose="020B0603040304020203" pitchFamily="34" charset="0"/>
                <a:cs typeface="Neue Frutiger World" panose="020B0603040304020203" pitchFamily="34" charset="0"/>
              </a:rPr>
              <a:t>I treat with antibiotics first – conversation starter 1</a:t>
            </a:r>
            <a:endParaRPr lang="en-GB" sz="2000" noProof="0" dirty="0">
              <a:latin typeface="Neue Frutiger World" panose="020B0603040304020203" pitchFamily="34" charset="0"/>
              <a:cs typeface="Neue Frutiger World" panose="020B0603040304020203" pitchFamily="34" charset="0"/>
            </a:endParaRPr>
          </a:p>
        </p:txBody>
      </p:sp>
      <p:sp>
        <p:nvSpPr>
          <p:cNvPr id="3" name="Footer Placeholder 2">
            <a:extLst>
              <a:ext uri="{FF2B5EF4-FFF2-40B4-BE49-F238E27FC236}">
                <a16:creationId xmlns:a16="http://schemas.microsoft.com/office/drawing/2014/main" id="{85690209-C41D-430D-936E-EFF8FE470FA5}"/>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187FEE38-FE33-41AF-A926-A42C6773E118}"/>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12</a:t>
            </a:fld>
            <a:endParaRPr lang="en-US" noProof="0" dirty="0">
              <a:latin typeface="Neue Frutiger World" panose="020B0603040304020203" pitchFamily="34" charset="0"/>
              <a:cs typeface="Neue Frutiger World" panose="020B0603040304020203" pitchFamily="34" charset="0"/>
            </a:endParaRPr>
          </a:p>
        </p:txBody>
      </p:sp>
      <p:sp>
        <p:nvSpPr>
          <p:cNvPr id="5" name="Text Placeholder 4">
            <a:extLst>
              <a:ext uri="{FF2B5EF4-FFF2-40B4-BE49-F238E27FC236}">
                <a16:creationId xmlns:a16="http://schemas.microsoft.com/office/drawing/2014/main" id="{B32E0970-8977-4E0A-B5B5-3CE20646513D}"/>
              </a:ext>
            </a:extLst>
          </p:cNvPr>
          <p:cNvSpPr>
            <a:spLocks noGrp="1"/>
          </p:cNvSpPr>
          <p:nvPr>
            <p:ph type="body" sz="quarter" idx="14"/>
          </p:nvPr>
        </p:nvSpPr>
        <p:spPr>
          <a:xfrm>
            <a:off x="1547664" y="843558"/>
            <a:ext cx="2689828" cy="3852505"/>
          </a:xfrm>
        </p:spPr>
        <p:txBody>
          <a:bodyPr/>
          <a:lstStyle/>
          <a:p>
            <a:pPr marL="12699" marR="0" lvl="0" indent="0" algn="l" defTabSz="914400" rtl="0" eaLnBrk="1" fontAlgn="auto" latinLnBrk="0" hangingPunct="1">
              <a:lnSpc>
                <a:spcPct val="100000"/>
              </a:lnSpc>
              <a:spcBef>
                <a:spcPts val="730"/>
              </a:spcBef>
              <a:spcAft>
                <a:spcPts val="0"/>
              </a:spcAft>
              <a:buClrTx/>
              <a:buSzTx/>
              <a:buFontTx/>
              <a:buNone/>
              <a:tabLst/>
              <a:defRPr/>
            </a:pPr>
            <a:r>
              <a:rPr kumimoji="0" lang="en-GB" sz="1300" b="1"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Open-ended</a:t>
            </a:r>
            <a:r>
              <a:rPr kumimoji="0" lang="en-GB" sz="1300" b="1"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1300" b="1"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question:</a:t>
            </a:r>
            <a:endParaRPr kumimoji="0" lang="en-GB" sz="1300" b="0" i="0" u="none" strike="noStrike" kern="1200" cap="none" spc="0" normalizeH="0" baseline="0" noProof="0" dirty="0">
              <a:ln>
                <a:noFill/>
              </a:ln>
              <a:solidFill>
                <a:prstClr val="black"/>
              </a:solidFill>
              <a:effectLst/>
              <a:uLnTx/>
              <a:uFillTx/>
              <a:latin typeface="Neue Frutiger World" panose="020B0603040304020203" pitchFamily="34" charset="0"/>
              <a:cs typeface="Neue Frutiger World" panose="020B0603040304020203" pitchFamily="34" charset="0"/>
            </a:endParaRPr>
          </a:p>
          <a:p>
            <a:pPr marL="12699" marR="5079" lvl="0" indent="0" algn="l" defTabSz="914400" rtl="0" eaLnBrk="1" fontAlgn="auto" latinLnBrk="0" hangingPunct="1">
              <a:lnSpc>
                <a:spcPct val="104200"/>
              </a:lnSpc>
              <a:spcBef>
                <a:spcPts val="350"/>
              </a:spcBef>
              <a:spcAft>
                <a:spcPts val="0"/>
              </a:spcAft>
              <a:buClrTx/>
              <a:buSzTx/>
              <a:buFontTx/>
              <a:buNone/>
              <a:tabLst/>
              <a:defRPr/>
            </a:pPr>
            <a:r>
              <a:rPr kumimoji="0" lang="en-GB" sz="800" b="0"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How do you choose to treat patients with infection?</a:t>
            </a:r>
            <a:endParaRPr kumimoji="0" lang="en-GB" sz="800" b="0" i="0" u="none" strike="noStrike" kern="1200" cap="none" spc="0" normalizeH="0" baseline="0" noProof="0" dirty="0">
              <a:ln>
                <a:noFill/>
              </a:ln>
              <a:solidFill>
                <a:prstClr val="black"/>
              </a:solidFill>
              <a:effectLst/>
              <a:uLnTx/>
              <a:uFillTx/>
              <a:latin typeface="Neue Frutiger World" panose="020B0603040304020203" pitchFamily="34" charset="0"/>
              <a:cs typeface="Neue Frutiger World" panose="020B06030403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Neue Frutiger World" panose="020B0603040304020203" pitchFamily="34" charset="0"/>
              <a:cs typeface="Neue Frutiger World" panose="020B0603040304020203" pitchFamily="34" charset="0"/>
            </a:endParaRPr>
          </a:p>
          <a:p>
            <a:pPr marL="0" marR="0" lvl="0" indent="0" algn="l" defTabSz="914400" rtl="0" eaLnBrk="1" fontAlgn="auto" latinLnBrk="0" hangingPunct="1">
              <a:lnSpc>
                <a:spcPct val="100000"/>
              </a:lnSpc>
              <a:spcBef>
                <a:spcPts val="1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Neue Frutiger World" panose="020B0603040304020203" pitchFamily="34" charset="0"/>
              <a:cs typeface="Neue Frutiger World" panose="020B0603040304020203" pitchFamily="34" charset="0"/>
            </a:endParaRPr>
          </a:p>
          <a:p>
            <a:pPr marL="12699"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Potential</a:t>
            </a:r>
            <a:r>
              <a:rPr kumimoji="0" lang="en-GB" sz="1300" b="1" i="0" u="none" strike="noStrike" kern="1200" cap="none" spc="2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1300" b="1"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physician</a:t>
            </a:r>
            <a:r>
              <a:rPr kumimoji="0" lang="en-GB" sz="1300" b="1" i="0" u="none" strike="noStrike" kern="1200" cap="none" spc="3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1300" b="1"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response:</a:t>
            </a:r>
            <a:endParaRPr kumimoji="0" lang="en-GB" sz="1300" b="0" i="0" u="none" strike="noStrike" kern="1200" cap="none" spc="0" normalizeH="0" baseline="0" noProof="0" dirty="0">
              <a:ln>
                <a:noFill/>
              </a:ln>
              <a:solidFill>
                <a:prstClr val="black"/>
              </a:solidFill>
              <a:effectLst/>
              <a:uLnTx/>
              <a:uFillTx/>
              <a:latin typeface="Neue Frutiger World" panose="020B0603040304020203" pitchFamily="34" charset="0"/>
              <a:cs typeface="Neue Frutiger World" panose="020B0603040304020203" pitchFamily="34" charset="0"/>
            </a:endParaRPr>
          </a:p>
          <a:p>
            <a:pPr marL="12699" marR="97782" lvl="0" indent="0" algn="l" defTabSz="914400" rtl="0" eaLnBrk="1" fontAlgn="auto" latinLnBrk="0" hangingPunct="1">
              <a:lnSpc>
                <a:spcPct val="104200"/>
              </a:lnSpc>
              <a:spcBef>
                <a:spcPts val="350"/>
              </a:spcBef>
              <a:spcAft>
                <a:spcPts val="0"/>
              </a:spcAft>
              <a:buClrTx/>
              <a:buSzTx/>
              <a:buFontTx/>
              <a:buNone/>
              <a:tabLst/>
              <a:defRPr/>
            </a:pPr>
            <a:r>
              <a:rPr kumimoji="0" lang="en-GB"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 prefer to treat with antibiotics first line. This means I can avoid the risk of extraction.</a:t>
            </a:r>
            <a:endParaRPr kumimoji="0" lang="en-GB" sz="800" b="0" i="0" u="none" strike="noStrike" kern="1200" cap="none" spc="0" normalizeH="0" baseline="0" noProof="0" dirty="0">
              <a:ln>
                <a:noFill/>
              </a:ln>
              <a:solidFill>
                <a:prstClr val="black"/>
              </a:solidFill>
              <a:effectLst/>
              <a:uLnTx/>
              <a:uFillTx/>
              <a:latin typeface="Neue Frutiger World" panose="020B0603040304020203" pitchFamily="34" charset="0"/>
              <a:cs typeface="Neue Frutiger World" panose="020B0603040304020203" pitchFamily="34" charset="0"/>
            </a:endParaRPr>
          </a:p>
          <a:p>
            <a:pPr marL="0" indent="0">
              <a:buNone/>
            </a:pPr>
            <a:endParaRPr lang="en-GB" noProof="0" dirty="0">
              <a:latin typeface="Neue Frutiger World" panose="020B0603040304020203" pitchFamily="34" charset="0"/>
              <a:cs typeface="Neue Frutiger World" panose="020B0603040304020203" pitchFamily="34" charset="0"/>
            </a:endParaRPr>
          </a:p>
        </p:txBody>
      </p:sp>
      <p:sp>
        <p:nvSpPr>
          <p:cNvPr id="6" name="object 5">
            <a:extLst>
              <a:ext uri="{FF2B5EF4-FFF2-40B4-BE49-F238E27FC236}">
                <a16:creationId xmlns:a16="http://schemas.microsoft.com/office/drawing/2014/main" id="{18CAF900-DC08-4FD5-8F36-4E18F2F64EA0}"/>
              </a:ext>
            </a:extLst>
          </p:cNvPr>
          <p:cNvSpPr txBox="1"/>
          <p:nvPr/>
        </p:nvSpPr>
        <p:spPr>
          <a:xfrm>
            <a:off x="4915105" y="771550"/>
            <a:ext cx="3905368" cy="2235292"/>
          </a:xfrm>
          <a:prstGeom prst="rect">
            <a:avLst/>
          </a:prstGeom>
        </p:spPr>
        <p:txBody>
          <a:bodyPr vert="horz" wrap="square" lIns="0" tIns="92710" rIns="0" bIns="0" rtlCol="0">
            <a:spAutoFit/>
          </a:bodyPr>
          <a:lstStyle/>
          <a:p>
            <a:pPr marL="50796">
              <a:spcBef>
                <a:spcPts val="730"/>
              </a:spcBef>
            </a:pPr>
            <a:r>
              <a:rPr sz="1300" b="1" spc="-5" dirty="0">
                <a:solidFill>
                  <a:srgbClr val="231F20"/>
                </a:solidFill>
                <a:latin typeface="Neue Frutiger World" panose="020B0603040304020203" pitchFamily="34" charset="0"/>
                <a:cs typeface="Neue Frutiger World" panose="020B0603040304020203" pitchFamily="34" charset="0"/>
              </a:rPr>
              <a:t>Rep</a:t>
            </a:r>
            <a:r>
              <a:rPr sz="1300" b="1"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50796" marR="158737">
              <a:lnSpc>
                <a:spcPct val="104200"/>
              </a:lnSpc>
              <a:spcBef>
                <a:spcPts val="350"/>
              </a:spcBef>
            </a:pPr>
            <a:r>
              <a:rPr lang="en-US" sz="800" spc="-10" dirty="0">
                <a:solidFill>
                  <a:srgbClr val="231F20"/>
                </a:solidFill>
                <a:latin typeface="Neue Frutiger World" panose="020B0603040304020203" pitchFamily="34" charset="0"/>
                <a:cs typeface="Neue Frutiger World" panose="020B0603040304020203" pitchFamily="34" charset="0"/>
              </a:rPr>
              <a:t>Infection is a class 1 indication for removal of a pacemaker system. Delaying referral can lead to more complex extraction later on and is associated with worsening outcomes for your patient, including mortality. Antibiotics are proven to be ineffective against device infections. The HRS 2017 Guidance, EHRA 2019 and EHRA Supplement paper 2021</a:t>
            </a:r>
            <a:r>
              <a:rPr lang="en-US" sz="800" spc="-10" baseline="30000" dirty="0">
                <a:solidFill>
                  <a:srgbClr val="231F20"/>
                </a:solidFill>
                <a:latin typeface="Neue Frutiger World" panose="020B0603040304020203" pitchFamily="34" charset="0"/>
                <a:cs typeface="Neue Frutiger World" panose="020B0603040304020203" pitchFamily="34" charset="0"/>
              </a:rPr>
              <a:t>28</a:t>
            </a:r>
            <a:r>
              <a:rPr lang="en-US" sz="800" spc="-10" dirty="0">
                <a:solidFill>
                  <a:srgbClr val="231F20"/>
                </a:solidFill>
                <a:latin typeface="Neue Frutiger World" panose="020B0603040304020203" pitchFamily="34" charset="0"/>
                <a:cs typeface="Neue Frutiger World" panose="020B0603040304020203" pitchFamily="34" charset="0"/>
              </a:rPr>
              <a:t> all recommend an immediate course of antibiotics and early referral for extraction. </a:t>
            </a:r>
          </a:p>
          <a:p>
            <a:pPr marL="50796" marR="158737">
              <a:lnSpc>
                <a:spcPct val="104200"/>
              </a:lnSpc>
              <a:spcBef>
                <a:spcPts val="350"/>
              </a:spcBef>
            </a:pPr>
            <a:endParaRPr lang="en-US" sz="800" spc="-10" dirty="0">
              <a:solidFill>
                <a:srgbClr val="231F20"/>
              </a:solidFill>
              <a:latin typeface="Neue Frutiger World" panose="020B0603040304020203" pitchFamily="34" charset="0"/>
              <a:cs typeface="Neue Frutiger World" panose="020B0603040304020203" pitchFamily="34" charset="0"/>
            </a:endParaRPr>
          </a:p>
          <a:p>
            <a:pPr marL="50796" marR="158737">
              <a:lnSpc>
                <a:spcPct val="104200"/>
              </a:lnSpc>
              <a:spcBef>
                <a:spcPts val="350"/>
              </a:spcBef>
            </a:pPr>
            <a:r>
              <a:rPr lang="en-US" sz="800" spc="-10" dirty="0">
                <a:solidFill>
                  <a:srgbClr val="231F20"/>
                </a:solidFill>
                <a:latin typeface="Neue Frutiger World" panose="020B0603040304020203" pitchFamily="34" charset="0"/>
                <a:cs typeface="Neue Frutiger World" panose="020B0603040304020203" pitchFamily="34" charset="0"/>
              </a:rPr>
              <a:t>Are you aware of the relapse rate if device patients are treated only with antibiotics? 50%-100% of your patients are likely to fail antibiotics quickly, as many as half of those who don't show immediate infection problems will show infection later.</a:t>
            </a:r>
            <a:r>
              <a:rPr lang="en-US" sz="800" spc="-10" baseline="30000" dirty="0">
                <a:solidFill>
                  <a:srgbClr val="231F20"/>
                </a:solidFill>
                <a:latin typeface="Neue Frutiger World" panose="020B0603040304020203" pitchFamily="34" charset="0"/>
                <a:cs typeface="Neue Frutiger World" panose="020B0603040304020203" pitchFamily="34" charset="0"/>
              </a:rPr>
              <a:t>5-9</a:t>
            </a:r>
            <a:endParaRPr sz="800" baseline="30000" dirty="0">
              <a:latin typeface="Neue Frutiger World" panose="020B0603040304020203" pitchFamily="34" charset="0"/>
              <a:cs typeface="Neue Frutiger World" panose="020B0603040304020203" pitchFamily="34" charset="0"/>
            </a:endParaRPr>
          </a:p>
          <a:p>
            <a:pPr>
              <a:spcBef>
                <a:spcPts val="40"/>
              </a:spcBef>
            </a:pPr>
            <a:endParaRPr sz="800" dirty="0">
              <a:latin typeface="Neue Frutiger World" panose="020B0603040304020203" pitchFamily="34" charset="0"/>
              <a:cs typeface="Neue Frutiger World" panose="020B0603040304020203" pitchFamily="34" charset="0"/>
            </a:endParaRPr>
          </a:p>
          <a:p>
            <a:pPr marL="50796" marR="168261">
              <a:lnSpc>
                <a:spcPct val="104200"/>
              </a:lnSpc>
            </a:pPr>
            <a:r>
              <a:rPr lang="en-GB" sz="800" spc="-10" dirty="0">
                <a:solidFill>
                  <a:srgbClr val="00A9EB"/>
                </a:solidFill>
                <a:latin typeface="Neue Frutiger World" panose="020B0603040304020203" pitchFamily="34" charset="0"/>
                <a:cs typeface="Neue Frutiger World" panose="020B0603040304020203" pitchFamily="34" charset="0"/>
              </a:rPr>
              <a:t>Given the evidence, do you agree referral for extraction should be your first line choice?</a:t>
            </a:r>
            <a:endParaRPr sz="800" dirty="0">
              <a:latin typeface="Neue Frutiger World" panose="020B0603040304020203" pitchFamily="34" charset="0"/>
              <a:cs typeface="Neue Frutiger World" panose="020B0603040304020203" pitchFamily="34" charset="0"/>
            </a:endParaRPr>
          </a:p>
        </p:txBody>
      </p:sp>
      <p:sp>
        <p:nvSpPr>
          <p:cNvPr id="7" name="object 2">
            <a:extLst>
              <a:ext uri="{FF2B5EF4-FFF2-40B4-BE49-F238E27FC236}">
                <a16:creationId xmlns:a16="http://schemas.microsoft.com/office/drawing/2014/main" id="{82E61B72-A0F1-4342-85EB-A71145EE4764}"/>
              </a:ext>
            </a:extLst>
          </p:cNvPr>
          <p:cNvSpPr txBox="1"/>
          <p:nvPr/>
        </p:nvSpPr>
        <p:spPr>
          <a:xfrm>
            <a:off x="1996306" y="3386070"/>
            <a:ext cx="369570" cy="212879"/>
          </a:xfrm>
          <a:prstGeom prst="rect">
            <a:avLst/>
          </a:prstGeom>
        </p:spPr>
        <p:txBody>
          <a:bodyPr vert="horz" wrap="square" lIns="0" tIns="12700" rIns="0" bIns="0" rtlCol="0">
            <a:spAutoFit/>
          </a:bodyPr>
          <a:lstStyle/>
          <a:p>
            <a:pPr marL="12699">
              <a:spcBef>
                <a:spcPts val="100"/>
              </a:spcBef>
            </a:pPr>
            <a:r>
              <a:rPr sz="1300" spc="10" dirty="0">
                <a:solidFill>
                  <a:srgbClr val="00629F"/>
                </a:solidFill>
                <a:latin typeface="Neue Frutiger World" panose="020B0603040304020203" pitchFamily="34" charset="0"/>
                <a:cs typeface="Neue Frutiger World" panose="020B0603040304020203" pitchFamily="34" charset="0"/>
              </a:rPr>
              <a:t>50%</a:t>
            </a:r>
            <a:endParaRPr sz="1300" dirty="0">
              <a:latin typeface="Neue Frutiger World" panose="020B0603040304020203" pitchFamily="34" charset="0"/>
              <a:cs typeface="Neue Frutiger World" panose="020B0603040304020203" pitchFamily="34" charset="0"/>
            </a:endParaRPr>
          </a:p>
        </p:txBody>
      </p:sp>
      <p:sp>
        <p:nvSpPr>
          <p:cNvPr id="8" name="object 3">
            <a:extLst>
              <a:ext uri="{FF2B5EF4-FFF2-40B4-BE49-F238E27FC236}">
                <a16:creationId xmlns:a16="http://schemas.microsoft.com/office/drawing/2014/main" id="{8F28973E-5ECF-4425-A238-8D14F2E9CE4C}"/>
              </a:ext>
            </a:extLst>
          </p:cNvPr>
          <p:cNvSpPr txBox="1"/>
          <p:nvPr/>
        </p:nvSpPr>
        <p:spPr>
          <a:xfrm>
            <a:off x="1566675" y="3785053"/>
            <a:ext cx="419100" cy="212879"/>
          </a:xfrm>
          <a:prstGeom prst="rect">
            <a:avLst/>
          </a:prstGeom>
        </p:spPr>
        <p:txBody>
          <a:bodyPr vert="horz" wrap="square" lIns="0" tIns="12700" rIns="0" bIns="0" rtlCol="0">
            <a:spAutoFit/>
          </a:bodyPr>
          <a:lstStyle/>
          <a:p>
            <a:pPr marL="12699">
              <a:spcBef>
                <a:spcPts val="100"/>
              </a:spcBef>
            </a:pPr>
            <a:r>
              <a:rPr sz="1300" spc="-10" dirty="0">
                <a:solidFill>
                  <a:srgbClr val="FFA40D"/>
                </a:solidFill>
                <a:latin typeface="Neue Frutiger World" panose="020B0603040304020203" pitchFamily="34" charset="0"/>
                <a:cs typeface="Neue Frutiger World" panose="020B0603040304020203" pitchFamily="34" charset="0"/>
              </a:rPr>
              <a:t>0</a:t>
            </a:r>
            <a:r>
              <a:rPr sz="1300" spc="20" dirty="0">
                <a:solidFill>
                  <a:srgbClr val="FFA40D"/>
                </a:solidFill>
                <a:latin typeface="Neue Frutiger World" panose="020B0603040304020203" pitchFamily="34" charset="0"/>
                <a:cs typeface="Neue Frutiger World" panose="020B0603040304020203" pitchFamily="34" charset="0"/>
              </a:rPr>
              <a:t>.9</a:t>
            </a:r>
            <a:r>
              <a:rPr sz="1300" spc="25" dirty="0">
                <a:solidFill>
                  <a:srgbClr val="FFA40D"/>
                </a:solidFill>
                <a:latin typeface="Neue Frutiger World" panose="020B0603040304020203" pitchFamily="34" charset="0"/>
                <a:cs typeface="Neue Frutiger World" panose="020B0603040304020203" pitchFamily="34" charset="0"/>
              </a:rPr>
              <a:t>%</a:t>
            </a:r>
            <a:endParaRPr sz="1300" dirty="0">
              <a:latin typeface="Neue Frutiger World" panose="020B0603040304020203" pitchFamily="34" charset="0"/>
              <a:cs typeface="Neue Frutiger World" panose="020B0603040304020203" pitchFamily="34" charset="0"/>
            </a:endParaRPr>
          </a:p>
        </p:txBody>
      </p:sp>
      <p:sp>
        <p:nvSpPr>
          <p:cNvPr id="9" name="object 4">
            <a:extLst>
              <a:ext uri="{FF2B5EF4-FFF2-40B4-BE49-F238E27FC236}">
                <a16:creationId xmlns:a16="http://schemas.microsoft.com/office/drawing/2014/main" id="{88AB52E2-D740-4A56-A37A-A6102300E1C2}"/>
              </a:ext>
            </a:extLst>
          </p:cNvPr>
          <p:cNvSpPr txBox="1"/>
          <p:nvPr/>
        </p:nvSpPr>
        <p:spPr>
          <a:xfrm>
            <a:off x="1559769" y="4119597"/>
            <a:ext cx="664845" cy="201081"/>
          </a:xfrm>
          <a:prstGeom prst="rect">
            <a:avLst/>
          </a:prstGeom>
        </p:spPr>
        <p:txBody>
          <a:bodyPr vert="horz" wrap="square" lIns="0" tIns="8890" rIns="0" bIns="0" rtlCol="0">
            <a:spAutoFit/>
          </a:bodyPr>
          <a:lstStyle/>
          <a:p>
            <a:pPr marL="12699" marR="5079">
              <a:lnSpc>
                <a:spcPct val="104200"/>
              </a:lnSpc>
              <a:spcBef>
                <a:spcPts val="70"/>
              </a:spcBef>
            </a:pPr>
            <a:r>
              <a:rPr sz="600" spc="5" dirty="0">
                <a:solidFill>
                  <a:srgbClr val="231F20"/>
                </a:solidFill>
                <a:latin typeface="Neue Frutiger World" panose="020B0603040304020203" pitchFamily="34" charset="0"/>
                <a:cs typeface="Neue Frutiger World" panose="020B0603040304020203" pitchFamily="34" charset="0"/>
              </a:rPr>
              <a:t>Chuad,</a:t>
            </a:r>
            <a:r>
              <a:rPr sz="600" spc="-15" dirty="0">
                <a:solidFill>
                  <a:srgbClr val="231F20"/>
                </a:solidFill>
                <a:latin typeface="Neue Frutiger World" panose="020B0603040304020203" pitchFamily="34" charset="0"/>
                <a:cs typeface="Neue Frutiger World" panose="020B0603040304020203" pitchFamily="34" charset="0"/>
              </a:rPr>
              <a:t> </a:t>
            </a:r>
            <a:r>
              <a:rPr sz="600" spc="10" dirty="0">
                <a:solidFill>
                  <a:srgbClr val="231F20"/>
                </a:solidFill>
                <a:latin typeface="Neue Frutiger World" panose="020B0603040304020203" pitchFamily="34" charset="0"/>
                <a:cs typeface="Neue Frutiger World" panose="020B0603040304020203" pitchFamily="34" charset="0"/>
              </a:rPr>
              <a:t>J.D.,</a:t>
            </a:r>
            <a:r>
              <a:rPr sz="600" spc="-1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et</a:t>
            </a:r>
            <a:r>
              <a:rPr sz="600" spc="-1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al.</a:t>
            </a:r>
            <a:r>
              <a:rPr lang="en-GB" sz="600" spc="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2000)</a:t>
            </a:r>
            <a:endParaRPr sz="600" dirty="0">
              <a:latin typeface="Neue Frutiger World" panose="020B0603040304020203" pitchFamily="34" charset="0"/>
              <a:cs typeface="Neue Frutiger World" panose="020B0603040304020203" pitchFamily="34" charset="0"/>
            </a:endParaRPr>
          </a:p>
        </p:txBody>
      </p:sp>
      <p:sp>
        <p:nvSpPr>
          <p:cNvPr id="10" name="object 5">
            <a:extLst>
              <a:ext uri="{FF2B5EF4-FFF2-40B4-BE49-F238E27FC236}">
                <a16:creationId xmlns:a16="http://schemas.microsoft.com/office/drawing/2014/main" id="{14731529-3062-4805-8D85-1DA7739A8B7A}"/>
              </a:ext>
            </a:extLst>
          </p:cNvPr>
          <p:cNvSpPr txBox="1"/>
          <p:nvPr/>
        </p:nvSpPr>
        <p:spPr>
          <a:xfrm>
            <a:off x="1559768" y="4405351"/>
            <a:ext cx="687705" cy="297261"/>
          </a:xfrm>
          <a:prstGeom prst="rect">
            <a:avLst/>
          </a:prstGeom>
        </p:spPr>
        <p:txBody>
          <a:bodyPr vert="horz" wrap="square" lIns="0" tIns="12700" rIns="0" bIns="0" rtlCol="0">
            <a:spAutoFit/>
          </a:bodyPr>
          <a:lstStyle/>
          <a:p>
            <a:pPr marL="12699">
              <a:spcBef>
                <a:spcPts val="100"/>
              </a:spcBef>
            </a:pPr>
            <a:r>
              <a:rPr sz="600" spc="-20" dirty="0">
                <a:solidFill>
                  <a:srgbClr val="231F20"/>
                </a:solidFill>
                <a:latin typeface="Neue Frutiger World" panose="020B0603040304020203" pitchFamily="34" charset="0"/>
                <a:cs typeface="Neue Frutiger World" panose="020B0603040304020203" pitchFamily="34" charset="0"/>
              </a:rPr>
              <a:t>n=123</a:t>
            </a:r>
            <a:endParaRPr sz="600" dirty="0">
              <a:latin typeface="Neue Frutiger World" panose="020B0603040304020203" pitchFamily="34" charset="0"/>
              <a:cs typeface="Neue Frutiger World" panose="020B0603040304020203" pitchFamily="34" charset="0"/>
            </a:endParaRPr>
          </a:p>
          <a:p>
            <a:pPr marL="12699" marR="5079">
              <a:lnSpc>
                <a:spcPct val="104200"/>
              </a:lnSpc>
            </a:pPr>
            <a:r>
              <a:rPr sz="600" spc="5" dirty="0">
                <a:solidFill>
                  <a:srgbClr val="231F20"/>
                </a:solidFill>
                <a:latin typeface="Neue Frutiger World" panose="020B0603040304020203" pitchFamily="34" charset="0"/>
                <a:cs typeface="Neue Frutiger World" panose="020B0603040304020203" pitchFamily="34" charset="0"/>
              </a:rPr>
              <a:t>Cardiac, </a:t>
            </a:r>
            <a:r>
              <a:rPr sz="600" spc="10" dirty="0">
                <a:solidFill>
                  <a:srgbClr val="231F20"/>
                </a:solidFill>
                <a:latin typeface="Neue Frutiger World" panose="020B0603040304020203" pitchFamily="34" charset="0"/>
                <a:cs typeface="Neue Frutiger World" panose="020B0603040304020203" pitchFamily="34" charset="0"/>
              </a:rPr>
              <a:t>device</a:t>
            </a:r>
            <a:r>
              <a:rPr lang="en-GB" sz="600" spc="1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infection</a:t>
            </a:r>
            <a:r>
              <a:rPr sz="600" spc="-4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patients</a:t>
            </a:r>
            <a:endParaRPr sz="600" dirty="0">
              <a:latin typeface="Neue Frutiger World" panose="020B0603040304020203" pitchFamily="34" charset="0"/>
              <a:cs typeface="Neue Frutiger World" panose="020B0603040304020203" pitchFamily="34" charset="0"/>
            </a:endParaRPr>
          </a:p>
        </p:txBody>
      </p:sp>
      <p:grpSp>
        <p:nvGrpSpPr>
          <p:cNvPr id="11" name="object 6">
            <a:extLst>
              <a:ext uri="{FF2B5EF4-FFF2-40B4-BE49-F238E27FC236}">
                <a16:creationId xmlns:a16="http://schemas.microsoft.com/office/drawing/2014/main" id="{C691C4AA-84D6-41FC-A6D5-ED8EBCD1C494}"/>
              </a:ext>
            </a:extLst>
          </p:cNvPr>
          <p:cNvGrpSpPr/>
          <p:nvPr/>
        </p:nvGrpSpPr>
        <p:grpSpPr>
          <a:xfrm>
            <a:off x="1572464" y="3600446"/>
            <a:ext cx="802640" cy="428625"/>
            <a:chOff x="350215" y="5475478"/>
            <a:chExt cx="802640" cy="428625"/>
          </a:xfrm>
        </p:grpSpPr>
        <p:sp>
          <p:nvSpPr>
            <p:cNvPr id="12" name="object 7">
              <a:extLst>
                <a:ext uri="{FF2B5EF4-FFF2-40B4-BE49-F238E27FC236}">
                  <a16:creationId xmlns:a16="http://schemas.microsoft.com/office/drawing/2014/main" id="{3EA1B64B-D505-4961-8FBC-298380203D48}"/>
                </a:ext>
              </a:extLst>
            </p:cNvPr>
            <p:cNvSpPr/>
            <p:nvPr/>
          </p:nvSpPr>
          <p:spPr>
            <a:xfrm>
              <a:off x="765098" y="5475478"/>
              <a:ext cx="387350" cy="428625"/>
            </a:xfrm>
            <a:custGeom>
              <a:avLst/>
              <a:gdLst/>
              <a:ahLst/>
              <a:cxnLst/>
              <a:rect l="l" t="t" r="r" b="b"/>
              <a:pathLst>
                <a:path w="387350" h="428625">
                  <a:moveTo>
                    <a:pt x="387222" y="0"/>
                  </a:moveTo>
                  <a:lnTo>
                    <a:pt x="0" y="0"/>
                  </a:lnTo>
                  <a:lnTo>
                    <a:pt x="0" y="428625"/>
                  </a:lnTo>
                  <a:lnTo>
                    <a:pt x="387222" y="428625"/>
                  </a:lnTo>
                  <a:lnTo>
                    <a:pt x="387222" y="0"/>
                  </a:lnTo>
                  <a:close/>
                </a:path>
              </a:pathLst>
            </a:custGeom>
            <a:solidFill>
              <a:srgbClr val="00629F"/>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3" name="object 8">
              <a:extLst>
                <a:ext uri="{FF2B5EF4-FFF2-40B4-BE49-F238E27FC236}">
                  <a16:creationId xmlns:a16="http://schemas.microsoft.com/office/drawing/2014/main" id="{0FBE2FAA-A486-4DFF-BCE6-6051D715E696}"/>
                </a:ext>
              </a:extLst>
            </p:cNvPr>
            <p:cNvSpPr/>
            <p:nvPr/>
          </p:nvSpPr>
          <p:spPr>
            <a:xfrm>
              <a:off x="350215" y="5891530"/>
              <a:ext cx="387350" cy="12700"/>
            </a:xfrm>
            <a:custGeom>
              <a:avLst/>
              <a:gdLst/>
              <a:ahLst/>
              <a:cxnLst/>
              <a:rect l="l" t="t" r="r" b="b"/>
              <a:pathLst>
                <a:path w="387350" h="12700">
                  <a:moveTo>
                    <a:pt x="387223" y="0"/>
                  </a:moveTo>
                  <a:lnTo>
                    <a:pt x="0" y="0"/>
                  </a:lnTo>
                  <a:lnTo>
                    <a:pt x="0" y="12573"/>
                  </a:lnTo>
                  <a:lnTo>
                    <a:pt x="387223" y="12573"/>
                  </a:lnTo>
                  <a:lnTo>
                    <a:pt x="387223" y="0"/>
                  </a:lnTo>
                  <a:close/>
                </a:path>
              </a:pathLst>
            </a:custGeom>
            <a:solidFill>
              <a:srgbClr val="FFA40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sp>
        <p:nvSpPr>
          <p:cNvPr id="14" name="object 9">
            <a:extLst>
              <a:ext uri="{FF2B5EF4-FFF2-40B4-BE49-F238E27FC236}">
                <a16:creationId xmlns:a16="http://schemas.microsoft.com/office/drawing/2014/main" id="{64BFE551-A66B-40FB-8960-C64CC0F9C1D1}"/>
              </a:ext>
            </a:extLst>
          </p:cNvPr>
          <p:cNvSpPr txBox="1"/>
          <p:nvPr/>
        </p:nvSpPr>
        <p:spPr>
          <a:xfrm>
            <a:off x="2889646" y="3386070"/>
            <a:ext cx="369570" cy="212879"/>
          </a:xfrm>
          <a:prstGeom prst="rect">
            <a:avLst/>
          </a:prstGeom>
        </p:spPr>
        <p:txBody>
          <a:bodyPr vert="horz" wrap="square" lIns="0" tIns="12700" rIns="0" bIns="0" rtlCol="0">
            <a:spAutoFit/>
          </a:bodyPr>
          <a:lstStyle/>
          <a:p>
            <a:pPr marL="12699">
              <a:spcBef>
                <a:spcPts val="100"/>
              </a:spcBef>
            </a:pPr>
            <a:r>
              <a:rPr sz="1300" spc="10" dirty="0">
                <a:solidFill>
                  <a:srgbClr val="00629F"/>
                </a:solidFill>
                <a:latin typeface="Neue Frutiger World" panose="020B0603040304020203" pitchFamily="34" charset="0"/>
                <a:cs typeface="Neue Frutiger World" panose="020B0603040304020203" pitchFamily="34" charset="0"/>
              </a:rPr>
              <a:t>50%</a:t>
            </a:r>
            <a:endParaRPr sz="1300" dirty="0">
              <a:latin typeface="Neue Frutiger World" panose="020B0603040304020203" pitchFamily="34" charset="0"/>
              <a:cs typeface="Neue Frutiger World" panose="020B0603040304020203" pitchFamily="34" charset="0"/>
            </a:endParaRPr>
          </a:p>
        </p:txBody>
      </p:sp>
      <p:sp>
        <p:nvSpPr>
          <p:cNvPr id="15" name="object 10">
            <a:extLst>
              <a:ext uri="{FF2B5EF4-FFF2-40B4-BE49-F238E27FC236}">
                <a16:creationId xmlns:a16="http://schemas.microsoft.com/office/drawing/2014/main" id="{67C8E5B9-F681-4C61-9255-2EF249285B65}"/>
              </a:ext>
            </a:extLst>
          </p:cNvPr>
          <p:cNvSpPr txBox="1"/>
          <p:nvPr/>
        </p:nvSpPr>
        <p:spPr>
          <a:xfrm>
            <a:off x="2469232" y="3851327"/>
            <a:ext cx="372110" cy="197490"/>
          </a:xfrm>
          <a:prstGeom prst="rect">
            <a:avLst/>
          </a:prstGeom>
        </p:spPr>
        <p:txBody>
          <a:bodyPr vert="horz" wrap="square" lIns="0" tIns="12700" rIns="0" bIns="0" rtlCol="0">
            <a:spAutoFit/>
          </a:bodyPr>
          <a:lstStyle/>
          <a:p>
            <a:pPr marL="12699">
              <a:spcBef>
                <a:spcPts val="100"/>
              </a:spcBef>
            </a:pPr>
            <a:r>
              <a:rPr sz="1200" spc="10" dirty="0">
                <a:solidFill>
                  <a:srgbClr val="FFA40D"/>
                </a:solidFill>
                <a:latin typeface="Neue Frutiger World" panose="020B0603040304020203" pitchFamily="34" charset="0"/>
                <a:cs typeface="Neue Frutiger World" panose="020B0603040304020203" pitchFamily="34" charset="0"/>
              </a:rPr>
              <a:t>1</a:t>
            </a:r>
            <a:r>
              <a:rPr sz="1200" spc="-15" dirty="0">
                <a:solidFill>
                  <a:srgbClr val="FFA40D"/>
                </a:solidFill>
                <a:latin typeface="Neue Frutiger World" panose="020B0603040304020203" pitchFamily="34" charset="0"/>
                <a:cs typeface="Neue Frutiger World" panose="020B0603040304020203" pitchFamily="34" charset="0"/>
              </a:rPr>
              <a:t>.</a:t>
            </a:r>
            <a:r>
              <a:rPr sz="1200" spc="10" dirty="0">
                <a:solidFill>
                  <a:srgbClr val="FFA40D"/>
                </a:solidFill>
                <a:latin typeface="Neue Frutiger World" panose="020B0603040304020203" pitchFamily="34" charset="0"/>
                <a:cs typeface="Neue Frutiger World" panose="020B0603040304020203" pitchFamily="34" charset="0"/>
              </a:rPr>
              <a:t>0</a:t>
            </a:r>
            <a:r>
              <a:rPr sz="1200" spc="25" dirty="0">
                <a:solidFill>
                  <a:srgbClr val="FFA40D"/>
                </a:solidFill>
                <a:latin typeface="Neue Frutiger World" panose="020B0603040304020203" pitchFamily="34" charset="0"/>
                <a:cs typeface="Neue Frutiger World" panose="020B0603040304020203" pitchFamily="34" charset="0"/>
              </a:rPr>
              <a:t>%</a:t>
            </a:r>
            <a:endParaRPr sz="1200" dirty="0">
              <a:latin typeface="Neue Frutiger World" panose="020B0603040304020203" pitchFamily="34" charset="0"/>
              <a:cs typeface="Neue Frutiger World" panose="020B0603040304020203" pitchFamily="34" charset="0"/>
            </a:endParaRPr>
          </a:p>
        </p:txBody>
      </p:sp>
      <p:sp>
        <p:nvSpPr>
          <p:cNvPr id="16" name="object 11">
            <a:extLst>
              <a:ext uri="{FF2B5EF4-FFF2-40B4-BE49-F238E27FC236}">
                <a16:creationId xmlns:a16="http://schemas.microsoft.com/office/drawing/2014/main" id="{005E6C24-44DF-4DE8-94E8-EB2BEA4C2F34}"/>
              </a:ext>
            </a:extLst>
          </p:cNvPr>
          <p:cNvSpPr txBox="1"/>
          <p:nvPr/>
        </p:nvSpPr>
        <p:spPr>
          <a:xfrm>
            <a:off x="2448979" y="4119597"/>
            <a:ext cx="528955" cy="201081"/>
          </a:xfrm>
          <a:prstGeom prst="rect">
            <a:avLst/>
          </a:prstGeom>
        </p:spPr>
        <p:txBody>
          <a:bodyPr vert="horz" wrap="square" lIns="0" tIns="8890" rIns="0" bIns="0" rtlCol="0">
            <a:spAutoFit/>
          </a:bodyPr>
          <a:lstStyle/>
          <a:p>
            <a:pPr marL="12699" marR="5079">
              <a:lnSpc>
                <a:spcPct val="104200"/>
              </a:lnSpc>
              <a:spcBef>
                <a:spcPts val="70"/>
              </a:spcBef>
            </a:pPr>
            <a:r>
              <a:rPr sz="600" spc="10" dirty="0">
                <a:solidFill>
                  <a:srgbClr val="231F20"/>
                </a:solidFill>
                <a:latin typeface="Neue Frutiger World" panose="020B0603040304020203" pitchFamily="34" charset="0"/>
                <a:cs typeface="Neue Frutiger World" panose="020B0603040304020203" pitchFamily="34" charset="0"/>
              </a:rPr>
              <a:t>Klug,</a:t>
            </a:r>
            <a:r>
              <a:rPr sz="600" spc="-20" dirty="0">
                <a:solidFill>
                  <a:srgbClr val="231F20"/>
                </a:solidFill>
                <a:latin typeface="Neue Frutiger World" panose="020B0603040304020203" pitchFamily="34" charset="0"/>
                <a:cs typeface="Neue Frutiger World" panose="020B0603040304020203" pitchFamily="34" charset="0"/>
              </a:rPr>
              <a:t> </a:t>
            </a:r>
            <a:r>
              <a:rPr sz="600" dirty="0">
                <a:solidFill>
                  <a:srgbClr val="231F20"/>
                </a:solidFill>
                <a:latin typeface="Neue Frutiger World" panose="020B0603040304020203" pitchFamily="34" charset="0"/>
                <a:cs typeface="Neue Frutiger World" panose="020B0603040304020203" pitchFamily="34" charset="0"/>
              </a:rPr>
              <a:t>D.,</a:t>
            </a:r>
            <a:r>
              <a:rPr sz="600" spc="-1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et</a:t>
            </a:r>
            <a:r>
              <a:rPr sz="600" spc="-2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al.</a:t>
            </a:r>
            <a:r>
              <a:rPr lang="en-GB" sz="600" spc="5" dirty="0">
                <a:solidFill>
                  <a:srgbClr val="231F20"/>
                </a:solidFill>
                <a:latin typeface="Neue Frutiger World" panose="020B0603040304020203" pitchFamily="34" charset="0"/>
                <a:cs typeface="Neue Frutiger World" panose="020B0603040304020203" pitchFamily="34" charset="0"/>
              </a:rPr>
              <a:t> </a:t>
            </a:r>
            <a:r>
              <a:rPr sz="600" spc="10" dirty="0">
                <a:solidFill>
                  <a:srgbClr val="231F20"/>
                </a:solidFill>
                <a:latin typeface="Neue Frutiger World" panose="020B0603040304020203" pitchFamily="34" charset="0"/>
                <a:cs typeface="Neue Frutiger World" panose="020B0603040304020203" pitchFamily="34" charset="0"/>
              </a:rPr>
              <a:t>(2004)</a:t>
            </a:r>
            <a:endParaRPr sz="600" dirty="0">
              <a:latin typeface="Neue Frutiger World" panose="020B0603040304020203" pitchFamily="34" charset="0"/>
              <a:cs typeface="Neue Frutiger World" panose="020B0603040304020203" pitchFamily="34" charset="0"/>
            </a:endParaRPr>
          </a:p>
        </p:txBody>
      </p:sp>
      <p:sp>
        <p:nvSpPr>
          <p:cNvPr id="17" name="object 12">
            <a:extLst>
              <a:ext uri="{FF2B5EF4-FFF2-40B4-BE49-F238E27FC236}">
                <a16:creationId xmlns:a16="http://schemas.microsoft.com/office/drawing/2014/main" id="{2DCCF3F2-FC18-4146-9057-A25153BED6F1}"/>
              </a:ext>
            </a:extLst>
          </p:cNvPr>
          <p:cNvSpPr txBox="1"/>
          <p:nvPr/>
        </p:nvSpPr>
        <p:spPr>
          <a:xfrm>
            <a:off x="2448974" y="4405348"/>
            <a:ext cx="718820" cy="389658"/>
          </a:xfrm>
          <a:prstGeom prst="rect">
            <a:avLst/>
          </a:prstGeom>
        </p:spPr>
        <p:txBody>
          <a:bodyPr vert="horz" wrap="square" lIns="0" tIns="12700" rIns="0" bIns="0" rtlCol="0">
            <a:spAutoFit/>
          </a:bodyPr>
          <a:lstStyle/>
          <a:p>
            <a:pPr marL="12699">
              <a:spcBef>
                <a:spcPts val="100"/>
              </a:spcBef>
            </a:pPr>
            <a:r>
              <a:rPr sz="600" spc="-20" dirty="0">
                <a:solidFill>
                  <a:srgbClr val="231F20"/>
                </a:solidFill>
                <a:latin typeface="Neue Frutiger World" panose="020B0603040304020203" pitchFamily="34" charset="0"/>
                <a:cs typeface="Neue Frutiger World" panose="020B0603040304020203" pitchFamily="34" charset="0"/>
              </a:rPr>
              <a:t>n=105</a:t>
            </a:r>
            <a:endParaRPr sz="600" dirty="0">
              <a:latin typeface="Neue Frutiger World" panose="020B0603040304020203" pitchFamily="34" charset="0"/>
              <a:cs typeface="Neue Frutiger World" panose="020B0603040304020203" pitchFamily="34" charset="0"/>
            </a:endParaRPr>
          </a:p>
          <a:p>
            <a:pPr marL="12699" marR="5079">
              <a:lnSpc>
                <a:spcPct val="104200"/>
              </a:lnSpc>
            </a:pPr>
            <a:r>
              <a:rPr sz="600" spc="5" dirty="0">
                <a:solidFill>
                  <a:srgbClr val="231F20"/>
                </a:solidFill>
                <a:latin typeface="Neue Frutiger World" panose="020B0603040304020203" pitchFamily="34" charset="0"/>
                <a:cs typeface="Neue Frutiger World" panose="020B0603040304020203" pitchFamily="34" charset="0"/>
              </a:rPr>
              <a:t>Patients</a:t>
            </a:r>
            <a:r>
              <a:rPr sz="600" spc="-2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with</a:t>
            </a:r>
            <a:r>
              <a:rPr sz="600" spc="-2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local</a:t>
            </a:r>
            <a:r>
              <a:rPr lang="en-GB" sz="600" spc="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pocket </a:t>
            </a:r>
            <a:r>
              <a:rPr sz="600" spc="5" dirty="0" err="1">
                <a:solidFill>
                  <a:srgbClr val="231F20"/>
                </a:solidFill>
                <a:latin typeface="Neue Frutiger World" panose="020B0603040304020203" pitchFamily="34" charset="0"/>
                <a:cs typeface="Neue Frutiger World" panose="020B0603040304020203" pitchFamily="34" charset="0"/>
              </a:rPr>
              <a:t>symptons</a:t>
            </a:r>
            <a:r>
              <a:rPr lang="en-GB" sz="600" spc="5" dirty="0">
                <a:solidFill>
                  <a:srgbClr val="231F20"/>
                </a:solidFill>
                <a:latin typeface="Neue Frutiger World" panose="020B0603040304020203" pitchFamily="34" charset="0"/>
                <a:cs typeface="Neue Frutiger World" panose="020B0603040304020203" pitchFamily="34" charset="0"/>
              </a:rPr>
              <a:t> </a:t>
            </a:r>
            <a:r>
              <a:rPr sz="600" dirty="0">
                <a:solidFill>
                  <a:srgbClr val="231F20"/>
                </a:solidFill>
                <a:latin typeface="Neue Frutiger World" panose="020B0603040304020203" pitchFamily="34" charset="0"/>
                <a:cs typeface="Neue Frutiger World" panose="020B0603040304020203" pitchFamily="34" charset="0"/>
              </a:rPr>
              <a:t>or</a:t>
            </a:r>
            <a:r>
              <a:rPr sz="600" spc="-10" dirty="0">
                <a:solidFill>
                  <a:srgbClr val="231F20"/>
                </a:solidFill>
                <a:latin typeface="Neue Frutiger World" panose="020B0603040304020203" pitchFamily="34" charset="0"/>
                <a:cs typeface="Neue Frutiger World" panose="020B0603040304020203" pitchFamily="34" charset="0"/>
              </a:rPr>
              <a:t> </a:t>
            </a:r>
            <a:r>
              <a:rPr sz="600" dirty="0">
                <a:solidFill>
                  <a:srgbClr val="231F20"/>
                </a:solidFill>
                <a:latin typeface="Neue Frutiger World" panose="020B0603040304020203" pitchFamily="34" charset="0"/>
                <a:cs typeface="Neue Frutiger World" panose="020B0603040304020203" pitchFamily="34" charset="0"/>
              </a:rPr>
              <a:t>overt</a:t>
            </a:r>
            <a:r>
              <a:rPr sz="600" spc="-1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infections</a:t>
            </a:r>
            <a:endParaRPr sz="600" dirty="0">
              <a:latin typeface="Neue Frutiger World" panose="020B0603040304020203" pitchFamily="34" charset="0"/>
              <a:cs typeface="Neue Frutiger World" panose="020B0603040304020203" pitchFamily="34" charset="0"/>
            </a:endParaRPr>
          </a:p>
        </p:txBody>
      </p:sp>
      <p:grpSp>
        <p:nvGrpSpPr>
          <p:cNvPr id="18" name="object 13">
            <a:extLst>
              <a:ext uri="{FF2B5EF4-FFF2-40B4-BE49-F238E27FC236}">
                <a16:creationId xmlns:a16="http://schemas.microsoft.com/office/drawing/2014/main" id="{760E4112-BD11-476A-8C33-DA3A4399244A}"/>
              </a:ext>
            </a:extLst>
          </p:cNvPr>
          <p:cNvGrpSpPr/>
          <p:nvPr/>
        </p:nvGrpSpPr>
        <p:grpSpPr>
          <a:xfrm>
            <a:off x="2461668" y="3600446"/>
            <a:ext cx="802640" cy="428625"/>
            <a:chOff x="1239418" y="5475478"/>
            <a:chExt cx="802640" cy="428625"/>
          </a:xfrm>
        </p:grpSpPr>
        <p:sp>
          <p:nvSpPr>
            <p:cNvPr id="19" name="object 14">
              <a:extLst>
                <a:ext uri="{FF2B5EF4-FFF2-40B4-BE49-F238E27FC236}">
                  <a16:creationId xmlns:a16="http://schemas.microsoft.com/office/drawing/2014/main" id="{F7D1916B-B943-4AF6-ABE0-67C324295619}"/>
                </a:ext>
              </a:extLst>
            </p:cNvPr>
            <p:cNvSpPr/>
            <p:nvPr/>
          </p:nvSpPr>
          <p:spPr>
            <a:xfrm>
              <a:off x="1654302" y="5475478"/>
              <a:ext cx="387350" cy="428625"/>
            </a:xfrm>
            <a:custGeom>
              <a:avLst/>
              <a:gdLst/>
              <a:ahLst/>
              <a:cxnLst/>
              <a:rect l="l" t="t" r="r" b="b"/>
              <a:pathLst>
                <a:path w="387350" h="428625">
                  <a:moveTo>
                    <a:pt x="387223" y="0"/>
                  </a:moveTo>
                  <a:lnTo>
                    <a:pt x="0" y="0"/>
                  </a:lnTo>
                  <a:lnTo>
                    <a:pt x="0" y="428625"/>
                  </a:lnTo>
                  <a:lnTo>
                    <a:pt x="387223" y="428625"/>
                  </a:lnTo>
                  <a:lnTo>
                    <a:pt x="387223" y="0"/>
                  </a:lnTo>
                  <a:close/>
                </a:path>
              </a:pathLst>
            </a:custGeom>
            <a:solidFill>
              <a:srgbClr val="00629F"/>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20" name="object 15">
              <a:extLst>
                <a:ext uri="{FF2B5EF4-FFF2-40B4-BE49-F238E27FC236}">
                  <a16:creationId xmlns:a16="http://schemas.microsoft.com/office/drawing/2014/main" id="{7080E74E-480A-4F8A-A9F4-5C99134900C5}"/>
                </a:ext>
              </a:extLst>
            </p:cNvPr>
            <p:cNvSpPr/>
            <p:nvPr/>
          </p:nvSpPr>
          <p:spPr>
            <a:xfrm>
              <a:off x="1239418" y="5891530"/>
              <a:ext cx="387350" cy="12700"/>
            </a:xfrm>
            <a:custGeom>
              <a:avLst/>
              <a:gdLst/>
              <a:ahLst/>
              <a:cxnLst/>
              <a:rect l="l" t="t" r="r" b="b"/>
              <a:pathLst>
                <a:path w="387350" h="12700">
                  <a:moveTo>
                    <a:pt x="387222" y="0"/>
                  </a:moveTo>
                  <a:lnTo>
                    <a:pt x="0" y="0"/>
                  </a:lnTo>
                  <a:lnTo>
                    <a:pt x="0" y="12573"/>
                  </a:lnTo>
                  <a:lnTo>
                    <a:pt x="387222" y="12573"/>
                  </a:lnTo>
                  <a:lnTo>
                    <a:pt x="387222" y="0"/>
                  </a:lnTo>
                  <a:close/>
                </a:path>
              </a:pathLst>
            </a:custGeom>
            <a:solidFill>
              <a:srgbClr val="FFA40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sp>
        <p:nvSpPr>
          <p:cNvPr id="21" name="object 16">
            <a:extLst>
              <a:ext uri="{FF2B5EF4-FFF2-40B4-BE49-F238E27FC236}">
                <a16:creationId xmlns:a16="http://schemas.microsoft.com/office/drawing/2014/main" id="{D9151990-7FEC-4700-98C1-49BFADB570BB}"/>
              </a:ext>
            </a:extLst>
          </p:cNvPr>
          <p:cNvSpPr txBox="1"/>
          <p:nvPr/>
        </p:nvSpPr>
        <p:spPr>
          <a:xfrm>
            <a:off x="3769861" y="3309870"/>
            <a:ext cx="379095" cy="212879"/>
          </a:xfrm>
          <a:prstGeom prst="rect">
            <a:avLst/>
          </a:prstGeom>
        </p:spPr>
        <p:txBody>
          <a:bodyPr vert="horz" wrap="square" lIns="0" tIns="12700" rIns="0" bIns="0" rtlCol="0">
            <a:spAutoFit/>
          </a:bodyPr>
          <a:lstStyle/>
          <a:p>
            <a:pPr marL="12699">
              <a:spcBef>
                <a:spcPts val="100"/>
              </a:spcBef>
            </a:pPr>
            <a:r>
              <a:rPr sz="1300" dirty="0">
                <a:solidFill>
                  <a:srgbClr val="00629F"/>
                </a:solidFill>
                <a:latin typeface="Neue Frutiger World" panose="020B0603040304020203" pitchFamily="34" charset="0"/>
                <a:cs typeface="Neue Frutiger World" panose="020B0603040304020203" pitchFamily="34" charset="0"/>
              </a:rPr>
              <a:t>6</a:t>
            </a:r>
            <a:r>
              <a:rPr sz="1300" spc="10" dirty="0">
                <a:solidFill>
                  <a:srgbClr val="00629F"/>
                </a:solidFill>
                <a:latin typeface="Neue Frutiger World" panose="020B0603040304020203" pitchFamily="34" charset="0"/>
                <a:cs typeface="Neue Frutiger World" panose="020B0603040304020203" pitchFamily="34" charset="0"/>
              </a:rPr>
              <a:t>0</a:t>
            </a:r>
            <a:r>
              <a:rPr sz="1300" spc="25" dirty="0">
                <a:solidFill>
                  <a:srgbClr val="00629F"/>
                </a:solidFill>
                <a:latin typeface="Neue Frutiger World" panose="020B0603040304020203" pitchFamily="34" charset="0"/>
                <a:cs typeface="Neue Frutiger World" panose="020B0603040304020203" pitchFamily="34" charset="0"/>
              </a:rPr>
              <a:t>%</a:t>
            </a:r>
            <a:endParaRPr sz="1300" dirty="0">
              <a:latin typeface="Neue Frutiger World" panose="020B0603040304020203" pitchFamily="34" charset="0"/>
              <a:cs typeface="Neue Frutiger World" panose="020B0603040304020203" pitchFamily="34" charset="0"/>
            </a:endParaRPr>
          </a:p>
        </p:txBody>
      </p:sp>
      <p:sp>
        <p:nvSpPr>
          <p:cNvPr id="22" name="object 17">
            <a:extLst>
              <a:ext uri="{FF2B5EF4-FFF2-40B4-BE49-F238E27FC236}">
                <a16:creationId xmlns:a16="http://schemas.microsoft.com/office/drawing/2014/main" id="{A4D72438-F758-48BF-9C52-2074A9E674C2}"/>
              </a:ext>
            </a:extLst>
          </p:cNvPr>
          <p:cNvSpPr txBox="1"/>
          <p:nvPr/>
        </p:nvSpPr>
        <p:spPr>
          <a:xfrm>
            <a:off x="3315256" y="3851323"/>
            <a:ext cx="387350" cy="182101"/>
          </a:xfrm>
          <a:prstGeom prst="rect">
            <a:avLst/>
          </a:prstGeom>
        </p:spPr>
        <p:txBody>
          <a:bodyPr vert="horz" wrap="square" lIns="0" tIns="12700" rIns="0" bIns="0" rtlCol="0">
            <a:spAutoFit/>
          </a:bodyPr>
          <a:lstStyle/>
          <a:p>
            <a:pPr marL="12699">
              <a:spcBef>
                <a:spcPts val="100"/>
              </a:spcBef>
            </a:pPr>
            <a:r>
              <a:rPr sz="1100" spc="10" dirty="0">
                <a:solidFill>
                  <a:srgbClr val="FFA40D"/>
                </a:solidFill>
                <a:latin typeface="Neue Frutiger World" panose="020B0603040304020203" pitchFamily="34" charset="0"/>
                <a:cs typeface="Neue Frutiger World" panose="020B0603040304020203" pitchFamily="34" charset="0"/>
              </a:rPr>
              <a:t>1</a:t>
            </a:r>
            <a:r>
              <a:rPr sz="1100" spc="-55" dirty="0">
                <a:solidFill>
                  <a:srgbClr val="FFA40D"/>
                </a:solidFill>
                <a:latin typeface="Neue Frutiger World" panose="020B0603040304020203" pitchFamily="34" charset="0"/>
                <a:cs typeface="Neue Frutiger World" panose="020B0603040304020203" pitchFamily="34" charset="0"/>
              </a:rPr>
              <a:t>.</a:t>
            </a:r>
            <a:r>
              <a:rPr sz="1100" dirty="0">
                <a:solidFill>
                  <a:srgbClr val="FFA40D"/>
                </a:solidFill>
                <a:latin typeface="Neue Frutiger World" panose="020B0603040304020203" pitchFamily="34" charset="0"/>
                <a:cs typeface="Neue Frutiger World" panose="020B0603040304020203" pitchFamily="34" charset="0"/>
              </a:rPr>
              <a:t>1</a:t>
            </a:r>
            <a:r>
              <a:rPr sz="1100" spc="25" dirty="0">
                <a:solidFill>
                  <a:srgbClr val="FFA40D"/>
                </a:solidFill>
                <a:latin typeface="Neue Frutiger World" panose="020B0603040304020203" pitchFamily="34" charset="0"/>
                <a:cs typeface="Neue Frutiger World" panose="020B0603040304020203" pitchFamily="34" charset="0"/>
              </a:rPr>
              <a:t>%</a:t>
            </a:r>
            <a:endParaRPr sz="1100" dirty="0">
              <a:latin typeface="Neue Frutiger World" panose="020B0603040304020203" pitchFamily="34" charset="0"/>
              <a:cs typeface="Neue Frutiger World" panose="020B0603040304020203" pitchFamily="34" charset="0"/>
            </a:endParaRPr>
          </a:p>
        </p:txBody>
      </p:sp>
      <p:sp>
        <p:nvSpPr>
          <p:cNvPr id="23" name="object 18">
            <a:extLst>
              <a:ext uri="{FF2B5EF4-FFF2-40B4-BE49-F238E27FC236}">
                <a16:creationId xmlns:a16="http://schemas.microsoft.com/office/drawing/2014/main" id="{307E9F16-0B7F-44C5-B480-67ED3628E299}"/>
              </a:ext>
            </a:extLst>
          </p:cNvPr>
          <p:cNvSpPr txBox="1"/>
          <p:nvPr/>
        </p:nvSpPr>
        <p:spPr>
          <a:xfrm>
            <a:off x="3338190" y="4119597"/>
            <a:ext cx="685165" cy="201081"/>
          </a:xfrm>
          <a:prstGeom prst="rect">
            <a:avLst/>
          </a:prstGeom>
        </p:spPr>
        <p:txBody>
          <a:bodyPr vert="horz" wrap="square" lIns="0" tIns="8890" rIns="0" bIns="0" rtlCol="0">
            <a:spAutoFit/>
          </a:bodyPr>
          <a:lstStyle/>
          <a:p>
            <a:pPr marL="12699" marR="5079">
              <a:lnSpc>
                <a:spcPct val="104200"/>
              </a:lnSpc>
              <a:spcBef>
                <a:spcPts val="70"/>
              </a:spcBef>
            </a:pPr>
            <a:r>
              <a:rPr sz="600" spc="10" dirty="0">
                <a:solidFill>
                  <a:srgbClr val="231F20"/>
                </a:solidFill>
                <a:latin typeface="Neue Frutiger World" panose="020B0603040304020203" pitchFamily="34" charset="0"/>
                <a:cs typeface="Neue Frutiger World" panose="020B0603040304020203" pitchFamily="34" charset="0"/>
              </a:rPr>
              <a:t>Sohail,</a:t>
            </a:r>
            <a:r>
              <a:rPr sz="600" spc="-25" dirty="0">
                <a:solidFill>
                  <a:srgbClr val="231F20"/>
                </a:solidFill>
                <a:latin typeface="Neue Frutiger World" panose="020B0603040304020203" pitchFamily="34" charset="0"/>
                <a:cs typeface="Neue Frutiger World" panose="020B0603040304020203" pitchFamily="34" charset="0"/>
              </a:rPr>
              <a:t> </a:t>
            </a:r>
            <a:r>
              <a:rPr sz="600" spc="10" dirty="0">
                <a:solidFill>
                  <a:srgbClr val="231F20"/>
                </a:solidFill>
                <a:latin typeface="Neue Frutiger World" panose="020B0603040304020203" pitchFamily="34" charset="0"/>
                <a:cs typeface="Neue Frutiger World" panose="020B0603040304020203" pitchFamily="34" charset="0"/>
              </a:rPr>
              <a:t>M.R.,</a:t>
            </a:r>
            <a:r>
              <a:rPr sz="600" spc="-2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et</a:t>
            </a:r>
            <a:r>
              <a:rPr sz="600" spc="-2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al.</a:t>
            </a:r>
            <a:r>
              <a:rPr lang="en-GB" sz="600" spc="5" dirty="0">
                <a:solidFill>
                  <a:srgbClr val="231F20"/>
                </a:solidFill>
                <a:latin typeface="Neue Frutiger World" panose="020B0603040304020203" pitchFamily="34" charset="0"/>
                <a:cs typeface="Neue Frutiger World" panose="020B0603040304020203" pitchFamily="34" charset="0"/>
              </a:rPr>
              <a:t> </a:t>
            </a:r>
            <a:r>
              <a:rPr sz="600" spc="10" dirty="0">
                <a:solidFill>
                  <a:srgbClr val="231F20"/>
                </a:solidFill>
                <a:latin typeface="Neue Frutiger World" panose="020B0603040304020203" pitchFamily="34" charset="0"/>
                <a:cs typeface="Neue Frutiger World" panose="020B0603040304020203" pitchFamily="34" charset="0"/>
              </a:rPr>
              <a:t>(2007)</a:t>
            </a:r>
            <a:endParaRPr sz="600" dirty="0">
              <a:latin typeface="Neue Frutiger World" panose="020B0603040304020203" pitchFamily="34" charset="0"/>
              <a:cs typeface="Neue Frutiger World" panose="020B0603040304020203" pitchFamily="34" charset="0"/>
            </a:endParaRPr>
          </a:p>
        </p:txBody>
      </p:sp>
      <p:sp>
        <p:nvSpPr>
          <p:cNvPr id="24" name="object 19">
            <a:extLst>
              <a:ext uri="{FF2B5EF4-FFF2-40B4-BE49-F238E27FC236}">
                <a16:creationId xmlns:a16="http://schemas.microsoft.com/office/drawing/2014/main" id="{0D88814B-A661-4B5B-8A17-5B3642687E50}"/>
              </a:ext>
            </a:extLst>
          </p:cNvPr>
          <p:cNvSpPr txBox="1"/>
          <p:nvPr/>
        </p:nvSpPr>
        <p:spPr>
          <a:xfrm>
            <a:off x="3338190" y="4405351"/>
            <a:ext cx="687705" cy="297261"/>
          </a:xfrm>
          <a:prstGeom prst="rect">
            <a:avLst/>
          </a:prstGeom>
        </p:spPr>
        <p:txBody>
          <a:bodyPr vert="horz" wrap="square" lIns="0" tIns="12700" rIns="0" bIns="0" rtlCol="0">
            <a:spAutoFit/>
          </a:bodyPr>
          <a:lstStyle/>
          <a:p>
            <a:pPr marL="12699">
              <a:spcBef>
                <a:spcPts val="100"/>
              </a:spcBef>
            </a:pPr>
            <a:r>
              <a:rPr sz="600" spc="-20" dirty="0">
                <a:solidFill>
                  <a:srgbClr val="231F20"/>
                </a:solidFill>
                <a:latin typeface="Neue Frutiger World" panose="020B0603040304020203" pitchFamily="34" charset="0"/>
                <a:cs typeface="Neue Frutiger World" panose="020B0603040304020203" pitchFamily="34" charset="0"/>
              </a:rPr>
              <a:t>n=185</a:t>
            </a:r>
            <a:endParaRPr sz="600" dirty="0">
              <a:latin typeface="Neue Frutiger World" panose="020B0603040304020203" pitchFamily="34" charset="0"/>
              <a:cs typeface="Neue Frutiger World" panose="020B0603040304020203" pitchFamily="34" charset="0"/>
            </a:endParaRPr>
          </a:p>
          <a:p>
            <a:pPr marL="12699" marR="5079">
              <a:lnSpc>
                <a:spcPct val="104200"/>
              </a:lnSpc>
            </a:pPr>
            <a:r>
              <a:rPr sz="600" spc="5" dirty="0">
                <a:solidFill>
                  <a:srgbClr val="231F20"/>
                </a:solidFill>
                <a:latin typeface="Neue Frutiger World" panose="020B0603040304020203" pitchFamily="34" charset="0"/>
                <a:cs typeface="Neue Frutiger World" panose="020B0603040304020203" pitchFamily="34" charset="0"/>
              </a:rPr>
              <a:t>Cardiac </a:t>
            </a:r>
            <a:r>
              <a:rPr sz="600" spc="10" dirty="0">
                <a:solidFill>
                  <a:srgbClr val="231F20"/>
                </a:solidFill>
                <a:latin typeface="Neue Frutiger World" panose="020B0603040304020203" pitchFamily="34" charset="0"/>
                <a:cs typeface="Neue Frutiger World" panose="020B0603040304020203" pitchFamily="34" charset="0"/>
              </a:rPr>
              <a:t>device</a:t>
            </a:r>
            <a:r>
              <a:rPr lang="en-GB" sz="600" spc="1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infection</a:t>
            </a:r>
            <a:r>
              <a:rPr sz="600" spc="-4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patients</a:t>
            </a:r>
            <a:endParaRPr sz="600" dirty="0">
              <a:latin typeface="Neue Frutiger World" panose="020B0603040304020203" pitchFamily="34" charset="0"/>
              <a:cs typeface="Neue Frutiger World" panose="020B0603040304020203" pitchFamily="34" charset="0"/>
            </a:endParaRPr>
          </a:p>
        </p:txBody>
      </p:sp>
      <p:grpSp>
        <p:nvGrpSpPr>
          <p:cNvPr id="25" name="object 20">
            <a:extLst>
              <a:ext uri="{FF2B5EF4-FFF2-40B4-BE49-F238E27FC236}">
                <a16:creationId xmlns:a16="http://schemas.microsoft.com/office/drawing/2014/main" id="{275DCA48-97B1-483D-AEA4-3F898FDEBECE}"/>
              </a:ext>
            </a:extLst>
          </p:cNvPr>
          <p:cNvGrpSpPr/>
          <p:nvPr/>
        </p:nvGrpSpPr>
        <p:grpSpPr>
          <a:xfrm>
            <a:off x="3350883" y="3531879"/>
            <a:ext cx="802640" cy="497205"/>
            <a:chOff x="2128634" y="5406910"/>
            <a:chExt cx="802640" cy="497205"/>
          </a:xfrm>
        </p:grpSpPr>
        <p:sp>
          <p:nvSpPr>
            <p:cNvPr id="26" name="object 21">
              <a:extLst>
                <a:ext uri="{FF2B5EF4-FFF2-40B4-BE49-F238E27FC236}">
                  <a16:creationId xmlns:a16="http://schemas.microsoft.com/office/drawing/2014/main" id="{8BB96613-AEF5-434A-85E0-20494AF552B4}"/>
                </a:ext>
              </a:extLst>
            </p:cNvPr>
            <p:cNvSpPr/>
            <p:nvPr/>
          </p:nvSpPr>
          <p:spPr>
            <a:xfrm>
              <a:off x="2543517" y="5406910"/>
              <a:ext cx="387350" cy="497205"/>
            </a:xfrm>
            <a:custGeom>
              <a:avLst/>
              <a:gdLst/>
              <a:ahLst/>
              <a:cxnLst/>
              <a:rect l="l" t="t" r="r" b="b"/>
              <a:pathLst>
                <a:path w="387350" h="497204">
                  <a:moveTo>
                    <a:pt x="387223" y="0"/>
                  </a:moveTo>
                  <a:lnTo>
                    <a:pt x="0" y="0"/>
                  </a:lnTo>
                  <a:lnTo>
                    <a:pt x="0" y="497192"/>
                  </a:lnTo>
                  <a:lnTo>
                    <a:pt x="387223" y="497192"/>
                  </a:lnTo>
                  <a:lnTo>
                    <a:pt x="387223" y="0"/>
                  </a:lnTo>
                  <a:close/>
                </a:path>
              </a:pathLst>
            </a:custGeom>
            <a:solidFill>
              <a:srgbClr val="00629F"/>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27" name="object 22">
              <a:extLst>
                <a:ext uri="{FF2B5EF4-FFF2-40B4-BE49-F238E27FC236}">
                  <a16:creationId xmlns:a16="http://schemas.microsoft.com/office/drawing/2014/main" id="{5A089CAF-9D52-40A9-8DDE-F0618AAE848B}"/>
                </a:ext>
              </a:extLst>
            </p:cNvPr>
            <p:cNvSpPr/>
            <p:nvPr/>
          </p:nvSpPr>
          <p:spPr>
            <a:xfrm>
              <a:off x="2128634" y="5886043"/>
              <a:ext cx="387350" cy="18415"/>
            </a:xfrm>
            <a:custGeom>
              <a:avLst/>
              <a:gdLst/>
              <a:ahLst/>
              <a:cxnLst/>
              <a:rect l="l" t="t" r="r" b="b"/>
              <a:pathLst>
                <a:path w="387350" h="18414">
                  <a:moveTo>
                    <a:pt x="387223" y="0"/>
                  </a:moveTo>
                  <a:lnTo>
                    <a:pt x="0" y="0"/>
                  </a:lnTo>
                  <a:lnTo>
                    <a:pt x="0" y="18059"/>
                  </a:lnTo>
                  <a:lnTo>
                    <a:pt x="387223" y="18059"/>
                  </a:lnTo>
                  <a:lnTo>
                    <a:pt x="387223" y="0"/>
                  </a:lnTo>
                  <a:close/>
                </a:path>
              </a:pathLst>
            </a:custGeom>
            <a:solidFill>
              <a:srgbClr val="FFA40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sp>
        <p:nvSpPr>
          <p:cNvPr id="28" name="object 23">
            <a:extLst>
              <a:ext uri="{FF2B5EF4-FFF2-40B4-BE49-F238E27FC236}">
                <a16:creationId xmlns:a16="http://schemas.microsoft.com/office/drawing/2014/main" id="{057CD4FD-76B5-4237-BEDD-919B0D47A3B3}"/>
              </a:ext>
            </a:extLst>
          </p:cNvPr>
          <p:cNvSpPr txBox="1"/>
          <p:nvPr/>
        </p:nvSpPr>
        <p:spPr>
          <a:xfrm>
            <a:off x="4673023" y="3284470"/>
            <a:ext cx="351155" cy="412934"/>
          </a:xfrm>
          <a:prstGeom prst="rect">
            <a:avLst/>
          </a:prstGeom>
        </p:spPr>
        <p:txBody>
          <a:bodyPr vert="horz" wrap="square" lIns="0" tIns="12700" rIns="0" bIns="0" rtlCol="0">
            <a:spAutoFit/>
          </a:bodyPr>
          <a:lstStyle/>
          <a:p>
            <a:pPr marL="12699">
              <a:spcBef>
                <a:spcPts val="100"/>
              </a:spcBef>
            </a:pPr>
            <a:r>
              <a:rPr sz="1300" spc="15" dirty="0">
                <a:solidFill>
                  <a:srgbClr val="00629F"/>
                </a:solidFill>
                <a:latin typeface="Neue Frutiger World" panose="020B0603040304020203" pitchFamily="34" charset="0"/>
                <a:cs typeface="Neue Frutiger World" panose="020B0603040304020203" pitchFamily="34" charset="0"/>
              </a:rPr>
              <a:t>67%</a:t>
            </a:r>
            <a:endParaRPr sz="1300" dirty="0">
              <a:latin typeface="Neue Frutiger World" panose="020B0603040304020203" pitchFamily="34" charset="0"/>
              <a:cs typeface="Neue Frutiger World" panose="020B0603040304020203" pitchFamily="34" charset="0"/>
            </a:endParaRPr>
          </a:p>
        </p:txBody>
      </p:sp>
      <p:sp>
        <p:nvSpPr>
          <p:cNvPr id="29" name="object 24">
            <a:extLst>
              <a:ext uri="{FF2B5EF4-FFF2-40B4-BE49-F238E27FC236}">
                <a16:creationId xmlns:a16="http://schemas.microsoft.com/office/drawing/2014/main" id="{13B7B261-8C86-420F-ABDE-EEF5360C7C80}"/>
              </a:ext>
            </a:extLst>
          </p:cNvPr>
          <p:cNvSpPr txBox="1"/>
          <p:nvPr/>
        </p:nvSpPr>
        <p:spPr>
          <a:xfrm>
            <a:off x="4297023" y="3810453"/>
            <a:ext cx="273685" cy="212879"/>
          </a:xfrm>
          <a:prstGeom prst="rect">
            <a:avLst/>
          </a:prstGeom>
        </p:spPr>
        <p:txBody>
          <a:bodyPr vert="horz" wrap="square" lIns="0" tIns="12700" rIns="0" bIns="0" rtlCol="0">
            <a:spAutoFit/>
          </a:bodyPr>
          <a:lstStyle/>
          <a:p>
            <a:pPr marL="12699">
              <a:spcBef>
                <a:spcPts val="100"/>
              </a:spcBef>
            </a:pPr>
            <a:r>
              <a:rPr sz="1300" spc="20" dirty="0">
                <a:solidFill>
                  <a:srgbClr val="FFA40D"/>
                </a:solidFill>
                <a:latin typeface="Neue Frutiger World" panose="020B0603040304020203" pitchFamily="34" charset="0"/>
                <a:cs typeface="Neue Frutiger World" panose="020B0603040304020203" pitchFamily="34" charset="0"/>
              </a:rPr>
              <a:t>0%</a:t>
            </a:r>
            <a:endParaRPr sz="1300" dirty="0">
              <a:latin typeface="Neue Frutiger World" panose="020B0603040304020203" pitchFamily="34" charset="0"/>
              <a:cs typeface="Neue Frutiger World" panose="020B0603040304020203" pitchFamily="34" charset="0"/>
            </a:endParaRPr>
          </a:p>
        </p:txBody>
      </p:sp>
      <p:sp>
        <p:nvSpPr>
          <p:cNvPr id="30" name="object 25">
            <a:extLst>
              <a:ext uri="{FF2B5EF4-FFF2-40B4-BE49-F238E27FC236}">
                <a16:creationId xmlns:a16="http://schemas.microsoft.com/office/drawing/2014/main" id="{0CB61184-7FDE-4FAF-AAAC-8025B93FA56D}"/>
              </a:ext>
            </a:extLst>
          </p:cNvPr>
          <p:cNvSpPr txBox="1"/>
          <p:nvPr/>
        </p:nvSpPr>
        <p:spPr>
          <a:xfrm>
            <a:off x="4227400" y="4119597"/>
            <a:ext cx="647065" cy="201081"/>
          </a:xfrm>
          <a:prstGeom prst="rect">
            <a:avLst/>
          </a:prstGeom>
        </p:spPr>
        <p:txBody>
          <a:bodyPr vert="horz" wrap="square" lIns="0" tIns="8890" rIns="0" bIns="0" rtlCol="0">
            <a:spAutoFit/>
          </a:bodyPr>
          <a:lstStyle/>
          <a:p>
            <a:pPr marL="12699" marR="5079">
              <a:lnSpc>
                <a:spcPct val="104200"/>
              </a:lnSpc>
              <a:spcBef>
                <a:spcPts val="70"/>
              </a:spcBef>
            </a:pPr>
            <a:r>
              <a:rPr sz="600" spc="5" dirty="0">
                <a:solidFill>
                  <a:srgbClr val="231F20"/>
                </a:solidFill>
                <a:latin typeface="Neue Frutiger World" panose="020B0603040304020203" pitchFamily="34" charset="0"/>
                <a:cs typeface="Neue Frutiger World" panose="020B0603040304020203" pitchFamily="34" charset="0"/>
              </a:rPr>
              <a:t>Margery,</a:t>
            </a:r>
            <a:r>
              <a:rPr sz="600" spc="-1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R.</a:t>
            </a:r>
            <a:r>
              <a:rPr sz="600" spc="-1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et</a:t>
            </a:r>
            <a:r>
              <a:rPr sz="600" spc="-1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al.</a:t>
            </a:r>
            <a:r>
              <a:rPr lang="en-GB" sz="600" spc="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2009)</a:t>
            </a:r>
            <a:endParaRPr sz="600" dirty="0">
              <a:latin typeface="Neue Frutiger World" panose="020B0603040304020203" pitchFamily="34" charset="0"/>
              <a:cs typeface="Neue Frutiger World" panose="020B0603040304020203" pitchFamily="34" charset="0"/>
            </a:endParaRPr>
          </a:p>
        </p:txBody>
      </p:sp>
      <p:sp>
        <p:nvSpPr>
          <p:cNvPr id="31" name="object 26">
            <a:extLst>
              <a:ext uri="{FF2B5EF4-FFF2-40B4-BE49-F238E27FC236}">
                <a16:creationId xmlns:a16="http://schemas.microsoft.com/office/drawing/2014/main" id="{3DB23C13-3777-44FF-995B-178F2087C277}"/>
              </a:ext>
            </a:extLst>
          </p:cNvPr>
          <p:cNvSpPr txBox="1"/>
          <p:nvPr/>
        </p:nvSpPr>
        <p:spPr>
          <a:xfrm>
            <a:off x="4227400" y="4405351"/>
            <a:ext cx="687705" cy="297261"/>
          </a:xfrm>
          <a:prstGeom prst="rect">
            <a:avLst/>
          </a:prstGeom>
        </p:spPr>
        <p:txBody>
          <a:bodyPr vert="horz" wrap="square" lIns="0" tIns="12700" rIns="0" bIns="0" rtlCol="0">
            <a:spAutoFit/>
          </a:bodyPr>
          <a:lstStyle/>
          <a:p>
            <a:pPr marL="12699">
              <a:spcBef>
                <a:spcPts val="100"/>
              </a:spcBef>
            </a:pPr>
            <a:r>
              <a:rPr sz="600" spc="-25" dirty="0">
                <a:solidFill>
                  <a:srgbClr val="231F20"/>
                </a:solidFill>
                <a:latin typeface="Neue Frutiger World" panose="020B0603040304020203" pitchFamily="34" charset="0"/>
                <a:cs typeface="Neue Frutiger World" panose="020B0603040304020203" pitchFamily="34" charset="0"/>
              </a:rPr>
              <a:t>n=39</a:t>
            </a:r>
            <a:endParaRPr sz="600" dirty="0">
              <a:latin typeface="Neue Frutiger World" panose="020B0603040304020203" pitchFamily="34" charset="0"/>
              <a:cs typeface="Neue Frutiger World" panose="020B0603040304020203" pitchFamily="34" charset="0"/>
            </a:endParaRPr>
          </a:p>
          <a:p>
            <a:pPr marL="12699" marR="5079">
              <a:lnSpc>
                <a:spcPct val="104200"/>
              </a:lnSpc>
            </a:pPr>
            <a:r>
              <a:rPr sz="600" spc="5" dirty="0">
                <a:solidFill>
                  <a:srgbClr val="231F20"/>
                </a:solidFill>
                <a:latin typeface="Neue Frutiger World" panose="020B0603040304020203" pitchFamily="34" charset="0"/>
                <a:cs typeface="Neue Frutiger World" panose="020B0603040304020203" pitchFamily="34" charset="0"/>
              </a:rPr>
              <a:t>Cardiac </a:t>
            </a:r>
            <a:r>
              <a:rPr sz="600" spc="10" dirty="0">
                <a:solidFill>
                  <a:srgbClr val="231F20"/>
                </a:solidFill>
                <a:latin typeface="Neue Frutiger World" panose="020B0603040304020203" pitchFamily="34" charset="0"/>
                <a:cs typeface="Neue Frutiger World" panose="020B0603040304020203" pitchFamily="34" charset="0"/>
              </a:rPr>
              <a:t>device</a:t>
            </a:r>
            <a:r>
              <a:rPr lang="en-GB" sz="600" spc="1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infection</a:t>
            </a:r>
            <a:r>
              <a:rPr sz="600" spc="-4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patients</a:t>
            </a:r>
            <a:endParaRPr sz="600" dirty="0">
              <a:latin typeface="Neue Frutiger World" panose="020B0603040304020203" pitchFamily="34" charset="0"/>
              <a:cs typeface="Neue Frutiger World" panose="020B0603040304020203" pitchFamily="34" charset="0"/>
            </a:endParaRPr>
          </a:p>
        </p:txBody>
      </p:sp>
      <p:grpSp>
        <p:nvGrpSpPr>
          <p:cNvPr id="32" name="object 27">
            <a:extLst>
              <a:ext uri="{FF2B5EF4-FFF2-40B4-BE49-F238E27FC236}">
                <a16:creationId xmlns:a16="http://schemas.microsoft.com/office/drawing/2014/main" id="{E6FF2801-DC44-43FF-A6B9-0E375C07601A}"/>
              </a:ext>
            </a:extLst>
          </p:cNvPr>
          <p:cNvGrpSpPr/>
          <p:nvPr/>
        </p:nvGrpSpPr>
        <p:grpSpPr>
          <a:xfrm>
            <a:off x="4240099" y="3513573"/>
            <a:ext cx="802640" cy="515620"/>
            <a:chOff x="3017850" y="5388609"/>
            <a:chExt cx="802640" cy="515620"/>
          </a:xfrm>
        </p:grpSpPr>
        <p:sp>
          <p:nvSpPr>
            <p:cNvPr id="33" name="object 28">
              <a:extLst>
                <a:ext uri="{FF2B5EF4-FFF2-40B4-BE49-F238E27FC236}">
                  <a16:creationId xmlns:a16="http://schemas.microsoft.com/office/drawing/2014/main" id="{4348BCEE-AA3C-4C4E-9490-987E2F9DD6A1}"/>
                </a:ext>
              </a:extLst>
            </p:cNvPr>
            <p:cNvSpPr/>
            <p:nvPr/>
          </p:nvSpPr>
          <p:spPr>
            <a:xfrm>
              <a:off x="3432733" y="5388609"/>
              <a:ext cx="387350" cy="515620"/>
            </a:xfrm>
            <a:custGeom>
              <a:avLst/>
              <a:gdLst/>
              <a:ahLst/>
              <a:cxnLst/>
              <a:rect l="l" t="t" r="r" b="b"/>
              <a:pathLst>
                <a:path w="387350" h="515620">
                  <a:moveTo>
                    <a:pt x="387223" y="0"/>
                  </a:moveTo>
                  <a:lnTo>
                    <a:pt x="0" y="0"/>
                  </a:lnTo>
                  <a:lnTo>
                    <a:pt x="0" y="515493"/>
                  </a:lnTo>
                  <a:lnTo>
                    <a:pt x="387223" y="515493"/>
                  </a:lnTo>
                  <a:lnTo>
                    <a:pt x="387223" y="0"/>
                  </a:lnTo>
                  <a:close/>
                </a:path>
              </a:pathLst>
            </a:custGeom>
            <a:solidFill>
              <a:srgbClr val="00629F"/>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34" name="object 29">
              <a:extLst>
                <a:ext uri="{FF2B5EF4-FFF2-40B4-BE49-F238E27FC236}">
                  <a16:creationId xmlns:a16="http://schemas.microsoft.com/office/drawing/2014/main" id="{AD0F6D76-B945-46DA-9D43-E3193D48EAC7}"/>
                </a:ext>
              </a:extLst>
            </p:cNvPr>
            <p:cNvSpPr/>
            <p:nvPr/>
          </p:nvSpPr>
          <p:spPr>
            <a:xfrm>
              <a:off x="3017850" y="5900686"/>
              <a:ext cx="387350" cy="3810"/>
            </a:xfrm>
            <a:custGeom>
              <a:avLst/>
              <a:gdLst/>
              <a:ahLst/>
              <a:cxnLst/>
              <a:rect l="l" t="t" r="r" b="b"/>
              <a:pathLst>
                <a:path w="387350" h="3810">
                  <a:moveTo>
                    <a:pt x="387210" y="0"/>
                  </a:moveTo>
                  <a:lnTo>
                    <a:pt x="0" y="0"/>
                  </a:lnTo>
                  <a:lnTo>
                    <a:pt x="0" y="3416"/>
                  </a:lnTo>
                  <a:lnTo>
                    <a:pt x="387210" y="3416"/>
                  </a:lnTo>
                  <a:lnTo>
                    <a:pt x="387210" y="0"/>
                  </a:lnTo>
                  <a:close/>
                </a:path>
              </a:pathLst>
            </a:custGeom>
            <a:solidFill>
              <a:srgbClr val="FFA40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sp>
        <p:nvSpPr>
          <p:cNvPr id="35" name="object 30">
            <a:extLst>
              <a:ext uri="{FF2B5EF4-FFF2-40B4-BE49-F238E27FC236}">
                <a16:creationId xmlns:a16="http://schemas.microsoft.com/office/drawing/2014/main" id="{9122E3F6-DAFE-408C-8288-2CEE78726C4B}"/>
              </a:ext>
            </a:extLst>
          </p:cNvPr>
          <p:cNvSpPr txBox="1"/>
          <p:nvPr/>
        </p:nvSpPr>
        <p:spPr>
          <a:xfrm>
            <a:off x="5513028" y="2984475"/>
            <a:ext cx="449580" cy="412934"/>
          </a:xfrm>
          <a:prstGeom prst="rect">
            <a:avLst/>
          </a:prstGeom>
        </p:spPr>
        <p:txBody>
          <a:bodyPr vert="horz" wrap="square" lIns="0" tIns="12700" rIns="0" bIns="0" rtlCol="0">
            <a:spAutoFit/>
          </a:bodyPr>
          <a:lstStyle/>
          <a:p>
            <a:pPr marL="12699">
              <a:spcBef>
                <a:spcPts val="100"/>
              </a:spcBef>
            </a:pPr>
            <a:r>
              <a:rPr sz="1300" spc="10" dirty="0">
                <a:solidFill>
                  <a:srgbClr val="00629F"/>
                </a:solidFill>
                <a:latin typeface="Neue Frutiger World" panose="020B0603040304020203" pitchFamily="34" charset="0"/>
                <a:cs typeface="Neue Frutiger World" panose="020B0603040304020203" pitchFamily="34" charset="0"/>
              </a:rPr>
              <a:t>100%</a:t>
            </a:r>
            <a:endParaRPr sz="1300" dirty="0">
              <a:latin typeface="Neue Frutiger World" panose="020B0603040304020203" pitchFamily="34" charset="0"/>
              <a:cs typeface="Neue Frutiger World" panose="020B0603040304020203" pitchFamily="34" charset="0"/>
            </a:endParaRPr>
          </a:p>
        </p:txBody>
      </p:sp>
      <p:sp>
        <p:nvSpPr>
          <p:cNvPr id="36" name="object 31">
            <a:extLst>
              <a:ext uri="{FF2B5EF4-FFF2-40B4-BE49-F238E27FC236}">
                <a16:creationId xmlns:a16="http://schemas.microsoft.com/office/drawing/2014/main" id="{56C26122-C8E4-48C2-AAAA-FD98AD7F6696}"/>
              </a:ext>
            </a:extLst>
          </p:cNvPr>
          <p:cNvSpPr txBox="1"/>
          <p:nvPr/>
        </p:nvSpPr>
        <p:spPr>
          <a:xfrm>
            <a:off x="5067120" y="3838627"/>
            <a:ext cx="451277" cy="212879"/>
          </a:xfrm>
          <a:prstGeom prst="rect">
            <a:avLst/>
          </a:prstGeom>
        </p:spPr>
        <p:txBody>
          <a:bodyPr vert="horz" wrap="square" lIns="0" tIns="12700" rIns="0" bIns="0" rtlCol="0">
            <a:spAutoFit/>
          </a:bodyPr>
          <a:lstStyle/>
          <a:p>
            <a:pPr marL="12699">
              <a:spcBef>
                <a:spcPts val="100"/>
              </a:spcBef>
            </a:pPr>
            <a:r>
              <a:rPr sz="1300" spc="10" dirty="0">
                <a:solidFill>
                  <a:srgbClr val="FFA40D"/>
                </a:solidFill>
                <a:latin typeface="Neue Frutiger World" panose="020B0603040304020203" pitchFamily="34" charset="0"/>
                <a:cs typeface="Neue Frutiger World" panose="020B0603040304020203" pitchFamily="34" charset="0"/>
              </a:rPr>
              <a:t>4</a:t>
            </a:r>
            <a:r>
              <a:rPr sz="1300" spc="5" dirty="0">
                <a:solidFill>
                  <a:srgbClr val="FFA40D"/>
                </a:solidFill>
                <a:latin typeface="Neue Frutiger World" panose="020B0603040304020203" pitchFamily="34" charset="0"/>
                <a:cs typeface="Neue Frutiger World" panose="020B0603040304020203" pitchFamily="34" charset="0"/>
              </a:rPr>
              <a:t>.2</a:t>
            </a:r>
            <a:r>
              <a:rPr sz="1300" spc="25" dirty="0">
                <a:solidFill>
                  <a:srgbClr val="FFA40D"/>
                </a:solidFill>
                <a:latin typeface="Neue Frutiger World" panose="020B0603040304020203" pitchFamily="34" charset="0"/>
                <a:cs typeface="Neue Frutiger World" panose="020B0603040304020203" pitchFamily="34" charset="0"/>
              </a:rPr>
              <a:t>%</a:t>
            </a:r>
            <a:endParaRPr sz="1300" dirty="0">
              <a:latin typeface="Neue Frutiger World" panose="020B0603040304020203" pitchFamily="34" charset="0"/>
              <a:cs typeface="Neue Frutiger World" panose="020B0603040304020203" pitchFamily="34" charset="0"/>
            </a:endParaRPr>
          </a:p>
        </p:txBody>
      </p:sp>
      <p:sp>
        <p:nvSpPr>
          <p:cNvPr id="37" name="object 32">
            <a:extLst>
              <a:ext uri="{FF2B5EF4-FFF2-40B4-BE49-F238E27FC236}">
                <a16:creationId xmlns:a16="http://schemas.microsoft.com/office/drawing/2014/main" id="{9CB09CFF-D6BD-4350-8B3A-F1B8A404F56C}"/>
              </a:ext>
            </a:extLst>
          </p:cNvPr>
          <p:cNvSpPr txBox="1"/>
          <p:nvPr/>
        </p:nvSpPr>
        <p:spPr>
          <a:xfrm>
            <a:off x="5116610" y="4119597"/>
            <a:ext cx="535305" cy="201081"/>
          </a:xfrm>
          <a:prstGeom prst="rect">
            <a:avLst/>
          </a:prstGeom>
        </p:spPr>
        <p:txBody>
          <a:bodyPr vert="horz" wrap="square" lIns="0" tIns="8890" rIns="0" bIns="0" rtlCol="0">
            <a:spAutoFit/>
          </a:bodyPr>
          <a:lstStyle/>
          <a:p>
            <a:pPr marL="12699" marR="5079">
              <a:lnSpc>
                <a:spcPct val="104200"/>
              </a:lnSpc>
              <a:spcBef>
                <a:spcPts val="70"/>
              </a:spcBef>
            </a:pPr>
            <a:r>
              <a:rPr sz="600" spc="10" dirty="0">
                <a:solidFill>
                  <a:srgbClr val="231F20"/>
                </a:solidFill>
                <a:latin typeface="Neue Frutiger World" panose="020B0603040304020203" pitchFamily="34" charset="0"/>
                <a:cs typeface="Neue Frutiger World" panose="020B0603040304020203" pitchFamily="34" charset="0"/>
              </a:rPr>
              <a:t>Del</a:t>
            </a:r>
            <a:r>
              <a:rPr sz="600" spc="-20"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Rio.,</a:t>
            </a:r>
            <a:r>
              <a:rPr sz="600" spc="-1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et</a:t>
            </a:r>
            <a:r>
              <a:rPr sz="600" spc="-1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al.</a:t>
            </a:r>
            <a:r>
              <a:rPr lang="en-GB" sz="600" spc="5" dirty="0">
                <a:solidFill>
                  <a:srgbClr val="231F20"/>
                </a:solidFill>
                <a:latin typeface="Neue Frutiger World" panose="020B0603040304020203" pitchFamily="34" charset="0"/>
                <a:cs typeface="Neue Frutiger World" panose="020B0603040304020203" pitchFamily="34" charset="0"/>
              </a:rPr>
              <a:t> </a:t>
            </a:r>
            <a:r>
              <a:rPr sz="600" dirty="0">
                <a:solidFill>
                  <a:srgbClr val="231F20"/>
                </a:solidFill>
                <a:latin typeface="Neue Frutiger World" panose="020B0603040304020203" pitchFamily="34" charset="0"/>
                <a:cs typeface="Neue Frutiger World" panose="020B0603040304020203" pitchFamily="34" charset="0"/>
              </a:rPr>
              <a:t>(2003)</a:t>
            </a:r>
            <a:endParaRPr sz="600" dirty="0">
              <a:latin typeface="Neue Frutiger World" panose="020B0603040304020203" pitchFamily="34" charset="0"/>
              <a:cs typeface="Neue Frutiger World" panose="020B0603040304020203" pitchFamily="34" charset="0"/>
            </a:endParaRPr>
          </a:p>
        </p:txBody>
      </p:sp>
      <p:sp>
        <p:nvSpPr>
          <p:cNvPr id="38" name="object 33">
            <a:extLst>
              <a:ext uri="{FF2B5EF4-FFF2-40B4-BE49-F238E27FC236}">
                <a16:creationId xmlns:a16="http://schemas.microsoft.com/office/drawing/2014/main" id="{5DA99ED3-F6CA-46E5-9A12-41F34AAEBF8B}"/>
              </a:ext>
            </a:extLst>
          </p:cNvPr>
          <p:cNvSpPr txBox="1"/>
          <p:nvPr/>
        </p:nvSpPr>
        <p:spPr>
          <a:xfrm>
            <a:off x="5116610" y="4405351"/>
            <a:ext cx="824865" cy="297261"/>
          </a:xfrm>
          <a:prstGeom prst="rect">
            <a:avLst/>
          </a:prstGeom>
        </p:spPr>
        <p:txBody>
          <a:bodyPr vert="horz" wrap="square" lIns="0" tIns="12700" rIns="0" bIns="0" rtlCol="0">
            <a:spAutoFit/>
          </a:bodyPr>
          <a:lstStyle/>
          <a:p>
            <a:pPr marL="12699">
              <a:spcBef>
                <a:spcPts val="100"/>
              </a:spcBef>
            </a:pPr>
            <a:r>
              <a:rPr sz="600" spc="-25" dirty="0">
                <a:solidFill>
                  <a:srgbClr val="231F20"/>
                </a:solidFill>
                <a:latin typeface="Neue Frutiger World" panose="020B0603040304020203" pitchFamily="34" charset="0"/>
                <a:cs typeface="Neue Frutiger World" panose="020B0603040304020203" pitchFamily="34" charset="0"/>
              </a:rPr>
              <a:t>n=31</a:t>
            </a:r>
            <a:endParaRPr sz="600" dirty="0">
              <a:latin typeface="Neue Frutiger World" panose="020B0603040304020203" pitchFamily="34" charset="0"/>
              <a:cs typeface="Neue Frutiger World" panose="020B0603040304020203" pitchFamily="34" charset="0"/>
            </a:endParaRPr>
          </a:p>
          <a:p>
            <a:pPr marL="12699" marR="5079">
              <a:lnSpc>
                <a:spcPct val="104200"/>
              </a:lnSpc>
            </a:pPr>
            <a:r>
              <a:rPr sz="600" spc="10" dirty="0">
                <a:solidFill>
                  <a:srgbClr val="231F20"/>
                </a:solidFill>
                <a:latin typeface="Neue Frutiger World" panose="020B0603040304020203" pitchFamily="34" charset="0"/>
                <a:cs typeface="Neue Frutiger World" panose="020B0603040304020203" pitchFamily="34" charset="0"/>
              </a:rPr>
              <a:t>Device </a:t>
            </a:r>
            <a:r>
              <a:rPr sz="600" spc="5" dirty="0">
                <a:solidFill>
                  <a:srgbClr val="231F20"/>
                </a:solidFill>
                <a:latin typeface="Neue Frutiger World" panose="020B0603040304020203" pitchFamily="34" charset="0"/>
                <a:cs typeface="Neue Frutiger World" panose="020B0603040304020203" pitchFamily="34" charset="0"/>
              </a:rPr>
              <a:t>related</a:t>
            </a:r>
            <a:r>
              <a:rPr lang="en-GB" sz="600" spc="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endocarditis</a:t>
            </a:r>
            <a:r>
              <a:rPr sz="600" spc="-35" dirty="0">
                <a:solidFill>
                  <a:srgbClr val="231F20"/>
                </a:solidFill>
                <a:latin typeface="Neue Frutiger World" panose="020B0603040304020203" pitchFamily="34" charset="0"/>
                <a:cs typeface="Neue Frutiger World" panose="020B0603040304020203" pitchFamily="34" charset="0"/>
              </a:rPr>
              <a:t> </a:t>
            </a:r>
            <a:r>
              <a:rPr sz="600" spc="5" dirty="0">
                <a:solidFill>
                  <a:srgbClr val="231F20"/>
                </a:solidFill>
                <a:latin typeface="Neue Frutiger World" panose="020B0603040304020203" pitchFamily="34" charset="0"/>
                <a:cs typeface="Neue Frutiger World" panose="020B0603040304020203" pitchFamily="34" charset="0"/>
              </a:rPr>
              <a:t>patients</a:t>
            </a:r>
            <a:endParaRPr sz="600" dirty="0">
              <a:latin typeface="Neue Frutiger World" panose="020B0603040304020203" pitchFamily="34" charset="0"/>
              <a:cs typeface="Neue Frutiger World" panose="020B0603040304020203" pitchFamily="34" charset="0"/>
            </a:endParaRPr>
          </a:p>
        </p:txBody>
      </p:sp>
      <p:grpSp>
        <p:nvGrpSpPr>
          <p:cNvPr id="39" name="object 34">
            <a:extLst>
              <a:ext uri="{FF2B5EF4-FFF2-40B4-BE49-F238E27FC236}">
                <a16:creationId xmlns:a16="http://schemas.microsoft.com/office/drawing/2014/main" id="{7100BF60-7D30-4FB5-B2A4-CE64AD90FC5F}"/>
              </a:ext>
            </a:extLst>
          </p:cNvPr>
          <p:cNvGrpSpPr/>
          <p:nvPr/>
        </p:nvGrpSpPr>
        <p:grpSpPr>
          <a:xfrm>
            <a:off x="5129303" y="3147814"/>
            <a:ext cx="802640" cy="881380"/>
            <a:chOff x="3907053" y="5022850"/>
            <a:chExt cx="802640" cy="881380"/>
          </a:xfrm>
        </p:grpSpPr>
        <p:sp>
          <p:nvSpPr>
            <p:cNvPr id="40" name="object 35">
              <a:extLst>
                <a:ext uri="{FF2B5EF4-FFF2-40B4-BE49-F238E27FC236}">
                  <a16:creationId xmlns:a16="http://schemas.microsoft.com/office/drawing/2014/main" id="{16A6689F-0F07-423E-ABA3-5CA1B307857E}"/>
                </a:ext>
              </a:extLst>
            </p:cNvPr>
            <p:cNvSpPr/>
            <p:nvPr/>
          </p:nvSpPr>
          <p:spPr>
            <a:xfrm>
              <a:off x="4321936" y="5022850"/>
              <a:ext cx="387350" cy="881380"/>
            </a:xfrm>
            <a:custGeom>
              <a:avLst/>
              <a:gdLst/>
              <a:ahLst/>
              <a:cxnLst/>
              <a:rect l="l" t="t" r="r" b="b"/>
              <a:pathLst>
                <a:path w="387350" h="881379">
                  <a:moveTo>
                    <a:pt x="387223" y="0"/>
                  </a:moveTo>
                  <a:lnTo>
                    <a:pt x="0" y="0"/>
                  </a:lnTo>
                  <a:lnTo>
                    <a:pt x="0" y="881252"/>
                  </a:lnTo>
                  <a:lnTo>
                    <a:pt x="387223" y="881252"/>
                  </a:lnTo>
                  <a:lnTo>
                    <a:pt x="387223" y="0"/>
                  </a:lnTo>
                  <a:close/>
                </a:path>
              </a:pathLst>
            </a:custGeom>
            <a:solidFill>
              <a:srgbClr val="00629F"/>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41" name="object 36">
              <a:extLst>
                <a:ext uri="{FF2B5EF4-FFF2-40B4-BE49-F238E27FC236}">
                  <a16:creationId xmlns:a16="http://schemas.microsoft.com/office/drawing/2014/main" id="{CB7696DF-CE8D-4C7E-80EC-53394BFCC386}"/>
                </a:ext>
              </a:extLst>
            </p:cNvPr>
            <p:cNvSpPr/>
            <p:nvPr/>
          </p:nvSpPr>
          <p:spPr>
            <a:xfrm>
              <a:off x="3907053" y="5875985"/>
              <a:ext cx="387350" cy="28575"/>
            </a:xfrm>
            <a:custGeom>
              <a:avLst/>
              <a:gdLst/>
              <a:ahLst/>
              <a:cxnLst/>
              <a:rect l="l" t="t" r="r" b="b"/>
              <a:pathLst>
                <a:path w="387350" h="28575">
                  <a:moveTo>
                    <a:pt x="387223" y="0"/>
                  </a:moveTo>
                  <a:lnTo>
                    <a:pt x="0" y="0"/>
                  </a:lnTo>
                  <a:lnTo>
                    <a:pt x="0" y="28117"/>
                  </a:lnTo>
                  <a:lnTo>
                    <a:pt x="387223" y="28117"/>
                  </a:lnTo>
                  <a:lnTo>
                    <a:pt x="387223" y="0"/>
                  </a:lnTo>
                  <a:close/>
                </a:path>
              </a:pathLst>
            </a:custGeom>
            <a:solidFill>
              <a:srgbClr val="FFA40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sp>
        <p:nvSpPr>
          <p:cNvPr id="42" name="object 41">
            <a:extLst>
              <a:ext uri="{FF2B5EF4-FFF2-40B4-BE49-F238E27FC236}">
                <a16:creationId xmlns:a16="http://schemas.microsoft.com/office/drawing/2014/main" id="{529DF46D-A0B6-4F22-B746-0C3372541045}"/>
              </a:ext>
            </a:extLst>
          </p:cNvPr>
          <p:cNvSpPr txBox="1"/>
          <p:nvPr/>
        </p:nvSpPr>
        <p:spPr>
          <a:xfrm>
            <a:off x="1534364" y="2411865"/>
            <a:ext cx="2413000" cy="468077"/>
          </a:xfrm>
          <a:prstGeom prst="rect">
            <a:avLst/>
          </a:prstGeom>
        </p:spPr>
        <p:txBody>
          <a:bodyPr vert="horz" wrap="square" lIns="0" tIns="92710" rIns="0" bIns="0" rtlCol="0">
            <a:spAutoFit/>
          </a:bodyPr>
          <a:lstStyle/>
          <a:p>
            <a:pPr marL="38097">
              <a:spcBef>
                <a:spcPts val="730"/>
              </a:spcBef>
            </a:pPr>
            <a:r>
              <a:rPr sz="1300" b="1" spc="-5" dirty="0">
                <a:solidFill>
                  <a:srgbClr val="231F20"/>
                </a:solidFill>
                <a:latin typeface="Neue Frutiger World" panose="020B0603040304020203" pitchFamily="34" charset="0"/>
                <a:cs typeface="Neue Frutiger World" panose="020B0603040304020203" pitchFamily="34" charset="0"/>
              </a:rPr>
              <a:t>Relapse</a:t>
            </a:r>
            <a:r>
              <a:rPr sz="1300" b="1" spc="15" dirty="0">
                <a:solidFill>
                  <a:srgbClr val="231F20"/>
                </a:solidFill>
                <a:latin typeface="Neue Frutiger World" panose="020B0603040304020203" pitchFamily="34" charset="0"/>
                <a:cs typeface="Neue Frutiger World" panose="020B0603040304020203" pitchFamily="34" charset="0"/>
              </a:rPr>
              <a:t> </a:t>
            </a:r>
            <a:r>
              <a:rPr sz="1300" b="1" spc="-20" dirty="0">
                <a:solidFill>
                  <a:srgbClr val="231F20"/>
                </a:solidFill>
                <a:latin typeface="Neue Frutiger World" panose="020B0603040304020203" pitchFamily="34" charset="0"/>
                <a:cs typeface="Neue Frutiger World" panose="020B0603040304020203" pitchFamily="34" charset="0"/>
              </a:rPr>
              <a:t>rates</a:t>
            </a:r>
            <a:r>
              <a:rPr sz="1300" b="1" spc="20" dirty="0">
                <a:solidFill>
                  <a:srgbClr val="231F20"/>
                </a:solidFill>
                <a:latin typeface="Neue Frutiger World" panose="020B0603040304020203" pitchFamily="34" charset="0"/>
                <a:cs typeface="Neue Frutiger World" panose="020B0603040304020203" pitchFamily="34" charset="0"/>
              </a:rPr>
              <a:t> </a:t>
            </a:r>
            <a:r>
              <a:rPr sz="1300" b="1" spc="10" dirty="0">
                <a:solidFill>
                  <a:srgbClr val="231F20"/>
                </a:solidFill>
                <a:latin typeface="Neue Frutiger World" panose="020B0603040304020203" pitchFamily="34" charset="0"/>
                <a:cs typeface="Neue Frutiger World" panose="020B0603040304020203" pitchFamily="34" charset="0"/>
              </a:rPr>
              <a:t>by</a:t>
            </a:r>
            <a:r>
              <a:rPr sz="1300" b="1" spc="-25"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treatment</a:t>
            </a:r>
            <a:r>
              <a:rPr sz="1125" b="1" spc="-7" baseline="33333" dirty="0">
                <a:solidFill>
                  <a:srgbClr val="231F20"/>
                </a:solidFill>
                <a:latin typeface="Neue Frutiger World" panose="020B0603040304020203" pitchFamily="34" charset="0"/>
                <a:cs typeface="Neue Frutiger World" panose="020B0603040304020203" pitchFamily="34" charset="0"/>
              </a:rPr>
              <a:t>5-9</a:t>
            </a:r>
            <a:endParaRPr sz="1125" baseline="33333" dirty="0">
              <a:latin typeface="Neue Frutiger World" panose="020B0603040304020203" pitchFamily="34" charset="0"/>
              <a:cs typeface="Neue Frutiger World" panose="020B0603040304020203" pitchFamily="34" charset="0"/>
            </a:endParaRPr>
          </a:p>
          <a:p>
            <a:pPr marL="199373">
              <a:spcBef>
                <a:spcPts val="390"/>
              </a:spcBef>
            </a:pPr>
            <a:r>
              <a:rPr sz="800" spc="-5" dirty="0">
                <a:solidFill>
                  <a:srgbClr val="231F20"/>
                </a:solidFill>
                <a:latin typeface="Neue Frutiger World" panose="020B0603040304020203" pitchFamily="34" charset="0"/>
                <a:cs typeface="Neue Frutiger World" panose="020B0603040304020203" pitchFamily="34" charset="0"/>
              </a:rPr>
              <a:t>Complete</a:t>
            </a:r>
            <a:r>
              <a:rPr sz="800" spc="-2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a:t>
            </a:r>
            <a:r>
              <a:rPr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removal</a:t>
            </a:r>
            <a:endParaRPr sz="800" dirty="0">
              <a:latin typeface="Neue Frutiger World" panose="020B0603040304020203" pitchFamily="34" charset="0"/>
              <a:cs typeface="Neue Frutiger World" panose="020B0603040304020203" pitchFamily="34" charset="0"/>
            </a:endParaRPr>
          </a:p>
        </p:txBody>
      </p:sp>
      <p:sp>
        <p:nvSpPr>
          <p:cNvPr id="43" name="object 42">
            <a:extLst>
              <a:ext uri="{FF2B5EF4-FFF2-40B4-BE49-F238E27FC236}">
                <a16:creationId xmlns:a16="http://schemas.microsoft.com/office/drawing/2014/main" id="{2A1DDE5A-810D-4F69-B198-06D91378E1F1}"/>
              </a:ext>
            </a:extLst>
          </p:cNvPr>
          <p:cNvSpPr txBox="1"/>
          <p:nvPr/>
        </p:nvSpPr>
        <p:spPr>
          <a:xfrm>
            <a:off x="1721313" y="2924150"/>
            <a:ext cx="2450465" cy="135935"/>
          </a:xfrm>
          <a:prstGeom prst="rect">
            <a:avLst/>
          </a:prstGeom>
        </p:spPr>
        <p:txBody>
          <a:bodyPr vert="horz" wrap="square" lIns="0" tIns="12700" rIns="0" bIns="0" rtlCol="0">
            <a:spAutoFit/>
          </a:bodyPr>
          <a:lstStyle/>
          <a:p>
            <a:pPr marL="12699">
              <a:spcBef>
                <a:spcPts val="100"/>
              </a:spcBef>
            </a:pPr>
            <a:r>
              <a:rPr sz="800" spc="-10" dirty="0">
                <a:solidFill>
                  <a:srgbClr val="231F20"/>
                </a:solidFill>
                <a:latin typeface="Neue Frutiger World" panose="020B0603040304020203" pitchFamily="34" charset="0"/>
                <a:cs typeface="Neue Frutiger World" panose="020B0603040304020203" pitchFamily="34" charset="0"/>
              </a:rPr>
              <a:t>Partial</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removal</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r</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medical</a:t>
            </a:r>
            <a:r>
              <a:rPr sz="80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reatment</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lone</a:t>
            </a:r>
            <a:endParaRPr sz="800" dirty="0">
              <a:latin typeface="Neue Frutiger World" panose="020B0603040304020203" pitchFamily="34" charset="0"/>
              <a:cs typeface="Neue Frutiger World" panose="020B0603040304020203" pitchFamily="34" charset="0"/>
            </a:endParaRPr>
          </a:p>
        </p:txBody>
      </p:sp>
      <p:pic>
        <p:nvPicPr>
          <p:cNvPr id="44" name="object 47">
            <a:extLst>
              <a:ext uri="{FF2B5EF4-FFF2-40B4-BE49-F238E27FC236}">
                <a16:creationId xmlns:a16="http://schemas.microsoft.com/office/drawing/2014/main" id="{CBF5A272-B522-44E7-90E6-28A928DC7985}"/>
              </a:ext>
            </a:extLst>
          </p:cNvPr>
          <p:cNvPicPr/>
          <p:nvPr/>
        </p:nvPicPr>
        <p:blipFill>
          <a:blip r:embed="rId2" cstate="print"/>
          <a:stretch>
            <a:fillRect/>
          </a:stretch>
        </p:blipFill>
        <p:spPr>
          <a:xfrm>
            <a:off x="1572465" y="2792378"/>
            <a:ext cx="96012" cy="96024"/>
          </a:xfrm>
          <a:prstGeom prst="rect">
            <a:avLst/>
          </a:prstGeom>
        </p:spPr>
      </p:pic>
      <p:pic>
        <p:nvPicPr>
          <p:cNvPr id="45" name="object 48">
            <a:extLst>
              <a:ext uri="{FF2B5EF4-FFF2-40B4-BE49-F238E27FC236}">
                <a16:creationId xmlns:a16="http://schemas.microsoft.com/office/drawing/2014/main" id="{DBCF9FA5-406F-4138-B308-E2EB7F24206C}"/>
              </a:ext>
            </a:extLst>
          </p:cNvPr>
          <p:cNvPicPr/>
          <p:nvPr/>
        </p:nvPicPr>
        <p:blipFill>
          <a:blip r:embed="rId3" cstate="print"/>
          <a:stretch>
            <a:fillRect/>
          </a:stretch>
        </p:blipFill>
        <p:spPr>
          <a:xfrm>
            <a:off x="1572465" y="2953223"/>
            <a:ext cx="96012" cy="96024"/>
          </a:xfrm>
          <a:prstGeom prst="rect">
            <a:avLst/>
          </a:prstGeom>
        </p:spPr>
      </p:pic>
      <p:sp>
        <p:nvSpPr>
          <p:cNvPr id="46" name="TextBox 45">
            <a:extLst>
              <a:ext uri="{FF2B5EF4-FFF2-40B4-BE49-F238E27FC236}">
                <a16:creationId xmlns:a16="http://schemas.microsoft.com/office/drawing/2014/main" id="{826B9C65-E147-4E9E-BAC1-4045906B98D7}"/>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4" action="ppaction://hlinksldjump"/>
            <a:extLst>
              <a:ext uri="{FF2B5EF4-FFF2-40B4-BE49-F238E27FC236}">
                <a16:creationId xmlns:a16="http://schemas.microsoft.com/office/drawing/2014/main" id="{5264BE47-AAF9-4602-90D2-38F7E8E067B8}"/>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5" action="ppaction://hlinksldjump"/>
            <a:extLst>
              <a:ext uri="{FF2B5EF4-FFF2-40B4-BE49-F238E27FC236}">
                <a16:creationId xmlns:a16="http://schemas.microsoft.com/office/drawing/2014/main" id="{354BAA49-DE4C-469F-AF82-764A4426327B}"/>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6" action="ppaction://hlinksldjump"/>
            <a:extLst>
              <a:ext uri="{FF2B5EF4-FFF2-40B4-BE49-F238E27FC236}">
                <a16:creationId xmlns:a16="http://schemas.microsoft.com/office/drawing/2014/main" id="{B82B3316-F0C0-4E98-8E77-0407F229E1C0}"/>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7" action="ppaction://hlinksldjump"/>
            <a:extLst>
              <a:ext uri="{FF2B5EF4-FFF2-40B4-BE49-F238E27FC236}">
                <a16:creationId xmlns:a16="http://schemas.microsoft.com/office/drawing/2014/main" id="{9671373E-7D36-4969-8374-5EBA9270799E}"/>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8" action="ppaction://hlinksldjump"/>
            <a:extLst>
              <a:ext uri="{FF2B5EF4-FFF2-40B4-BE49-F238E27FC236}">
                <a16:creationId xmlns:a16="http://schemas.microsoft.com/office/drawing/2014/main" id="{D46D3EB6-8899-4E3F-8A48-06F742730142}"/>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9" action="ppaction://hlinksldjump"/>
            <a:extLst>
              <a:ext uri="{FF2B5EF4-FFF2-40B4-BE49-F238E27FC236}">
                <a16:creationId xmlns:a16="http://schemas.microsoft.com/office/drawing/2014/main" id="{A9AB066C-21E6-45B0-B1F7-5385B7091B61}"/>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0" action="ppaction://hlinksldjump"/>
            <a:extLst>
              <a:ext uri="{FF2B5EF4-FFF2-40B4-BE49-F238E27FC236}">
                <a16:creationId xmlns:a16="http://schemas.microsoft.com/office/drawing/2014/main" id="{456FCE93-A156-453F-9EF9-FA687F953FA1}"/>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1" action="ppaction://hlinksldjump"/>
            <a:extLst>
              <a:ext uri="{FF2B5EF4-FFF2-40B4-BE49-F238E27FC236}">
                <a16:creationId xmlns:a16="http://schemas.microsoft.com/office/drawing/2014/main" id="{7DC74DD4-F0AC-4F3E-8DD8-29F1B7DEE35F}"/>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extLst>
              <a:ext uri="{FF2B5EF4-FFF2-40B4-BE49-F238E27FC236}">
                <a16:creationId xmlns:a16="http://schemas.microsoft.com/office/drawing/2014/main" id="{689C04FC-2CCA-4FE6-9AAE-67488B5C98E0}"/>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2" action="ppaction://hlinksldjump"/>
            <a:extLst>
              <a:ext uri="{FF2B5EF4-FFF2-40B4-BE49-F238E27FC236}">
                <a16:creationId xmlns:a16="http://schemas.microsoft.com/office/drawing/2014/main" id="{180C3079-A436-4ECE-B8A0-3DB08ABE6C88}"/>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3" action="ppaction://hlinksldjump"/>
            <a:extLst>
              <a:ext uri="{FF2B5EF4-FFF2-40B4-BE49-F238E27FC236}">
                <a16:creationId xmlns:a16="http://schemas.microsoft.com/office/drawing/2014/main" id="{EFA43772-3006-444C-89CD-2DE85BCDC07B}"/>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14" action="ppaction://hlinksldjump"/>
            <a:extLst>
              <a:ext uri="{FF2B5EF4-FFF2-40B4-BE49-F238E27FC236}">
                <a16:creationId xmlns:a16="http://schemas.microsoft.com/office/drawing/2014/main" id="{CF95DB2A-35D6-4A9E-AD05-C3CDABE23C3A}"/>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15" action="ppaction://hlinksldjump"/>
            <a:extLst>
              <a:ext uri="{FF2B5EF4-FFF2-40B4-BE49-F238E27FC236}">
                <a16:creationId xmlns:a16="http://schemas.microsoft.com/office/drawing/2014/main" id="{F8D561F2-4CAD-41F3-B3CD-75EC09F3A8B2}"/>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16" action="ppaction://hlinksldjump"/>
            <a:extLst>
              <a:ext uri="{FF2B5EF4-FFF2-40B4-BE49-F238E27FC236}">
                <a16:creationId xmlns:a16="http://schemas.microsoft.com/office/drawing/2014/main" id="{6E13D189-AB2C-4970-A164-3EC6EAAF6D11}"/>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17" action="ppaction://hlinksldjump"/>
            <a:extLst>
              <a:ext uri="{FF2B5EF4-FFF2-40B4-BE49-F238E27FC236}">
                <a16:creationId xmlns:a16="http://schemas.microsoft.com/office/drawing/2014/main" id="{59BC350D-DF06-4D2F-9E53-6D437C68F3C4}"/>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18" action="ppaction://hlinksldjump"/>
            <a:extLst>
              <a:ext uri="{FF2B5EF4-FFF2-40B4-BE49-F238E27FC236}">
                <a16:creationId xmlns:a16="http://schemas.microsoft.com/office/drawing/2014/main" id="{FF6CD3E2-C47B-457F-B5AF-CB161BD2200B}"/>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19" action="ppaction://hlinksldjump"/>
            <a:extLst>
              <a:ext uri="{FF2B5EF4-FFF2-40B4-BE49-F238E27FC236}">
                <a16:creationId xmlns:a16="http://schemas.microsoft.com/office/drawing/2014/main" id="{934ECAC6-1378-41C9-8CB4-120DD005CF78}"/>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20" action="ppaction://hlinksldjump"/>
            <a:extLst>
              <a:ext uri="{FF2B5EF4-FFF2-40B4-BE49-F238E27FC236}">
                <a16:creationId xmlns:a16="http://schemas.microsoft.com/office/drawing/2014/main" id="{2A706094-F42E-43AA-8B8D-D021164260A1}"/>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hlinkClick r:id="rId21" action="ppaction://hlinksldjump"/>
            <a:extLst>
              <a:ext uri="{FF2B5EF4-FFF2-40B4-BE49-F238E27FC236}">
                <a16:creationId xmlns:a16="http://schemas.microsoft.com/office/drawing/2014/main" id="{A9C61E3D-44CA-4A84-BAD7-345302BAD0C7}"/>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22" action="ppaction://hlinksldjump"/>
            <a:extLst>
              <a:ext uri="{FF2B5EF4-FFF2-40B4-BE49-F238E27FC236}">
                <a16:creationId xmlns:a16="http://schemas.microsoft.com/office/drawing/2014/main" id="{492B8FF1-40FF-40BB-BB01-6D20F8145BB8}"/>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23" action="ppaction://hlinksldjump"/>
            <a:extLst>
              <a:ext uri="{FF2B5EF4-FFF2-40B4-BE49-F238E27FC236}">
                <a16:creationId xmlns:a16="http://schemas.microsoft.com/office/drawing/2014/main" id="{C18F1FA0-13D9-413A-86AC-08B649EA7AF7}"/>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8" name="Rectangle 67">
            <a:hlinkClick r:id="rId24" action="ppaction://hlinksldjump"/>
            <a:extLst>
              <a:ext uri="{FF2B5EF4-FFF2-40B4-BE49-F238E27FC236}">
                <a16:creationId xmlns:a16="http://schemas.microsoft.com/office/drawing/2014/main" id="{6425DD52-6335-4E83-99F6-5E90370E0F28}"/>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9" name="Rectangle 68">
            <a:extLst>
              <a:ext uri="{FF2B5EF4-FFF2-40B4-BE49-F238E27FC236}">
                <a16:creationId xmlns:a16="http://schemas.microsoft.com/office/drawing/2014/main" id="{FF25773F-4B85-4522-94F5-A88B4B7DB389}"/>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0" name="Rectangle 69">
            <a:hlinkClick r:id="rId25" action="ppaction://hlinksldjump"/>
            <a:extLst>
              <a:ext uri="{FF2B5EF4-FFF2-40B4-BE49-F238E27FC236}">
                <a16:creationId xmlns:a16="http://schemas.microsoft.com/office/drawing/2014/main" id="{A2ADA0ED-6372-4FD9-987D-D3CA9FA34D99}"/>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1" name="Rectangle 70">
            <a:hlinkClick r:id="rId26" action="ppaction://hlinksldjump"/>
            <a:extLst>
              <a:ext uri="{FF2B5EF4-FFF2-40B4-BE49-F238E27FC236}">
                <a16:creationId xmlns:a16="http://schemas.microsoft.com/office/drawing/2014/main" id="{081BEBB5-688E-48B3-8660-148FAB422928}"/>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2" name="Rectangle 71">
            <a:hlinkClick r:id="rId27" action="ppaction://hlinksldjump"/>
            <a:extLst>
              <a:ext uri="{FF2B5EF4-FFF2-40B4-BE49-F238E27FC236}">
                <a16:creationId xmlns:a16="http://schemas.microsoft.com/office/drawing/2014/main" id="{CFBAFB14-B386-45CA-8894-A97EB4FC9382}"/>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3" name="Rectangle 72">
            <a:extLst>
              <a:ext uri="{FF2B5EF4-FFF2-40B4-BE49-F238E27FC236}">
                <a16:creationId xmlns:a16="http://schemas.microsoft.com/office/drawing/2014/main" id="{41735BCC-7B06-4365-8C44-93B456A04C7A}"/>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74" name="Table 73">
            <a:extLst>
              <a:ext uri="{FF2B5EF4-FFF2-40B4-BE49-F238E27FC236}">
                <a16:creationId xmlns:a16="http://schemas.microsoft.com/office/drawing/2014/main" id="{67C88D5C-99E4-440F-A01E-0AB7139241CB}"/>
              </a:ext>
            </a:extLst>
          </p:cNvPr>
          <p:cNvGraphicFramePr>
            <a:graphicFrameLocks noGrp="1"/>
          </p:cNvGraphicFramePr>
          <p:nvPr>
            <p:extLst>
              <p:ext uri="{D42A27DB-BD31-4B8C-83A1-F6EECF244321}">
                <p14:modId xmlns:p14="http://schemas.microsoft.com/office/powerpoint/2010/main" val="641276377"/>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75" name="Rectangle 74">
            <a:hlinkClick r:id="rId4" action="ppaction://hlinksldjump"/>
            <a:extLst>
              <a:ext uri="{FF2B5EF4-FFF2-40B4-BE49-F238E27FC236}">
                <a16:creationId xmlns:a16="http://schemas.microsoft.com/office/drawing/2014/main" id="{8619E78A-9B31-4A91-9676-6AA23F61EA45}"/>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6" name="Rectangle 75">
            <a:hlinkClick r:id="rId5" action="ppaction://hlinksldjump"/>
            <a:extLst>
              <a:ext uri="{FF2B5EF4-FFF2-40B4-BE49-F238E27FC236}">
                <a16:creationId xmlns:a16="http://schemas.microsoft.com/office/drawing/2014/main" id="{7B565D3E-7A2E-41B5-B66C-45B49A083955}"/>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7" name="Rectangle 76">
            <a:hlinkClick r:id="rId6" action="ppaction://hlinksldjump"/>
            <a:extLst>
              <a:ext uri="{FF2B5EF4-FFF2-40B4-BE49-F238E27FC236}">
                <a16:creationId xmlns:a16="http://schemas.microsoft.com/office/drawing/2014/main" id="{AE28A3C4-FA48-4B8B-AD29-B403B7DB7767}"/>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8" name="Rectangle 77">
            <a:hlinkClick r:id="rId7" action="ppaction://hlinksldjump"/>
            <a:extLst>
              <a:ext uri="{FF2B5EF4-FFF2-40B4-BE49-F238E27FC236}">
                <a16:creationId xmlns:a16="http://schemas.microsoft.com/office/drawing/2014/main" id="{0F24843D-1C1C-43B3-BBAD-D312AA478389}"/>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9" name="Rectangle 78">
            <a:hlinkClick r:id="rId8" action="ppaction://hlinksldjump"/>
            <a:extLst>
              <a:ext uri="{FF2B5EF4-FFF2-40B4-BE49-F238E27FC236}">
                <a16:creationId xmlns:a16="http://schemas.microsoft.com/office/drawing/2014/main" id="{5549B67B-ECFC-42F1-881F-A78F795D8A08}"/>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0" name="Rectangle 79">
            <a:hlinkClick r:id="rId9" action="ppaction://hlinksldjump"/>
            <a:extLst>
              <a:ext uri="{FF2B5EF4-FFF2-40B4-BE49-F238E27FC236}">
                <a16:creationId xmlns:a16="http://schemas.microsoft.com/office/drawing/2014/main" id="{F691DC0F-CE20-48B5-954D-AB29D5F6B597}"/>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1" name="Rectangle 80">
            <a:hlinkClick r:id="rId10" action="ppaction://hlinksldjump"/>
            <a:extLst>
              <a:ext uri="{FF2B5EF4-FFF2-40B4-BE49-F238E27FC236}">
                <a16:creationId xmlns:a16="http://schemas.microsoft.com/office/drawing/2014/main" id="{C49EC7B1-1F11-4AC5-97CA-DE754C61788D}"/>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2" name="Rectangle 81">
            <a:hlinkClick r:id="rId11" action="ppaction://hlinksldjump"/>
            <a:extLst>
              <a:ext uri="{FF2B5EF4-FFF2-40B4-BE49-F238E27FC236}">
                <a16:creationId xmlns:a16="http://schemas.microsoft.com/office/drawing/2014/main" id="{E7B381D0-F50B-4AEC-93C0-EAA2E2A153E8}"/>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3" name="Rectangle 82">
            <a:extLst>
              <a:ext uri="{FF2B5EF4-FFF2-40B4-BE49-F238E27FC236}">
                <a16:creationId xmlns:a16="http://schemas.microsoft.com/office/drawing/2014/main" id="{E8273C50-FE01-4E5D-8516-B47DA42815FC}"/>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4" name="Rectangle 83">
            <a:hlinkClick r:id="rId12" action="ppaction://hlinksldjump"/>
            <a:extLst>
              <a:ext uri="{FF2B5EF4-FFF2-40B4-BE49-F238E27FC236}">
                <a16:creationId xmlns:a16="http://schemas.microsoft.com/office/drawing/2014/main" id="{94046ADF-140D-47D6-987C-BF5169285E33}"/>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5" name="Rectangle 84">
            <a:hlinkClick r:id="rId13" action="ppaction://hlinksldjump"/>
            <a:extLst>
              <a:ext uri="{FF2B5EF4-FFF2-40B4-BE49-F238E27FC236}">
                <a16:creationId xmlns:a16="http://schemas.microsoft.com/office/drawing/2014/main" id="{9506BA12-A390-413F-8B8B-B87FDBE17D72}"/>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6" name="Rectangle 85">
            <a:hlinkClick r:id="rId14" action="ppaction://hlinksldjump"/>
            <a:extLst>
              <a:ext uri="{FF2B5EF4-FFF2-40B4-BE49-F238E27FC236}">
                <a16:creationId xmlns:a16="http://schemas.microsoft.com/office/drawing/2014/main" id="{EF71FF57-698F-402B-A783-80CDE18401BF}"/>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7" name="Rectangle 86">
            <a:hlinkClick r:id="rId15" action="ppaction://hlinksldjump"/>
            <a:extLst>
              <a:ext uri="{FF2B5EF4-FFF2-40B4-BE49-F238E27FC236}">
                <a16:creationId xmlns:a16="http://schemas.microsoft.com/office/drawing/2014/main" id="{24C36693-EE15-4532-AEB4-B2FAE7841776}"/>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8" name="Rectangle 87">
            <a:hlinkClick r:id="rId16" action="ppaction://hlinksldjump"/>
            <a:extLst>
              <a:ext uri="{FF2B5EF4-FFF2-40B4-BE49-F238E27FC236}">
                <a16:creationId xmlns:a16="http://schemas.microsoft.com/office/drawing/2014/main" id="{68DFEEBD-15AE-44AD-816D-BC90E201C136}"/>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9" name="Rectangle 88">
            <a:hlinkClick r:id="rId17" action="ppaction://hlinksldjump"/>
            <a:extLst>
              <a:ext uri="{FF2B5EF4-FFF2-40B4-BE49-F238E27FC236}">
                <a16:creationId xmlns:a16="http://schemas.microsoft.com/office/drawing/2014/main" id="{2676F665-0ECC-4858-89F0-54FA262C4B86}"/>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0" name="Rectangle 89">
            <a:hlinkClick r:id="rId18" action="ppaction://hlinksldjump"/>
            <a:extLst>
              <a:ext uri="{FF2B5EF4-FFF2-40B4-BE49-F238E27FC236}">
                <a16:creationId xmlns:a16="http://schemas.microsoft.com/office/drawing/2014/main" id="{F90E2113-5585-4298-9192-66F69380327A}"/>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1" name="Rectangle 90">
            <a:hlinkClick r:id="rId19" action="ppaction://hlinksldjump"/>
            <a:extLst>
              <a:ext uri="{FF2B5EF4-FFF2-40B4-BE49-F238E27FC236}">
                <a16:creationId xmlns:a16="http://schemas.microsoft.com/office/drawing/2014/main" id="{69B021B7-8D1A-44F7-9A16-5BA95B5F5FC5}"/>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2" name="Rectangle 91">
            <a:hlinkClick r:id="rId20" action="ppaction://hlinksldjump"/>
            <a:extLst>
              <a:ext uri="{FF2B5EF4-FFF2-40B4-BE49-F238E27FC236}">
                <a16:creationId xmlns:a16="http://schemas.microsoft.com/office/drawing/2014/main" id="{DA8AE380-A876-4086-BEF7-BF5A294148BD}"/>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3" name="Rectangle 92">
            <a:hlinkClick r:id="rId21" action="ppaction://hlinksldjump"/>
            <a:extLst>
              <a:ext uri="{FF2B5EF4-FFF2-40B4-BE49-F238E27FC236}">
                <a16:creationId xmlns:a16="http://schemas.microsoft.com/office/drawing/2014/main" id="{65368099-B285-4689-982F-818CAFB04C3D}"/>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4" name="Rectangle 93">
            <a:hlinkClick r:id="rId22" action="ppaction://hlinksldjump"/>
            <a:extLst>
              <a:ext uri="{FF2B5EF4-FFF2-40B4-BE49-F238E27FC236}">
                <a16:creationId xmlns:a16="http://schemas.microsoft.com/office/drawing/2014/main" id="{EA4BCE72-4306-41CA-8F78-739976727D63}"/>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5" name="Rectangle 94">
            <a:hlinkClick r:id="rId23" action="ppaction://hlinksldjump"/>
            <a:extLst>
              <a:ext uri="{FF2B5EF4-FFF2-40B4-BE49-F238E27FC236}">
                <a16:creationId xmlns:a16="http://schemas.microsoft.com/office/drawing/2014/main" id="{E1C0B38B-1124-4507-939D-AE1BC1F81AC2}"/>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6" name="Rectangle 95">
            <a:hlinkClick r:id="rId24" action="ppaction://hlinksldjump"/>
            <a:extLst>
              <a:ext uri="{FF2B5EF4-FFF2-40B4-BE49-F238E27FC236}">
                <a16:creationId xmlns:a16="http://schemas.microsoft.com/office/drawing/2014/main" id="{46259425-EB85-404A-B96B-603EB6BBB9FB}"/>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7" name="Rectangle 96">
            <a:extLst>
              <a:ext uri="{FF2B5EF4-FFF2-40B4-BE49-F238E27FC236}">
                <a16:creationId xmlns:a16="http://schemas.microsoft.com/office/drawing/2014/main" id="{A7E5E10A-1A92-44BE-8324-2934417AFE6C}"/>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8" name="Rectangle 97">
            <a:hlinkClick r:id="rId25" action="ppaction://hlinksldjump"/>
            <a:extLst>
              <a:ext uri="{FF2B5EF4-FFF2-40B4-BE49-F238E27FC236}">
                <a16:creationId xmlns:a16="http://schemas.microsoft.com/office/drawing/2014/main" id="{B7F8F8AE-226F-4348-BE4F-9F1D93FF8394}"/>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9" name="Rectangle 98">
            <a:hlinkClick r:id="rId26" action="ppaction://hlinksldjump"/>
            <a:extLst>
              <a:ext uri="{FF2B5EF4-FFF2-40B4-BE49-F238E27FC236}">
                <a16:creationId xmlns:a16="http://schemas.microsoft.com/office/drawing/2014/main" id="{16476B12-3EDC-4098-A7E1-B7469705BD21}"/>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00" name="Rectangle 99">
            <a:hlinkClick r:id="rId27" action="ppaction://hlinksldjump"/>
            <a:extLst>
              <a:ext uri="{FF2B5EF4-FFF2-40B4-BE49-F238E27FC236}">
                <a16:creationId xmlns:a16="http://schemas.microsoft.com/office/drawing/2014/main" id="{3B2CB990-027F-40B9-B5EE-A3DEE0A931D5}"/>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189437960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8F9C8-91E8-44AA-9543-B056D0ED0463}"/>
              </a:ext>
            </a:extLst>
          </p:cNvPr>
          <p:cNvSpPr>
            <a:spLocks noGrp="1"/>
          </p:cNvSpPr>
          <p:nvPr>
            <p:ph type="title"/>
          </p:nvPr>
        </p:nvSpPr>
        <p:spPr/>
        <p:txBody>
          <a:bodyPr/>
          <a:lstStyle/>
          <a:p>
            <a:r>
              <a:rPr lang="en-GB" sz="2000" spc="5" noProof="0" dirty="0">
                <a:latin typeface="Neue Frutiger World" panose="020B0603040304020203" pitchFamily="34" charset="0"/>
                <a:cs typeface="Neue Frutiger World" panose="020B0603040304020203" pitchFamily="34" charset="0"/>
              </a:rPr>
              <a:t>Identify</a:t>
            </a:r>
            <a:r>
              <a:rPr lang="en-GB" sz="2000" spc="-20" noProof="0" dirty="0">
                <a:latin typeface="Neue Frutiger World" panose="020B0603040304020203" pitchFamily="34" charset="0"/>
                <a:cs typeface="Neue Frutiger World" panose="020B0603040304020203" pitchFamily="34" charset="0"/>
              </a:rPr>
              <a:t> </a:t>
            </a:r>
            <a:r>
              <a:rPr lang="en-GB" sz="2000" spc="-5" noProof="0" dirty="0">
                <a:latin typeface="Neue Frutiger World" panose="020B0603040304020203" pitchFamily="34" charset="0"/>
                <a:cs typeface="Neue Frutiger World" panose="020B0603040304020203" pitchFamily="34" charset="0"/>
              </a:rPr>
              <a:t>systemic</a:t>
            </a:r>
            <a:r>
              <a:rPr lang="en-GB" sz="2000" spc="35" noProof="0" dirty="0">
                <a:latin typeface="Neue Frutiger World" panose="020B0603040304020203" pitchFamily="34" charset="0"/>
                <a:cs typeface="Neue Frutiger World" panose="020B0603040304020203" pitchFamily="34" charset="0"/>
              </a:rPr>
              <a:t> </a:t>
            </a:r>
            <a:r>
              <a:rPr lang="en-GB" sz="2000" spc="-5" noProof="0" dirty="0">
                <a:latin typeface="Neue Frutiger World" panose="020B0603040304020203" pitchFamily="34" charset="0"/>
                <a:cs typeface="Neue Frutiger World" panose="020B0603040304020203" pitchFamily="34" charset="0"/>
              </a:rPr>
              <a:t>infection</a:t>
            </a:r>
            <a:r>
              <a:rPr lang="en-GB" sz="2000" spc="40" noProof="0" dirty="0">
                <a:latin typeface="Neue Frutiger World" panose="020B0603040304020203" pitchFamily="34" charset="0"/>
                <a:cs typeface="Neue Frutiger World" panose="020B0603040304020203" pitchFamily="34" charset="0"/>
              </a:rPr>
              <a:t> </a:t>
            </a:r>
            <a:r>
              <a:rPr lang="en-GB" sz="2000" spc="229" noProof="0" dirty="0">
                <a:latin typeface="Neue Frutiger World" panose="020B0603040304020203" pitchFamily="34" charset="0"/>
                <a:cs typeface="Neue Frutiger World" panose="020B0603040304020203" pitchFamily="34" charset="0"/>
              </a:rPr>
              <a:t>–</a:t>
            </a:r>
            <a:r>
              <a:rPr lang="en-GB" sz="2000" spc="40" noProof="0" dirty="0">
                <a:latin typeface="Neue Frutiger World" panose="020B0603040304020203" pitchFamily="34" charset="0"/>
                <a:cs typeface="Neue Frutiger World" panose="020B0603040304020203" pitchFamily="34" charset="0"/>
              </a:rPr>
              <a:t> </a:t>
            </a:r>
            <a:r>
              <a:rPr lang="en-GB" sz="2000" spc="-10" noProof="0" dirty="0">
                <a:latin typeface="Neue Frutiger World" panose="020B0603040304020203" pitchFamily="34" charset="0"/>
                <a:cs typeface="Neue Frutiger World" panose="020B0603040304020203" pitchFamily="34" charset="0"/>
              </a:rPr>
              <a:t>conversation</a:t>
            </a:r>
            <a:r>
              <a:rPr lang="en-GB" sz="2000" spc="40" noProof="0" dirty="0">
                <a:latin typeface="Neue Frutiger World" panose="020B0603040304020203" pitchFamily="34" charset="0"/>
                <a:cs typeface="Neue Frutiger World" panose="020B0603040304020203" pitchFamily="34" charset="0"/>
              </a:rPr>
              <a:t> </a:t>
            </a:r>
            <a:r>
              <a:rPr lang="en-GB" sz="2000" spc="-15" noProof="0" dirty="0">
                <a:latin typeface="Neue Frutiger World" panose="020B0603040304020203" pitchFamily="34" charset="0"/>
                <a:cs typeface="Neue Frutiger World" panose="020B0603040304020203" pitchFamily="34" charset="0"/>
              </a:rPr>
              <a:t>starter</a:t>
            </a:r>
            <a:r>
              <a:rPr lang="en-GB" sz="2000" noProof="0" dirty="0">
                <a:latin typeface="Neue Frutiger World" panose="020B0603040304020203" pitchFamily="34" charset="0"/>
                <a:cs typeface="Neue Frutiger World" panose="020B0603040304020203" pitchFamily="34" charset="0"/>
              </a:rPr>
              <a:t> </a:t>
            </a:r>
            <a:r>
              <a:rPr lang="en-GB" sz="2000" spc="5" noProof="0" dirty="0">
                <a:latin typeface="Neue Frutiger World" panose="020B0603040304020203" pitchFamily="34" charset="0"/>
                <a:cs typeface="Neue Frutiger World" panose="020B0603040304020203" pitchFamily="34" charset="0"/>
              </a:rPr>
              <a:t>2</a:t>
            </a:r>
            <a:endParaRPr lang="en-GB" sz="2000" noProof="0" dirty="0">
              <a:latin typeface="Neue Frutiger World" panose="020B0603040304020203" pitchFamily="34" charset="0"/>
              <a:cs typeface="Neue Frutiger World" panose="020B0603040304020203" pitchFamily="34" charset="0"/>
            </a:endParaRPr>
          </a:p>
        </p:txBody>
      </p:sp>
      <p:sp>
        <p:nvSpPr>
          <p:cNvPr id="4" name="Slide Number Placeholder 3">
            <a:extLst>
              <a:ext uri="{FF2B5EF4-FFF2-40B4-BE49-F238E27FC236}">
                <a16:creationId xmlns:a16="http://schemas.microsoft.com/office/drawing/2014/main" id="{483ACA8D-9ACB-4DD3-A7CA-1F4C1491EEF6}"/>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13</a:t>
            </a:fld>
            <a:endParaRPr lang="en-US" noProof="0" dirty="0">
              <a:latin typeface="Neue Frutiger World" panose="020B0603040304020203" pitchFamily="34" charset="0"/>
              <a:cs typeface="Neue Frutiger World" panose="020B0603040304020203" pitchFamily="34" charset="0"/>
            </a:endParaRPr>
          </a:p>
        </p:txBody>
      </p:sp>
      <p:sp>
        <p:nvSpPr>
          <p:cNvPr id="6" name="object 3">
            <a:extLst>
              <a:ext uri="{FF2B5EF4-FFF2-40B4-BE49-F238E27FC236}">
                <a16:creationId xmlns:a16="http://schemas.microsoft.com/office/drawing/2014/main" id="{B4D573D5-5D4C-41EA-A42B-CF9966BA7DC2}"/>
              </a:ext>
            </a:extLst>
          </p:cNvPr>
          <p:cNvSpPr txBox="1"/>
          <p:nvPr/>
        </p:nvSpPr>
        <p:spPr>
          <a:xfrm>
            <a:off x="1547664" y="699542"/>
            <a:ext cx="2848455" cy="1526765"/>
          </a:xfrm>
          <a:prstGeom prst="rect">
            <a:avLst/>
          </a:prstGeom>
        </p:spPr>
        <p:txBody>
          <a:bodyPr vert="horz" wrap="square" lIns="0" tIns="92710" rIns="0" bIns="0" rtlCol="0">
            <a:spAutoFit/>
          </a:bodyPr>
          <a:lstStyle/>
          <a:p>
            <a:pPr marL="12699">
              <a:spcBef>
                <a:spcPts val="730"/>
              </a:spcBef>
            </a:pPr>
            <a:r>
              <a:rPr sz="1300" b="1" dirty="0">
                <a:solidFill>
                  <a:srgbClr val="231F20"/>
                </a:solidFill>
                <a:latin typeface="Neue Frutiger World" panose="020B0603040304020203" pitchFamily="34" charset="0"/>
                <a:cs typeface="Neue Frutiger World" panose="020B0603040304020203" pitchFamily="34" charset="0"/>
              </a:rPr>
              <a:t>Open ended</a:t>
            </a:r>
            <a:r>
              <a:rPr sz="1300" b="1" spc="5"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question:</a:t>
            </a:r>
            <a:endParaRPr sz="1300" dirty="0">
              <a:latin typeface="Neue Frutiger World" panose="020B0603040304020203" pitchFamily="34" charset="0"/>
              <a:cs typeface="Neue Frutiger World" panose="020B0603040304020203" pitchFamily="34" charset="0"/>
            </a:endParaRPr>
          </a:p>
          <a:p>
            <a:pPr marL="12699">
              <a:spcBef>
                <a:spcPts val="390"/>
              </a:spcBef>
            </a:pPr>
            <a:r>
              <a:rPr sz="800" spc="-5" dirty="0">
                <a:solidFill>
                  <a:srgbClr val="231F20"/>
                </a:solidFill>
                <a:latin typeface="Neue Frutiger World" panose="020B0603040304020203" pitchFamily="34" charset="0"/>
                <a:cs typeface="Neue Frutiger World" panose="020B0603040304020203" pitchFamily="34" charset="0"/>
              </a:rPr>
              <a:t>How</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oes</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r</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linic</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staff</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urrently</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termin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f</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ic</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fection?</a:t>
            </a:r>
            <a:endParaRPr sz="800" dirty="0">
              <a:latin typeface="Neue Frutiger World" panose="020B0603040304020203" pitchFamily="34" charset="0"/>
              <a:cs typeface="Neue Frutiger World" panose="020B0603040304020203" pitchFamily="34" charset="0"/>
            </a:endParaRPr>
          </a:p>
          <a:p>
            <a:pPr>
              <a:lnSpc>
                <a:spcPct val="100000"/>
              </a:lnSpc>
            </a:pPr>
            <a:endParaRPr sz="900" dirty="0">
              <a:latin typeface="Neue Frutiger World" panose="020B0603040304020203" pitchFamily="34" charset="0"/>
              <a:cs typeface="Neue Frutiger World" panose="020B0603040304020203" pitchFamily="34" charset="0"/>
            </a:endParaRPr>
          </a:p>
          <a:p>
            <a:pPr>
              <a:spcBef>
                <a:spcPts val="10"/>
              </a:spcBef>
            </a:pPr>
            <a:endParaRPr sz="1050" dirty="0">
              <a:latin typeface="Neue Frutiger World" panose="020B0603040304020203" pitchFamily="34" charset="0"/>
              <a:cs typeface="Neue Frutiger World" panose="020B0603040304020203" pitchFamily="34" charset="0"/>
            </a:endParaRPr>
          </a:p>
          <a:p>
            <a:pPr marL="12699"/>
            <a:r>
              <a:rPr sz="1300" b="1" spc="-15" dirty="0">
                <a:solidFill>
                  <a:srgbClr val="231F20"/>
                </a:solidFill>
                <a:latin typeface="Neue Frutiger World" panose="020B0603040304020203" pitchFamily="34" charset="0"/>
                <a:cs typeface="Neue Frutiger World" panose="020B0603040304020203" pitchFamily="34" charset="0"/>
              </a:rPr>
              <a:t>Potential</a:t>
            </a:r>
            <a:r>
              <a:rPr sz="1300" b="1" spc="25" dirty="0">
                <a:solidFill>
                  <a:srgbClr val="231F20"/>
                </a:solidFill>
                <a:latin typeface="Neue Frutiger World" panose="020B0603040304020203" pitchFamily="34" charset="0"/>
                <a:cs typeface="Neue Frutiger World" panose="020B0603040304020203" pitchFamily="34" charset="0"/>
              </a:rPr>
              <a:t> </a:t>
            </a:r>
            <a:r>
              <a:rPr sz="1300" b="1" dirty="0">
                <a:solidFill>
                  <a:srgbClr val="231F20"/>
                </a:solidFill>
                <a:latin typeface="Neue Frutiger World" panose="020B0603040304020203" pitchFamily="34" charset="0"/>
                <a:cs typeface="Neue Frutiger World" panose="020B0603040304020203" pitchFamily="34" charset="0"/>
              </a:rPr>
              <a:t>physician</a:t>
            </a:r>
            <a:r>
              <a:rPr sz="1300" b="1" spc="30"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12699" marR="5079">
              <a:lnSpc>
                <a:spcPct val="104200"/>
              </a:lnSpc>
              <a:spcBef>
                <a:spcPts val="350"/>
              </a:spcBef>
            </a:pPr>
            <a:r>
              <a:rPr sz="800" spc="10" dirty="0">
                <a:solidFill>
                  <a:srgbClr val="231F20"/>
                </a:solidFill>
                <a:latin typeface="Neue Frutiger World" panose="020B0603040304020203" pitchFamily="34" charset="0"/>
                <a:cs typeface="Neue Frutiger World" panose="020B0603040304020203" pitchFamily="34" charset="0"/>
              </a:rPr>
              <a:t>My</a:t>
            </a:r>
            <a:r>
              <a:rPr sz="800" spc="-1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staff</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egularl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hecks</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every</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or redness</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r</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welling.</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ls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k</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f</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y</a:t>
            </a:r>
            <a:r>
              <a:rPr sz="800" spc="-2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feel</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any</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ain</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ound</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endParaRPr sz="800" dirty="0">
              <a:latin typeface="Neue Frutiger World" panose="020B0603040304020203" pitchFamily="34" charset="0"/>
              <a:cs typeface="Neue Frutiger World" panose="020B0603040304020203" pitchFamily="34" charset="0"/>
            </a:endParaRPr>
          </a:p>
        </p:txBody>
      </p:sp>
      <p:sp>
        <p:nvSpPr>
          <p:cNvPr id="7" name="object 4">
            <a:extLst>
              <a:ext uri="{FF2B5EF4-FFF2-40B4-BE49-F238E27FC236}">
                <a16:creationId xmlns:a16="http://schemas.microsoft.com/office/drawing/2014/main" id="{7A9615F6-4854-45BF-9212-6D5CEA8F61E5}"/>
              </a:ext>
            </a:extLst>
          </p:cNvPr>
          <p:cNvSpPr txBox="1"/>
          <p:nvPr/>
        </p:nvSpPr>
        <p:spPr>
          <a:xfrm>
            <a:off x="4478954" y="694768"/>
            <a:ext cx="4341518" cy="4094391"/>
          </a:xfrm>
          <a:prstGeom prst="rect">
            <a:avLst/>
          </a:prstGeom>
        </p:spPr>
        <p:txBody>
          <a:bodyPr vert="horz" wrap="square" lIns="0" tIns="92710" rIns="0" bIns="0" rtlCol="0">
            <a:spAutoFit/>
          </a:bodyPr>
          <a:lstStyle/>
          <a:p>
            <a:pPr marL="76194">
              <a:spcBef>
                <a:spcPts val="730"/>
              </a:spcBef>
            </a:pPr>
            <a:r>
              <a:rPr sz="1300" b="1" spc="-5" dirty="0">
                <a:solidFill>
                  <a:srgbClr val="231F20"/>
                </a:solidFill>
                <a:latin typeface="Neue Frutiger World" panose="020B0603040304020203" pitchFamily="34" charset="0"/>
                <a:cs typeface="Neue Frutiger World" panose="020B0603040304020203" pitchFamily="34" charset="0"/>
              </a:rPr>
              <a:t>Rep</a:t>
            </a:r>
            <a:r>
              <a:rPr sz="1300" b="1"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76194" marR="68574">
              <a:lnSpc>
                <a:spcPct val="104200"/>
              </a:lnSpc>
              <a:spcBef>
                <a:spcPts val="350"/>
              </a:spcBef>
            </a:pPr>
            <a:r>
              <a:rPr sz="800" spc="-5" dirty="0">
                <a:solidFill>
                  <a:srgbClr val="231F20"/>
                </a:solidFill>
                <a:latin typeface="Neue Frutiger World" panose="020B0603040304020203" pitchFamily="34" charset="0"/>
                <a:cs typeface="Neue Frutiger World" panose="020B0603040304020203" pitchFamily="34" charset="0"/>
              </a:rPr>
              <a:t>While</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checking</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extremely</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mportant</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or </a:t>
            </a:r>
            <a:r>
              <a:rPr sz="800" spc="-5" dirty="0">
                <a:solidFill>
                  <a:srgbClr val="231F20"/>
                </a:solidFill>
                <a:latin typeface="Neue Frutiger World" panose="020B0603040304020203" pitchFamily="34" charset="0"/>
                <a:cs typeface="Neue Frutiger World" panose="020B0603040304020203" pitchFamily="34" charset="0"/>
              </a:rPr>
              <a:t>ruling</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ou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oe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ule</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ou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ic</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s</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hich</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n</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very</a:t>
            </a:r>
            <a:r>
              <a:rPr sz="800" spc="-1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difficult</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agnos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n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tud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howed</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72%</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lang="en-GB"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s</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ith</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mptom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limited</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ads</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ith</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sitiv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blood</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ultures.</a:t>
            </a:r>
            <a:r>
              <a:rPr sz="800" spc="-7" baseline="30864" dirty="0">
                <a:solidFill>
                  <a:srgbClr val="231F20"/>
                </a:solidFill>
                <a:latin typeface="Neue Frutiger World" panose="020B0603040304020203" pitchFamily="34" charset="0"/>
                <a:cs typeface="Neue Frutiger World" panose="020B0603040304020203" pitchFamily="34" charset="0"/>
              </a:rPr>
              <a:t>6</a:t>
            </a:r>
            <a:r>
              <a:rPr sz="800" spc="104" baseline="30864"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other</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tud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howed</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70%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patients</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resented </a:t>
            </a:r>
            <a:r>
              <a:rPr sz="800" spc="-5" dirty="0">
                <a:solidFill>
                  <a:srgbClr val="231F20"/>
                </a:solidFill>
                <a:latin typeface="Neue Frutiger World" panose="020B0603040304020203" pitchFamily="34" charset="0"/>
                <a:cs typeface="Neue Frutiger World" panose="020B0603040304020203" pitchFamily="34" charset="0"/>
              </a:rPr>
              <a:t>with</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taphylococcu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ureus</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bacteremia</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SAB),</a:t>
            </a:r>
            <a:r>
              <a:rPr lang="en-GB"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lso</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d</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ed</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s</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hen</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y</a:t>
            </a:r>
            <a:r>
              <a:rPr sz="800" spc="-3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wer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hecked.</a:t>
            </a:r>
            <a:r>
              <a:rPr sz="800" spc="-7" baseline="30864" dirty="0">
                <a:solidFill>
                  <a:srgbClr val="231F20"/>
                </a:solidFill>
                <a:latin typeface="Neue Frutiger World" panose="020B0603040304020203" pitchFamily="34" charset="0"/>
                <a:cs typeface="Neue Frutiger World" panose="020B0603040304020203" pitchFamily="34" charset="0"/>
              </a:rPr>
              <a:t>13</a:t>
            </a:r>
            <a:r>
              <a:rPr sz="800" spc="150" baseline="30864"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60%</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s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d</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n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linically</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detectabl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igns</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near</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generator</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ocket.</a:t>
            </a:r>
            <a:endParaRPr lang="nl-BE" sz="800" dirty="0">
              <a:latin typeface="Neue Frutiger World" panose="020B0603040304020203" pitchFamily="34" charset="0"/>
              <a:cs typeface="Neue Frutiger World" panose="020B0603040304020203" pitchFamily="34" charset="0"/>
            </a:endParaRPr>
          </a:p>
          <a:p>
            <a:pPr marL="76194" marR="68574">
              <a:lnSpc>
                <a:spcPct val="104200"/>
              </a:lnSpc>
              <a:spcBef>
                <a:spcPts val="350"/>
              </a:spcBef>
            </a:pPr>
            <a:br>
              <a:rPr lang="nl-BE" sz="800" spc="-5" dirty="0">
                <a:solidFill>
                  <a:srgbClr val="231F20"/>
                </a:solidFill>
                <a:latin typeface="Neue Frutiger World" panose="020B0603040304020203" pitchFamily="34" charset="0"/>
                <a:cs typeface="Neue Frutiger World" panose="020B0603040304020203" pitchFamily="34" charset="0"/>
              </a:rPr>
            </a:br>
            <a:r>
              <a:rPr lang="en-GB" sz="800" spc="-5" dirty="0">
                <a:solidFill>
                  <a:srgbClr val="231F20"/>
                </a:solidFill>
                <a:latin typeface="Neue Frutiger World" panose="020B0603040304020203" pitchFamily="34" charset="0"/>
                <a:cs typeface="Neue Frutiger World" panose="020B0603040304020203" pitchFamily="34" charset="0"/>
              </a:rPr>
              <a:t>Vigilance is important in finding potentially dangerous infections. It is necessary to be</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highl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uspicious</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any</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15" dirty="0">
                <a:solidFill>
                  <a:srgbClr val="231F20"/>
                </a:solidFill>
                <a:latin typeface="Neue Frutiger World" panose="020B0603040304020203" pitchFamily="34" charset="0"/>
                <a:cs typeface="Neue Frutiger World" panose="020B0603040304020203" pitchFamily="34" charset="0"/>
              </a:rPr>
              <a:t>who</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d</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lso</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IED</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Eve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f</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a:t>
            </a:r>
            <a:r>
              <a:rPr lang="en-GB" sz="800" spc="-10" dirty="0">
                <a:solidFill>
                  <a:srgbClr val="231F20"/>
                </a:solidFill>
                <a:latin typeface="Neue Frutiger World" panose="020B0603040304020203" pitchFamily="34" charset="0"/>
                <a:cs typeface="Neue Frutiger World" panose="020B0603040304020203" pitchFamily="34" charset="0"/>
              </a:rPr>
              <a:t> suspected as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main</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ource</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of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fection,</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r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igh</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likelihood</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may</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ed</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ell.</a:t>
            </a:r>
            <a:r>
              <a:rPr lang="en-GB" sz="800" baseline="30000" dirty="0">
                <a:solidFill>
                  <a:srgbClr val="231F20"/>
                </a:solidFill>
                <a:latin typeface="Neue Frutiger World" panose="020B0603040304020203" pitchFamily="34" charset="0"/>
                <a:cs typeface="Neue Frutiger World" panose="020B0603040304020203" pitchFamily="34" charset="0"/>
              </a:rPr>
              <a:t>6</a:t>
            </a:r>
            <a:endParaRPr lang="nl-BE" sz="800" baseline="30000" dirty="0">
              <a:latin typeface="Neue Frutiger World" panose="020B0603040304020203" pitchFamily="34" charset="0"/>
              <a:cs typeface="Neue Frutiger World" panose="020B0603040304020203" pitchFamily="34" charset="0"/>
            </a:endParaRPr>
          </a:p>
          <a:p>
            <a:pPr marL="76194" marR="68574">
              <a:lnSpc>
                <a:spcPct val="104200"/>
              </a:lnSpc>
              <a:spcBef>
                <a:spcPts val="350"/>
              </a:spcBef>
            </a:pPr>
            <a:br>
              <a:rPr lang="nl-BE" sz="800" spc="-20" dirty="0">
                <a:solidFill>
                  <a:srgbClr val="00A9EB"/>
                </a:solidFill>
                <a:latin typeface="Neue Frutiger World" panose="020B0603040304020203" pitchFamily="34" charset="0"/>
                <a:cs typeface="Neue Frutiger World" panose="020B0603040304020203" pitchFamily="34" charset="0"/>
              </a:rPr>
            </a:br>
            <a:r>
              <a:rPr sz="800" spc="-20" dirty="0">
                <a:solidFill>
                  <a:srgbClr val="00A9EB"/>
                </a:solidFill>
                <a:latin typeface="Neue Frutiger World" panose="020B0603040304020203" pitchFamily="34" charset="0"/>
                <a:cs typeface="Neue Frutiger World" panose="020B0603040304020203" pitchFamily="34" charset="0"/>
              </a:rPr>
              <a:t>Your</a:t>
            </a:r>
            <a:r>
              <a:rPr sz="800" spc="-10" dirty="0">
                <a:solidFill>
                  <a:srgbClr val="00A9EB"/>
                </a:solidFill>
                <a:latin typeface="Neue Frutiger World" panose="020B0603040304020203" pitchFamily="34" charset="0"/>
                <a:cs typeface="Neue Frutiger World" panose="020B0603040304020203" pitchFamily="34" charset="0"/>
              </a:rPr>
              <a:t> </a:t>
            </a:r>
            <a:r>
              <a:rPr sz="800" spc="-5" dirty="0">
                <a:solidFill>
                  <a:srgbClr val="00A9EB"/>
                </a:solidFill>
                <a:latin typeface="Neue Frutiger World" panose="020B0603040304020203" pitchFamily="34" charset="0"/>
                <a:cs typeface="Neue Frutiger World" panose="020B0603040304020203" pitchFamily="34" charset="0"/>
              </a:rPr>
              <a:t>device</a:t>
            </a:r>
            <a:r>
              <a:rPr sz="800" spc="10" dirty="0">
                <a:solidFill>
                  <a:srgbClr val="00A9EB"/>
                </a:solidFill>
                <a:latin typeface="Neue Frutiger World" panose="020B0603040304020203" pitchFamily="34" charset="0"/>
                <a:cs typeface="Neue Frutiger World" panose="020B0603040304020203" pitchFamily="34" charset="0"/>
              </a:rPr>
              <a:t> </a:t>
            </a:r>
            <a:r>
              <a:rPr sz="800" spc="-5" dirty="0">
                <a:solidFill>
                  <a:srgbClr val="00A9EB"/>
                </a:solidFill>
                <a:latin typeface="Neue Frutiger World" panose="020B0603040304020203" pitchFamily="34" charset="0"/>
                <a:cs typeface="Neue Frutiger World" panose="020B0603040304020203" pitchFamily="34" charset="0"/>
              </a:rPr>
              <a:t>clinic</a:t>
            </a:r>
            <a:r>
              <a:rPr sz="800" spc="10" dirty="0">
                <a:solidFill>
                  <a:srgbClr val="00A9EB"/>
                </a:solidFill>
                <a:latin typeface="Neue Frutiger World" panose="020B0603040304020203" pitchFamily="34" charset="0"/>
                <a:cs typeface="Neue Frutiger World" panose="020B0603040304020203" pitchFamily="34" charset="0"/>
              </a:rPr>
              <a:t> </a:t>
            </a:r>
            <a:r>
              <a:rPr sz="800" spc="-10" dirty="0">
                <a:solidFill>
                  <a:srgbClr val="00A9EB"/>
                </a:solidFill>
                <a:latin typeface="Neue Frutiger World" panose="020B0603040304020203" pitchFamily="34" charset="0"/>
                <a:cs typeface="Neue Frutiger World" panose="020B0603040304020203" pitchFamily="34" charset="0"/>
              </a:rPr>
              <a:t>is</a:t>
            </a:r>
            <a:r>
              <a:rPr sz="800" spc="5" dirty="0">
                <a:solidFill>
                  <a:srgbClr val="00A9EB"/>
                </a:solidFill>
                <a:latin typeface="Neue Frutiger World" panose="020B0603040304020203" pitchFamily="34" charset="0"/>
                <a:cs typeface="Neue Frutiger World" panose="020B0603040304020203" pitchFamily="34" charset="0"/>
              </a:rPr>
              <a:t> </a:t>
            </a:r>
            <a:r>
              <a:rPr sz="800" spc="-10" dirty="0">
                <a:solidFill>
                  <a:srgbClr val="00A9EB"/>
                </a:solidFill>
                <a:latin typeface="Neue Frutiger World" panose="020B0603040304020203" pitchFamily="34" charset="0"/>
                <a:cs typeface="Neue Frutiger World" panose="020B0603040304020203" pitchFamily="34" charset="0"/>
              </a:rPr>
              <a:t>the</a:t>
            </a:r>
            <a:r>
              <a:rPr sz="800" spc="5" dirty="0">
                <a:solidFill>
                  <a:srgbClr val="00A9EB"/>
                </a:solidFill>
                <a:latin typeface="Neue Frutiger World" panose="020B0603040304020203" pitchFamily="34" charset="0"/>
                <a:cs typeface="Neue Frutiger World" panose="020B0603040304020203" pitchFamily="34" charset="0"/>
              </a:rPr>
              <a:t> </a:t>
            </a:r>
            <a:r>
              <a:rPr sz="800" spc="-20" dirty="0">
                <a:solidFill>
                  <a:srgbClr val="00A9EB"/>
                </a:solidFill>
                <a:latin typeface="Neue Frutiger World" panose="020B0603040304020203" pitchFamily="34" charset="0"/>
                <a:cs typeface="Neue Frutiger World" panose="020B0603040304020203" pitchFamily="34" charset="0"/>
              </a:rPr>
              <a:t>first</a:t>
            </a:r>
            <a:r>
              <a:rPr sz="800" spc="15" dirty="0">
                <a:solidFill>
                  <a:srgbClr val="00A9EB"/>
                </a:solidFill>
                <a:latin typeface="Neue Frutiger World" panose="020B0603040304020203" pitchFamily="34" charset="0"/>
                <a:cs typeface="Neue Frutiger World" panose="020B0603040304020203" pitchFamily="34" charset="0"/>
              </a:rPr>
              <a:t> </a:t>
            </a:r>
            <a:r>
              <a:rPr sz="800" spc="-5" dirty="0">
                <a:solidFill>
                  <a:srgbClr val="00A9EB"/>
                </a:solidFill>
                <a:latin typeface="Neue Frutiger World" panose="020B0603040304020203" pitchFamily="34" charset="0"/>
                <a:cs typeface="Neue Frutiger World" panose="020B0603040304020203" pitchFamily="34" charset="0"/>
              </a:rPr>
              <a:t>line</a:t>
            </a:r>
            <a:r>
              <a:rPr sz="800" spc="10" dirty="0">
                <a:solidFill>
                  <a:srgbClr val="00A9EB"/>
                </a:solidFill>
                <a:latin typeface="Neue Frutiger World" panose="020B0603040304020203" pitchFamily="34" charset="0"/>
                <a:cs typeface="Neue Frutiger World" panose="020B0603040304020203" pitchFamily="34" charset="0"/>
              </a:rPr>
              <a:t> </a:t>
            </a:r>
            <a:r>
              <a:rPr sz="800" dirty="0">
                <a:solidFill>
                  <a:srgbClr val="00A9EB"/>
                </a:solidFill>
                <a:latin typeface="Neue Frutiger World" panose="020B0603040304020203" pitchFamily="34" charset="0"/>
                <a:cs typeface="Neue Frutiger World" panose="020B0603040304020203" pitchFamily="34" charset="0"/>
              </a:rPr>
              <a:t>of</a:t>
            </a:r>
            <a:r>
              <a:rPr sz="800" spc="-10" dirty="0">
                <a:solidFill>
                  <a:srgbClr val="00A9EB"/>
                </a:solidFill>
                <a:latin typeface="Neue Frutiger World" panose="020B0603040304020203" pitchFamily="34" charset="0"/>
                <a:cs typeface="Neue Frutiger World" panose="020B0603040304020203" pitchFamily="34" charset="0"/>
              </a:rPr>
              <a:t> </a:t>
            </a:r>
            <a:r>
              <a:rPr sz="800" spc="-5" dirty="0">
                <a:solidFill>
                  <a:srgbClr val="00A9EB"/>
                </a:solidFill>
                <a:latin typeface="Neue Frutiger World" panose="020B0603040304020203" pitchFamily="34" charset="0"/>
                <a:cs typeface="Neue Frutiger World" panose="020B0603040304020203" pitchFamily="34" charset="0"/>
              </a:rPr>
              <a:t>defense</a:t>
            </a:r>
            <a:r>
              <a:rPr sz="800" spc="5" dirty="0">
                <a:solidFill>
                  <a:srgbClr val="00A9EB"/>
                </a:solidFill>
                <a:latin typeface="Neue Frutiger World" panose="020B0603040304020203" pitchFamily="34" charset="0"/>
                <a:cs typeface="Neue Frutiger World" panose="020B0603040304020203" pitchFamily="34" charset="0"/>
              </a:rPr>
              <a:t> </a:t>
            </a:r>
            <a:r>
              <a:rPr sz="800" spc="-10" dirty="0">
                <a:solidFill>
                  <a:srgbClr val="00A9EB"/>
                </a:solidFill>
                <a:latin typeface="Neue Frutiger World" panose="020B0603040304020203" pitchFamily="34" charset="0"/>
                <a:cs typeface="Neue Frutiger World" panose="020B0603040304020203" pitchFamily="34" charset="0"/>
              </a:rPr>
              <a:t>for </a:t>
            </a:r>
            <a:r>
              <a:rPr sz="800" spc="-5" dirty="0">
                <a:solidFill>
                  <a:srgbClr val="00A9EB"/>
                </a:solidFill>
                <a:latin typeface="Neue Frutiger World" panose="020B0603040304020203" pitchFamily="34" charset="0"/>
                <a:cs typeface="Neue Frutiger World" panose="020B0603040304020203" pitchFamily="34" charset="0"/>
              </a:rPr>
              <a:t>identifying</a:t>
            </a:r>
            <a:r>
              <a:rPr sz="800" spc="10" dirty="0">
                <a:solidFill>
                  <a:srgbClr val="00A9EB"/>
                </a:solidFill>
                <a:latin typeface="Neue Frutiger World" panose="020B0603040304020203" pitchFamily="34" charset="0"/>
                <a:cs typeface="Neue Frutiger World" panose="020B0603040304020203" pitchFamily="34" charset="0"/>
              </a:rPr>
              <a:t> </a:t>
            </a:r>
            <a:r>
              <a:rPr sz="800" spc="-5" dirty="0">
                <a:solidFill>
                  <a:srgbClr val="00A9EB"/>
                </a:solidFill>
                <a:latin typeface="Neue Frutiger World" panose="020B0603040304020203" pitchFamily="34" charset="0"/>
                <a:cs typeface="Neue Frutiger World" panose="020B0603040304020203" pitchFamily="34" charset="0"/>
              </a:rPr>
              <a:t>these</a:t>
            </a:r>
            <a:r>
              <a:rPr sz="800" spc="10" dirty="0">
                <a:solidFill>
                  <a:srgbClr val="00A9EB"/>
                </a:solidFill>
                <a:latin typeface="Neue Frutiger World" panose="020B0603040304020203" pitchFamily="34" charset="0"/>
                <a:cs typeface="Neue Frutiger World" panose="020B0603040304020203" pitchFamily="34" charset="0"/>
              </a:rPr>
              <a:t> </a:t>
            </a:r>
            <a:r>
              <a:rPr sz="800" spc="-10" dirty="0">
                <a:solidFill>
                  <a:srgbClr val="00A9EB"/>
                </a:solidFill>
                <a:latin typeface="Neue Frutiger World" panose="020B0603040304020203" pitchFamily="34" charset="0"/>
                <a:cs typeface="Neue Frutiger World" panose="020B0603040304020203" pitchFamily="34" charset="0"/>
              </a:rPr>
              <a:t>patients.</a:t>
            </a:r>
            <a:r>
              <a:rPr sz="800" spc="10" dirty="0">
                <a:solidFill>
                  <a:srgbClr val="00A9EB"/>
                </a:solidFill>
                <a:latin typeface="Neue Frutiger World" panose="020B0603040304020203" pitchFamily="34" charset="0"/>
                <a:cs typeface="Neue Frutiger World" panose="020B0603040304020203" pitchFamily="34" charset="0"/>
              </a:rPr>
              <a:t> </a:t>
            </a:r>
            <a:r>
              <a:rPr sz="800" spc="-5" dirty="0">
                <a:solidFill>
                  <a:srgbClr val="00A9EB"/>
                </a:solidFill>
                <a:latin typeface="Neue Frutiger World" panose="020B0603040304020203" pitchFamily="34" charset="0"/>
                <a:cs typeface="Neue Frutiger World" panose="020B0603040304020203" pitchFamily="34" charset="0"/>
              </a:rPr>
              <a:t>If</a:t>
            </a:r>
            <a:r>
              <a:rPr sz="800" spc="-10" dirty="0">
                <a:solidFill>
                  <a:srgbClr val="00A9EB"/>
                </a:solidFill>
                <a:latin typeface="Neue Frutiger World" panose="020B0603040304020203" pitchFamily="34" charset="0"/>
                <a:cs typeface="Neue Frutiger World" panose="020B0603040304020203" pitchFamily="34" charset="0"/>
              </a:rPr>
              <a:t> </a:t>
            </a:r>
            <a:r>
              <a:rPr sz="800" spc="-15" dirty="0">
                <a:solidFill>
                  <a:srgbClr val="00A9EB"/>
                </a:solidFill>
                <a:latin typeface="Neue Frutiger World" panose="020B0603040304020203" pitchFamily="34" charset="0"/>
                <a:cs typeface="Neue Frutiger World" panose="020B0603040304020203" pitchFamily="34" charset="0"/>
              </a:rPr>
              <a:t>its</a:t>
            </a:r>
            <a:r>
              <a:rPr sz="800" spc="10" dirty="0">
                <a:solidFill>
                  <a:srgbClr val="00A9EB"/>
                </a:solidFill>
                <a:latin typeface="Neue Frutiger World" panose="020B0603040304020203" pitchFamily="34" charset="0"/>
                <a:cs typeface="Neue Frutiger World" panose="020B0603040304020203" pitchFamily="34" charset="0"/>
              </a:rPr>
              <a:t> </a:t>
            </a:r>
            <a:r>
              <a:rPr sz="800" spc="-5" dirty="0">
                <a:solidFill>
                  <a:srgbClr val="00A9EB"/>
                </a:solidFill>
                <a:latin typeface="Neue Frutiger World" panose="020B0603040304020203" pitchFamily="34" charset="0"/>
                <a:cs typeface="Neue Frutiger World" panose="020B0603040304020203" pitchFamily="34" charset="0"/>
              </a:rPr>
              <a:t>ok</a:t>
            </a:r>
            <a:r>
              <a:rPr sz="800" spc="-10" dirty="0">
                <a:solidFill>
                  <a:srgbClr val="00A9EB"/>
                </a:solidFill>
                <a:latin typeface="Neue Frutiger World" panose="020B0603040304020203" pitchFamily="34" charset="0"/>
                <a:cs typeface="Neue Frutiger World" panose="020B0603040304020203" pitchFamily="34" charset="0"/>
              </a:rPr>
              <a:t> </a:t>
            </a:r>
            <a:r>
              <a:rPr sz="800" spc="-5" dirty="0">
                <a:solidFill>
                  <a:srgbClr val="00A9EB"/>
                </a:solidFill>
                <a:latin typeface="Neue Frutiger World" panose="020B0603040304020203" pitchFamily="34" charset="0"/>
                <a:cs typeface="Neue Frutiger World" panose="020B0603040304020203" pitchFamily="34" charset="0"/>
              </a:rPr>
              <a:t>with</a:t>
            </a:r>
            <a:r>
              <a:rPr lang="en-GB" sz="800" spc="-5" dirty="0">
                <a:solidFill>
                  <a:srgbClr val="00A9EB"/>
                </a:solidFill>
                <a:latin typeface="Neue Frutiger World" panose="020B0603040304020203" pitchFamily="34" charset="0"/>
                <a:cs typeface="Neue Frutiger World" panose="020B0603040304020203" pitchFamily="34" charset="0"/>
              </a:rPr>
              <a:t> </a:t>
            </a:r>
            <a:r>
              <a:rPr sz="800" dirty="0">
                <a:solidFill>
                  <a:srgbClr val="00A9EB"/>
                </a:solidFill>
                <a:latin typeface="Neue Frutiger World" panose="020B0603040304020203" pitchFamily="34" charset="0"/>
                <a:cs typeface="Neue Frutiger World" panose="020B0603040304020203" pitchFamily="34" charset="0"/>
              </a:rPr>
              <a:t>you</a:t>
            </a:r>
            <a:r>
              <a:rPr sz="800" spc="10" dirty="0">
                <a:solidFill>
                  <a:srgbClr val="00A9EB"/>
                </a:solidFill>
                <a:latin typeface="Neue Frutiger World" panose="020B0603040304020203" pitchFamily="34" charset="0"/>
                <a:cs typeface="Neue Frutiger World" panose="020B0603040304020203" pitchFamily="34" charset="0"/>
              </a:rPr>
              <a:t> </a:t>
            </a:r>
            <a:r>
              <a:rPr sz="800" dirty="0">
                <a:solidFill>
                  <a:srgbClr val="00A9EB"/>
                </a:solidFill>
                <a:latin typeface="Neue Frutiger World" panose="020B0603040304020203" pitchFamily="34" charset="0"/>
                <a:cs typeface="Neue Frutiger World" panose="020B0603040304020203" pitchFamily="34" charset="0"/>
              </a:rPr>
              <a:t>I</a:t>
            </a:r>
            <a:r>
              <a:rPr sz="800" spc="-20" dirty="0">
                <a:solidFill>
                  <a:srgbClr val="00A9EB"/>
                </a:solidFill>
                <a:latin typeface="Neue Frutiger World" panose="020B0603040304020203" pitchFamily="34" charset="0"/>
                <a:cs typeface="Neue Frutiger World" panose="020B0603040304020203" pitchFamily="34" charset="0"/>
              </a:rPr>
              <a:t> </a:t>
            </a:r>
            <a:r>
              <a:rPr sz="800" dirty="0">
                <a:solidFill>
                  <a:srgbClr val="00A9EB"/>
                </a:solidFill>
                <a:latin typeface="Neue Frutiger World" panose="020B0603040304020203" pitchFamily="34" charset="0"/>
                <a:cs typeface="Neue Frutiger World" panose="020B0603040304020203" pitchFamily="34" charset="0"/>
              </a:rPr>
              <a:t>will</a:t>
            </a:r>
            <a:r>
              <a:rPr sz="800" spc="15" dirty="0">
                <a:solidFill>
                  <a:srgbClr val="00A9EB"/>
                </a:solidFill>
                <a:latin typeface="Neue Frutiger World" panose="020B0603040304020203" pitchFamily="34" charset="0"/>
                <a:cs typeface="Neue Frutiger World" panose="020B0603040304020203" pitchFamily="34" charset="0"/>
              </a:rPr>
              <a:t> </a:t>
            </a:r>
            <a:r>
              <a:rPr sz="800" spc="-10" dirty="0">
                <a:solidFill>
                  <a:srgbClr val="00A9EB"/>
                </a:solidFill>
                <a:latin typeface="Neue Frutiger World" panose="020B0603040304020203" pitchFamily="34" charset="0"/>
                <a:cs typeface="Neue Frutiger World" panose="020B0603040304020203" pitchFamily="34" charset="0"/>
              </a:rPr>
              <a:t>set</a:t>
            </a:r>
            <a:r>
              <a:rPr sz="800" spc="10" dirty="0">
                <a:solidFill>
                  <a:srgbClr val="00A9EB"/>
                </a:solidFill>
                <a:latin typeface="Neue Frutiger World" panose="020B0603040304020203" pitchFamily="34" charset="0"/>
                <a:cs typeface="Neue Frutiger World" panose="020B0603040304020203" pitchFamily="34" charset="0"/>
              </a:rPr>
              <a:t> </a:t>
            </a:r>
            <a:r>
              <a:rPr sz="800" spc="-5" dirty="0">
                <a:solidFill>
                  <a:srgbClr val="00A9EB"/>
                </a:solidFill>
                <a:latin typeface="Neue Frutiger World" panose="020B0603040304020203" pitchFamily="34" charset="0"/>
                <a:cs typeface="Neue Frutiger World" panose="020B0603040304020203" pitchFamily="34" charset="0"/>
              </a:rPr>
              <a:t>up</a:t>
            </a:r>
            <a:r>
              <a:rPr sz="800" spc="10" dirty="0">
                <a:solidFill>
                  <a:srgbClr val="00A9EB"/>
                </a:solidFill>
                <a:latin typeface="Neue Frutiger World" panose="020B0603040304020203" pitchFamily="34" charset="0"/>
                <a:cs typeface="Neue Frutiger World" panose="020B0603040304020203" pitchFamily="34" charset="0"/>
              </a:rPr>
              <a:t> </a:t>
            </a:r>
            <a:r>
              <a:rPr lang="en-GB" sz="800" spc="-5" dirty="0">
                <a:solidFill>
                  <a:srgbClr val="00A9EB"/>
                </a:solidFill>
                <a:latin typeface="Neue Frutiger World" panose="020B0603040304020203" pitchFamily="34" charset="0"/>
                <a:cs typeface="Neue Frutiger World" panose="020B0603040304020203" pitchFamily="34" charset="0"/>
              </a:rPr>
              <a:t>a meeting with your team to help them understand the </a:t>
            </a:r>
            <a:r>
              <a:rPr lang="en-GB" sz="800" i="1" spc="-5" dirty="0">
                <a:solidFill>
                  <a:srgbClr val="00A9EB"/>
                </a:solidFill>
                <a:latin typeface="Neue Frutiger World" panose="020B0603040304020203" pitchFamily="34" charset="0"/>
                <a:cs typeface="Neue Frutiger World" panose="020B0603040304020203" pitchFamily="34" charset="0"/>
              </a:rPr>
              <a:t>ris</a:t>
            </a:r>
            <a:r>
              <a:rPr sz="800" i="1" spc="-10" dirty="0">
                <a:solidFill>
                  <a:srgbClr val="00A9EB"/>
                </a:solidFill>
                <a:latin typeface="Neue Frutiger World" panose="020B0603040304020203" pitchFamily="34" charset="0"/>
                <a:cs typeface="Neue Frutiger World" panose="020B0603040304020203" pitchFamily="34" charset="0"/>
              </a:rPr>
              <a:t>ks</a:t>
            </a:r>
            <a:r>
              <a:rPr sz="800" i="1" spc="10" dirty="0">
                <a:solidFill>
                  <a:srgbClr val="00A9EB"/>
                </a:solidFill>
                <a:latin typeface="Neue Frutiger World" panose="020B0603040304020203" pitchFamily="34" charset="0"/>
                <a:cs typeface="Neue Frutiger World" panose="020B0603040304020203" pitchFamily="34" charset="0"/>
              </a:rPr>
              <a:t> </a:t>
            </a:r>
            <a:r>
              <a:rPr sz="800" spc="-5" dirty="0">
                <a:solidFill>
                  <a:srgbClr val="00A9EB"/>
                </a:solidFill>
                <a:latin typeface="Neue Frutiger World" panose="020B0603040304020203" pitchFamily="34" charset="0"/>
                <a:cs typeface="Neue Frutiger World" panose="020B0603040304020203" pitchFamily="34" charset="0"/>
              </a:rPr>
              <a:t>and</a:t>
            </a:r>
            <a:r>
              <a:rPr sz="800" spc="10" dirty="0">
                <a:solidFill>
                  <a:srgbClr val="00A9EB"/>
                </a:solidFill>
                <a:latin typeface="Neue Frutiger World" panose="020B0603040304020203" pitchFamily="34" charset="0"/>
                <a:cs typeface="Neue Frutiger World" panose="020B0603040304020203" pitchFamily="34" charset="0"/>
              </a:rPr>
              <a:t> </a:t>
            </a:r>
            <a:r>
              <a:rPr sz="800" i="1" spc="-5" dirty="0">
                <a:solidFill>
                  <a:srgbClr val="00A9EB"/>
                </a:solidFill>
                <a:latin typeface="Neue Frutiger World" panose="020B0603040304020203" pitchFamily="34" charset="0"/>
                <a:cs typeface="Neue Frutiger World" panose="020B0603040304020203" pitchFamily="34" charset="0"/>
              </a:rPr>
              <a:t>symptoms</a:t>
            </a:r>
            <a:r>
              <a:rPr lang="en-GB" sz="800" spc="-5" dirty="0">
                <a:solidFill>
                  <a:srgbClr val="00A9EB"/>
                </a:solidFill>
                <a:latin typeface="Neue Frutiger World" panose="020B0603040304020203" pitchFamily="34" charset="0"/>
                <a:cs typeface="Neue Frutiger World" panose="020B0603040304020203" pitchFamily="34" charset="0"/>
              </a:rPr>
              <a:t> </a:t>
            </a:r>
            <a:r>
              <a:rPr sz="800" dirty="0">
                <a:solidFill>
                  <a:srgbClr val="00A9EB"/>
                </a:solidFill>
                <a:latin typeface="Neue Frutiger World" panose="020B0603040304020203" pitchFamily="34" charset="0"/>
                <a:cs typeface="Neue Frutiger World" panose="020B0603040304020203" pitchFamily="34" charset="0"/>
              </a:rPr>
              <a:t>of</a:t>
            </a:r>
            <a:r>
              <a:rPr sz="800" spc="-20" dirty="0">
                <a:solidFill>
                  <a:srgbClr val="00A9EB"/>
                </a:solidFill>
                <a:latin typeface="Neue Frutiger World" panose="020B0603040304020203" pitchFamily="34" charset="0"/>
                <a:cs typeface="Neue Frutiger World" panose="020B0603040304020203" pitchFamily="34" charset="0"/>
              </a:rPr>
              <a:t> </a:t>
            </a:r>
            <a:r>
              <a:rPr sz="800" spc="-5" dirty="0">
                <a:solidFill>
                  <a:srgbClr val="00A9EB"/>
                </a:solidFill>
                <a:latin typeface="Neue Frutiger World" panose="020B0603040304020203" pitchFamily="34" charset="0"/>
                <a:cs typeface="Neue Frutiger World" panose="020B0603040304020203" pitchFamily="34" charset="0"/>
              </a:rPr>
              <a:t>infection:</a:t>
            </a:r>
            <a:endParaRPr sz="800" dirty="0">
              <a:latin typeface="Neue Frutiger World" panose="020B0603040304020203" pitchFamily="34" charset="0"/>
              <a:cs typeface="Neue Frutiger World" panose="020B0603040304020203" pitchFamily="34" charset="0"/>
            </a:endParaRPr>
          </a:p>
          <a:p>
            <a:pPr marL="177785" indent="-101592">
              <a:spcBef>
                <a:spcPts val="490"/>
              </a:spcBef>
              <a:buChar char="•"/>
              <a:tabLst>
                <a:tab pos="177785" algn="l"/>
              </a:tabLst>
            </a:pPr>
            <a:r>
              <a:rPr sz="800" spc="5" dirty="0">
                <a:solidFill>
                  <a:srgbClr val="231F20"/>
                </a:solidFill>
                <a:latin typeface="Neue Frutiger World" panose="020B0603040304020203" pitchFamily="34" charset="0"/>
                <a:cs typeface="Neue Frutiger World" panose="020B0603040304020203" pitchFamily="34" charset="0"/>
              </a:rPr>
              <a:t>31%</a:t>
            </a:r>
            <a:r>
              <a:rPr sz="800" spc="-5" dirty="0">
                <a:solidFill>
                  <a:srgbClr val="231F20"/>
                </a:solidFill>
                <a:latin typeface="Neue Frutiger World" panose="020B0603040304020203" pitchFamily="34" charset="0"/>
                <a:cs typeface="Neue Frutiger World" panose="020B0603040304020203" pitchFamily="34" charset="0"/>
              </a:rPr>
              <a:t> mortality</a:t>
            </a:r>
            <a:r>
              <a:rPr sz="800" spc="-3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rate</a:t>
            </a:r>
            <a:r>
              <a:rPr sz="800" spc="-10" dirty="0">
                <a:solidFill>
                  <a:srgbClr val="231F20"/>
                </a:solidFill>
                <a:latin typeface="Neue Frutiger World" panose="020B0603040304020203" pitchFamily="34" charset="0"/>
                <a:cs typeface="Neue Frutiger World" panose="020B0603040304020203" pitchFamily="34" charset="0"/>
              </a:rPr>
              <a:t> for</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ic infection</a:t>
            </a:r>
            <a:r>
              <a:rPr sz="800" spc="-7" baseline="30864" dirty="0">
                <a:solidFill>
                  <a:srgbClr val="231F20"/>
                </a:solidFill>
                <a:latin typeface="Neue Frutiger World" panose="020B0603040304020203" pitchFamily="34" charset="0"/>
                <a:cs typeface="Neue Frutiger World" panose="020B0603040304020203" pitchFamily="34" charset="0"/>
              </a:rPr>
              <a:t>12</a:t>
            </a:r>
            <a:endParaRPr sz="800" baseline="30864" dirty="0">
              <a:latin typeface="Neue Frutiger World" panose="020B0603040304020203" pitchFamily="34" charset="0"/>
              <a:cs typeface="Neue Frutiger World" panose="020B0603040304020203" pitchFamily="34" charset="0"/>
            </a:endParaRPr>
          </a:p>
          <a:p>
            <a:pPr marL="177785" indent="-101592">
              <a:spcBef>
                <a:spcPts val="490"/>
              </a:spcBef>
              <a:buChar char="•"/>
              <a:tabLst>
                <a:tab pos="177785" algn="l"/>
              </a:tabLst>
            </a:pPr>
            <a:r>
              <a:rPr sz="800" spc="-5" dirty="0">
                <a:solidFill>
                  <a:srgbClr val="231F20"/>
                </a:solidFill>
                <a:latin typeface="Neue Frutiger World" panose="020B0603040304020203" pitchFamily="34" charset="0"/>
                <a:cs typeface="Neue Frutiger World" panose="020B0603040304020203" pitchFamily="34" charset="0"/>
              </a:rPr>
              <a:t>Symptoms</a:t>
            </a:r>
            <a:r>
              <a:rPr sz="800" spc="-7" baseline="30864" dirty="0">
                <a:solidFill>
                  <a:srgbClr val="231F20"/>
                </a:solidFill>
                <a:latin typeface="Neue Frutiger World" panose="020B0603040304020203" pitchFamily="34" charset="0"/>
                <a:cs typeface="Neue Frutiger World" panose="020B0603040304020203" pitchFamily="34" charset="0"/>
              </a:rPr>
              <a:t>7</a:t>
            </a:r>
            <a:r>
              <a:rPr sz="800" spc="-5" dirty="0">
                <a:solidFill>
                  <a:srgbClr val="231F20"/>
                </a:solidFill>
                <a:latin typeface="Neue Frutiger World" panose="020B0603040304020203" pitchFamily="34" charset="0"/>
                <a:cs typeface="Neue Frutiger World" panose="020B0603040304020203" pitchFamily="34" charset="0"/>
              </a:rPr>
              <a:t>:</a:t>
            </a:r>
            <a:endParaRPr sz="800" dirty="0">
              <a:latin typeface="Neue Frutiger World" panose="020B0603040304020203" pitchFamily="34" charset="0"/>
              <a:cs typeface="Neue Frutiger World" panose="020B0603040304020203" pitchFamily="34" charset="0"/>
            </a:endParaRPr>
          </a:p>
          <a:p>
            <a:pPr marL="419065" lvl="1" indent="-126989">
              <a:spcBef>
                <a:spcPts val="275"/>
              </a:spcBef>
              <a:buFont typeface="Trebuchet MS"/>
              <a:buChar char="–"/>
              <a:tabLst>
                <a:tab pos="419065" algn="l"/>
              </a:tabLst>
            </a:pPr>
            <a:r>
              <a:rPr sz="800" spc="-10" dirty="0">
                <a:solidFill>
                  <a:srgbClr val="231F20"/>
                </a:solidFill>
                <a:latin typeface="Neue Frutiger World" panose="020B0603040304020203" pitchFamily="34" charset="0"/>
                <a:cs typeface="Neue Frutiger World" panose="020B0603040304020203" pitchFamily="34" charset="0"/>
              </a:rPr>
              <a:t>Fever/chills</a:t>
            </a:r>
            <a:endParaRPr sz="800" dirty="0">
              <a:latin typeface="Neue Frutiger World" panose="020B0603040304020203" pitchFamily="34" charset="0"/>
              <a:cs typeface="Neue Frutiger World" panose="020B0603040304020203" pitchFamily="34" charset="0"/>
            </a:endParaRPr>
          </a:p>
          <a:p>
            <a:pPr marL="419065" lvl="1" indent="-126989">
              <a:spcBef>
                <a:spcPts val="275"/>
              </a:spcBef>
              <a:buFont typeface="Trebuchet MS"/>
              <a:buChar char="–"/>
              <a:tabLst>
                <a:tab pos="419065" algn="l"/>
              </a:tabLst>
            </a:pPr>
            <a:r>
              <a:rPr sz="800" spc="-5" dirty="0">
                <a:solidFill>
                  <a:srgbClr val="231F20"/>
                </a:solidFill>
                <a:latin typeface="Neue Frutiger World" panose="020B0603040304020203" pitchFamily="34" charset="0"/>
                <a:cs typeface="Neue Frutiger World" panose="020B0603040304020203" pitchFamily="34" charset="0"/>
              </a:rPr>
              <a:t>Malaise</a:t>
            </a:r>
            <a:endParaRPr sz="800" dirty="0">
              <a:latin typeface="Neue Frutiger World" panose="020B0603040304020203" pitchFamily="34" charset="0"/>
              <a:cs typeface="Neue Frutiger World" panose="020B0603040304020203" pitchFamily="34" charset="0"/>
            </a:endParaRPr>
          </a:p>
          <a:p>
            <a:pPr marL="419065" lvl="1" indent="-126989">
              <a:spcBef>
                <a:spcPts val="275"/>
              </a:spcBef>
              <a:buFont typeface="Trebuchet MS"/>
              <a:buChar char="–"/>
              <a:tabLst>
                <a:tab pos="419065" algn="l"/>
              </a:tabLst>
            </a:pPr>
            <a:r>
              <a:rPr sz="800" spc="-5" dirty="0">
                <a:solidFill>
                  <a:srgbClr val="231F20"/>
                </a:solidFill>
                <a:latin typeface="Neue Frutiger World" panose="020B0603040304020203" pitchFamily="34" charset="0"/>
                <a:cs typeface="Neue Frutiger World" panose="020B0603040304020203" pitchFamily="34" charset="0"/>
              </a:rPr>
              <a:t>Nausea</a:t>
            </a:r>
            <a:endParaRPr sz="800" dirty="0">
              <a:latin typeface="Neue Frutiger World" panose="020B0603040304020203" pitchFamily="34" charset="0"/>
              <a:cs typeface="Neue Frutiger World" panose="020B0603040304020203" pitchFamily="34" charset="0"/>
            </a:endParaRPr>
          </a:p>
          <a:p>
            <a:pPr marL="419065" lvl="1" indent="-126989">
              <a:spcBef>
                <a:spcPts val="270"/>
              </a:spcBef>
              <a:buFont typeface="Trebuchet MS"/>
              <a:buChar char="–"/>
              <a:tabLst>
                <a:tab pos="419065" algn="l"/>
              </a:tabLst>
            </a:pPr>
            <a:r>
              <a:rPr sz="800" spc="-5" dirty="0">
                <a:solidFill>
                  <a:srgbClr val="231F20"/>
                </a:solidFill>
                <a:latin typeface="Neue Frutiger World" panose="020B0603040304020203" pitchFamily="34" charset="0"/>
                <a:cs typeface="Neue Frutiger World" panose="020B0603040304020203" pitchFamily="34" charset="0"/>
              </a:rPr>
              <a:t>Hypotension</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olic</a:t>
            </a:r>
            <a:r>
              <a:rPr sz="800" dirty="0">
                <a:solidFill>
                  <a:srgbClr val="231F20"/>
                </a:solidFill>
                <a:latin typeface="Neue Frutiger World" panose="020B0603040304020203" pitchFamily="34" charset="0"/>
                <a:cs typeface="Neue Frutiger World" panose="020B0603040304020203" pitchFamily="34" charset="0"/>
              </a:rPr>
              <a:t> </a:t>
            </a:r>
            <a:r>
              <a:rPr sz="800" spc="-25" dirty="0">
                <a:solidFill>
                  <a:srgbClr val="231F20"/>
                </a:solidFill>
                <a:latin typeface="Neue Frutiger World" panose="020B0603040304020203" pitchFamily="34" charset="0"/>
                <a:cs typeface="Neue Frutiger World" panose="020B0603040304020203" pitchFamily="34" charset="0"/>
              </a:rPr>
              <a:t>&lt;90</a:t>
            </a:r>
            <a:r>
              <a:rPr sz="800" dirty="0">
                <a:solidFill>
                  <a:srgbClr val="231F20"/>
                </a:solidFill>
                <a:latin typeface="Neue Frutiger World" panose="020B0603040304020203" pitchFamily="34" charset="0"/>
                <a:cs typeface="Neue Frutiger World" panose="020B0603040304020203" pitchFamily="34" charset="0"/>
              </a:rPr>
              <a:t> mm Hg)</a:t>
            </a:r>
            <a:endParaRPr sz="800" dirty="0">
              <a:latin typeface="Neue Frutiger World" panose="020B0603040304020203" pitchFamily="34" charset="0"/>
              <a:cs typeface="Neue Frutiger World" panose="020B0603040304020203" pitchFamily="34" charset="0"/>
            </a:endParaRPr>
          </a:p>
          <a:p>
            <a:pPr marL="419065" lvl="1" indent="-126989">
              <a:spcBef>
                <a:spcPts val="275"/>
              </a:spcBef>
              <a:buFont typeface="Trebuchet MS"/>
              <a:buChar char="–"/>
              <a:tabLst>
                <a:tab pos="419065" algn="l"/>
              </a:tabLst>
            </a:pPr>
            <a:r>
              <a:rPr sz="800" spc="-5" dirty="0">
                <a:solidFill>
                  <a:srgbClr val="231F20"/>
                </a:solidFill>
                <a:latin typeface="Neue Frutiger World" panose="020B0603040304020203" pitchFamily="34" charset="0"/>
                <a:cs typeface="Neue Frutiger World" panose="020B0603040304020203" pitchFamily="34" charset="0"/>
              </a:rPr>
              <a:t>Murmur</a:t>
            </a:r>
            <a:r>
              <a:rPr sz="800" spc="-4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n</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examination</a:t>
            </a:r>
            <a:endParaRPr sz="800" dirty="0">
              <a:latin typeface="Neue Frutiger World" panose="020B0603040304020203" pitchFamily="34" charset="0"/>
              <a:cs typeface="Neue Frutiger World" panose="020B0603040304020203" pitchFamily="34" charset="0"/>
            </a:endParaRPr>
          </a:p>
          <a:p>
            <a:pPr marL="419065" lvl="1" indent="-126989">
              <a:spcBef>
                <a:spcPts val="275"/>
              </a:spcBef>
              <a:buFont typeface="Trebuchet MS"/>
              <a:buChar char="–"/>
              <a:tabLst>
                <a:tab pos="419065" algn="l"/>
              </a:tabLst>
            </a:pPr>
            <a:r>
              <a:rPr sz="800" spc="-5" dirty="0">
                <a:solidFill>
                  <a:srgbClr val="231F20"/>
                </a:solidFill>
                <a:latin typeface="Neue Frutiger World" panose="020B0603040304020203" pitchFamily="34" charset="0"/>
                <a:cs typeface="Neue Frutiger World" panose="020B0603040304020203" pitchFamily="34" charset="0"/>
              </a:rPr>
              <a:t>Symptomatic</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eart</a:t>
            </a:r>
            <a:r>
              <a:rPr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ailure</a:t>
            </a:r>
            <a:endParaRPr sz="800" dirty="0">
              <a:latin typeface="Neue Frutiger World" panose="020B0603040304020203" pitchFamily="34" charset="0"/>
              <a:cs typeface="Neue Frutiger World" panose="020B0603040304020203" pitchFamily="34" charset="0"/>
            </a:endParaRPr>
          </a:p>
          <a:p>
            <a:pPr>
              <a:spcBef>
                <a:spcPts val="50"/>
              </a:spcBef>
            </a:pPr>
            <a:endParaRPr sz="800" dirty="0">
              <a:latin typeface="Neue Frutiger World" panose="020B0603040304020203" pitchFamily="34" charset="0"/>
              <a:cs typeface="Neue Frutiger World" panose="020B0603040304020203" pitchFamily="34" charset="0"/>
            </a:endParaRPr>
          </a:p>
          <a:p>
            <a:pPr marL="76194"/>
            <a:r>
              <a:rPr sz="800" spc="-20" dirty="0">
                <a:solidFill>
                  <a:srgbClr val="231F20"/>
                </a:solidFill>
                <a:latin typeface="Neue Frutiger World" panose="020B0603040304020203" pitchFamily="34" charset="0"/>
                <a:cs typeface="Neue Frutiger World" panose="020B0603040304020203" pitchFamily="34" charset="0"/>
              </a:rPr>
              <a:t>Patient</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education</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s</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critical</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o they</a:t>
            </a:r>
            <a:r>
              <a:rPr sz="800" spc="-3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ar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lso</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aware</a:t>
            </a:r>
            <a:r>
              <a:rPr sz="800" spc="-5" dirty="0">
                <a:solidFill>
                  <a:srgbClr val="231F20"/>
                </a:solidFill>
                <a:latin typeface="Neue Frutiger World" panose="020B0603040304020203" pitchFamily="34" charset="0"/>
                <a:cs typeface="Neue Frutiger World" panose="020B0603040304020203" pitchFamily="34" charset="0"/>
              </a:rPr>
              <a:t> of</a:t>
            </a:r>
            <a:r>
              <a:rPr sz="800" spc="-2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sign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nd</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symptoms</a:t>
            </a:r>
            <a:r>
              <a:rPr sz="800" spc="-5" dirty="0">
                <a:solidFill>
                  <a:srgbClr val="231F20"/>
                </a:solidFill>
                <a:latin typeface="Neue Frutiger World" panose="020B0603040304020203" pitchFamily="34" charset="0"/>
                <a:cs typeface="Neue Frutiger World" panose="020B0603040304020203" pitchFamily="34" charset="0"/>
              </a:rPr>
              <a:t> of</a:t>
            </a:r>
            <a:r>
              <a:rPr sz="800" spc="-2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 </a:t>
            </a:r>
            <a:r>
              <a:rPr sz="800" spc="-15" dirty="0">
                <a:solidFill>
                  <a:srgbClr val="231F20"/>
                </a:solidFill>
                <a:latin typeface="Neue Frutiger World" panose="020B0603040304020203" pitchFamily="34" charset="0"/>
                <a:cs typeface="Neue Frutiger World" panose="020B0603040304020203" pitchFamily="34" charset="0"/>
              </a:rPr>
              <a:t>possible</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nfection</a:t>
            </a:r>
            <a:r>
              <a:rPr lang="en-GB" sz="800" spc="-15" dirty="0">
                <a:solidFill>
                  <a:srgbClr val="231F20"/>
                </a:solidFill>
                <a:latin typeface="Neue Frutiger World" panose="020B0603040304020203" pitchFamily="34" charset="0"/>
                <a:cs typeface="Neue Frutiger World" panose="020B0603040304020203" pitchFamily="34" charset="0"/>
              </a:rPr>
              <a:t> including who to contact if they suspect themselves to be affected</a:t>
            </a:r>
            <a:endParaRPr sz="800" dirty="0">
              <a:latin typeface="Neue Frutiger World" panose="020B0603040304020203" pitchFamily="34" charset="0"/>
              <a:cs typeface="Neue Frutiger World" panose="020B0603040304020203" pitchFamily="34" charset="0"/>
            </a:endParaRPr>
          </a:p>
        </p:txBody>
      </p:sp>
      <p:sp>
        <p:nvSpPr>
          <p:cNvPr id="8" name="TextBox 7">
            <a:extLst>
              <a:ext uri="{FF2B5EF4-FFF2-40B4-BE49-F238E27FC236}">
                <a16:creationId xmlns:a16="http://schemas.microsoft.com/office/drawing/2014/main" id="{9840FB55-617E-4B5B-9457-40E3178F5FB7}"/>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9" name="Rectangle 8">
            <a:hlinkClick r:id="rId2" action="ppaction://hlinksldjump"/>
            <a:extLst>
              <a:ext uri="{FF2B5EF4-FFF2-40B4-BE49-F238E27FC236}">
                <a16:creationId xmlns:a16="http://schemas.microsoft.com/office/drawing/2014/main" id="{07FA54CE-316F-4DF0-8F1D-B0D2668352E0}"/>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0" name="Rectangle 9">
            <a:hlinkClick r:id="rId3" action="ppaction://hlinksldjump"/>
            <a:extLst>
              <a:ext uri="{FF2B5EF4-FFF2-40B4-BE49-F238E27FC236}">
                <a16:creationId xmlns:a16="http://schemas.microsoft.com/office/drawing/2014/main" id="{1828859A-030A-4D26-B083-E0A70D40DA6F}"/>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1" name="Rectangle 10">
            <a:hlinkClick r:id="rId4" action="ppaction://hlinksldjump"/>
            <a:extLst>
              <a:ext uri="{FF2B5EF4-FFF2-40B4-BE49-F238E27FC236}">
                <a16:creationId xmlns:a16="http://schemas.microsoft.com/office/drawing/2014/main" id="{9DF044AB-3C66-4F61-8420-311F72450508}"/>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2" name="Rectangle 11">
            <a:hlinkClick r:id="rId5" action="ppaction://hlinksldjump"/>
            <a:extLst>
              <a:ext uri="{FF2B5EF4-FFF2-40B4-BE49-F238E27FC236}">
                <a16:creationId xmlns:a16="http://schemas.microsoft.com/office/drawing/2014/main" id="{367CD285-730D-4058-9B71-37F91293B46D}"/>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3" name="Rectangle 12">
            <a:hlinkClick r:id="rId6" action="ppaction://hlinksldjump"/>
            <a:extLst>
              <a:ext uri="{FF2B5EF4-FFF2-40B4-BE49-F238E27FC236}">
                <a16:creationId xmlns:a16="http://schemas.microsoft.com/office/drawing/2014/main" id="{9AD0425B-F0E0-4FFD-8313-48494138E3DD}"/>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7" action="ppaction://hlinksldjump"/>
            <a:extLst>
              <a:ext uri="{FF2B5EF4-FFF2-40B4-BE49-F238E27FC236}">
                <a16:creationId xmlns:a16="http://schemas.microsoft.com/office/drawing/2014/main" id="{452A931C-B42C-4028-8AFC-20EB52429F52}"/>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8" action="ppaction://hlinksldjump"/>
            <a:extLst>
              <a:ext uri="{FF2B5EF4-FFF2-40B4-BE49-F238E27FC236}">
                <a16:creationId xmlns:a16="http://schemas.microsoft.com/office/drawing/2014/main" id="{7D3999D0-32C5-48EC-B129-DE637FF77AD3}"/>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9" action="ppaction://hlinksldjump"/>
            <a:extLst>
              <a:ext uri="{FF2B5EF4-FFF2-40B4-BE49-F238E27FC236}">
                <a16:creationId xmlns:a16="http://schemas.microsoft.com/office/drawing/2014/main" id="{077D8B9D-F6AA-4E6A-86C1-4A577556EAD3}"/>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extLst>
              <a:ext uri="{FF2B5EF4-FFF2-40B4-BE49-F238E27FC236}">
                <a16:creationId xmlns:a16="http://schemas.microsoft.com/office/drawing/2014/main" id="{66AA2A3B-4D6A-424A-8CA1-3DAA29DC975C}"/>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10" action="ppaction://hlinksldjump"/>
            <a:extLst>
              <a:ext uri="{FF2B5EF4-FFF2-40B4-BE49-F238E27FC236}">
                <a16:creationId xmlns:a16="http://schemas.microsoft.com/office/drawing/2014/main" id="{1F05E44F-E9E0-4E6A-8603-2B8A1A7C0F8F}"/>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11" action="ppaction://hlinksldjump"/>
            <a:extLst>
              <a:ext uri="{FF2B5EF4-FFF2-40B4-BE49-F238E27FC236}">
                <a16:creationId xmlns:a16="http://schemas.microsoft.com/office/drawing/2014/main" id="{F4E063F9-0D4F-4A7E-88D6-D20CE05DB158}"/>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12" action="ppaction://hlinksldjump"/>
            <a:extLst>
              <a:ext uri="{FF2B5EF4-FFF2-40B4-BE49-F238E27FC236}">
                <a16:creationId xmlns:a16="http://schemas.microsoft.com/office/drawing/2014/main" id="{F91D77CC-615F-4302-A8E1-154FD428945D}"/>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3" action="ppaction://hlinksldjump"/>
            <a:extLst>
              <a:ext uri="{FF2B5EF4-FFF2-40B4-BE49-F238E27FC236}">
                <a16:creationId xmlns:a16="http://schemas.microsoft.com/office/drawing/2014/main" id="{77AE89AB-C647-4404-9C48-D5AC4BF458E6}"/>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4" action="ppaction://hlinksldjump"/>
            <a:extLst>
              <a:ext uri="{FF2B5EF4-FFF2-40B4-BE49-F238E27FC236}">
                <a16:creationId xmlns:a16="http://schemas.microsoft.com/office/drawing/2014/main" id="{2970D70B-D534-4AC4-A179-0ED9D229E3D7}"/>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5" action="ppaction://hlinksldjump"/>
            <a:extLst>
              <a:ext uri="{FF2B5EF4-FFF2-40B4-BE49-F238E27FC236}">
                <a16:creationId xmlns:a16="http://schemas.microsoft.com/office/drawing/2014/main" id="{A7141E21-CBC4-401B-8ED8-D03E59A216FE}"/>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6" action="ppaction://hlinksldjump"/>
            <a:extLst>
              <a:ext uri="{FF2B5EF4-FFF2-40B4-BE49-F238E27FC236}">
                <a16:creationId xmlns:a16="http://schemas.microsoft.com/office/drawing/2014/main" id="{9C8B53CE-2B64-4478-8849-B849FEA60D3F}"/>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7" action="ppaction://hlinksldjump"/>
            <a:extLst>
              <a:ext uri="{FF2B5EF4-FFF2-40B4-BE49-F238E27FC236}">
                <a16:creationId xmlns:a16="http://schemas.microsoft.com/office/drawing/2014/main" id="{0477FEC1-A38F-4D6E-BA40-C52F4F9531B0}"/>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8" action="ppaction://hlinksldjump"/>
            <a:extLst>
              <a:ext uri="{FF2B5EF4-FFF2-40B4-BE49-F238E27FC236}">
                <a16:creationId xmlns:a16="http://schemas.microsoft.com/office/drawing/2014/main" id="{55E0AACF-51D9-4388-B56D-0C56F2A34433}"/>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9" action="ppaction://hlinksldjump"/>
            <a:extLst>
              <a:ext uri="{FF2B5EF4-FFF2-40B4-BE49-F238E27FC236}">
                <a16:creationId xmlns:a16="http://schemas.microsoft.com/office/drawing/2014/main" id="{4676979C-D8A4-4727-94C2-5F92D83E9A1F}"/>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20" action="ppaction://hlinksldjump"/>
            <a:extLst>
              <a:ext uri="{FF2B5EF4-FFF2-40B4-BE49-F238E27FC236}">
                <a16:creationId xmlns:a16="http://schemas.microsoft.com/office/drawing/2014/main" id="{81F300C8-18C3-43E0-AD14-348D63D6F9CD}"/>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21" action="ppaction://hlinksldjump"/>
            <a:extLst>
              <a:ext uri="{FF2B5EF4-FFF2-40B4-BE49-F238E27FC236}">
                <a16:creationId xmlns:a16="http://schemas.microsoft.com/office/drawing/2014/main" id="{5C667BAF-CC54-4C7D-8A90-83EB2857206C}"/>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22" action="ppaction://hlinksldjump"/>
            <a:extLst>
              <a:ext uri="{FF2B5EF4-FFF2-40B4-BE49-F238E27FC236}">
                <a16:creationId xmlns:a16="http://schemas.microsoft.com/office/drawing/2014/main" id="{709B84B6-E655-4ADF-B1B5-B7F7CE816B8B}"/>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extLst>
              <a:ext uri="{FF2B5EF4-FFF2-40B4-BE49-F238E27FC236}">
                <a16:creationId xmlns:a16="http://schemas.microsoft.com/office/drawing/2014/main" id="{6D35F74C-FD41-4196-9953-54486ED0EBBD}"/>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23" action="ppaction://hlinksldjump"/>
            <a:extLst>
              <a:ext uri="{FF2B5EF4-FFF2-40B4-BE49-F238E27FC236}">
                <a16:creationId xmlns:a16="http://schemas.microsoft.com/office/drawing/2014/main" id="{FB8D06A4-BF49-4636-B882-AE770369C97C}"/>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4" action="ppaction://hlinksldjump"/>
            <a:extLst>
              <a:ext uri="{FF2B5EF4-FFF2-40B4-BE49-F238E27FC236}">
                <a16:creationId xmlns:a16="http://schemas.microsoft.com/office/drawing/2014/main" id="{C495D3EB-916F-4F0D-BA8F-764707041856}"/>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5" action="ppaction://hlinksldjump"/>
            <a:extLst>
              <a:ext uri="{FF2B5EF4-FFF2-40B4-BE49-F238E27FC236}">
                <a16:creationId xmlns:a16="http://schemas.microsoft.com/office/drawing/2014/main" id="{3F1089F2-53CB-468E-ABEE-C09A7A0445E8}"/>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extLst>
              <a:ext uri="{FF2B5EF4-FFF2-40B4-BE49-F238E27FC236}">
                <a16:creationId xmlns:a16="http://schemas.microsoft.com/office/drawing/2014/main" id="{07780559-9FDB-4372-A241-66BC425AC5D4}"/>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36" name="Table 35">
            <a:extLst>
              <a:ext uri="{FF2B5EF4-FFF2-40B4-BE49-F238E27FC236}">
                <a16:creationId xmlns:a16="http://schemas.microsoft.com/office/drawing/2014/main" id="{F5431D82-B910-4048-A369-43B5E0170F01}"/>
              </a:ext>
            </a:extLst>
          </p:cNvPr>
          <p:cNvGraphicFramePr>
            <a:graphicFrameLocks noGrp="1"/>
          </p:cNvGraphicFramePr>
          <p:nvPr>
            <p:extLst>
              <p:ext uri="{D42A27DB-BD31-4B8C-83A1-F6EECF244321}">
                <p14:modId xmlns:p14="http://schemas.microsoft.com/office/powerpoint/2010/main" val="3596408452"/>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37" name="Rectangle 36">
            <a:hlinkClick r:id="rId2" action="ppaction://hlinksldjump"/>
            <a:extLst>
              <a:ext uri="{FF2B5EF4-FFF2-40B4-BE49-F238E27FC236}">
                <a16:creationId xmlns:a16="http://schemas.microsoft.com/office/drawing/2014/main" id="{8557C6E1-07C7-4E6B-A96C-E92C2F0FB78A}"/>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3" action="ppaction://hlinksldjump"/>
            <a:extLst>
              <a:ext uri="{FF2B5EF4-FFF2-40B4-BE49-F238E27FC236}">
                <a16:creationId xmlns:a16="http://schemas.microsoft.com/office/drawing/2014/main" id="{DF72BEFD-18D7-499A-BF3A-583B9FEE7733}"/>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4" action="ppaction://hlinksldjump"/>
            <a:extLst>
              <a:ext uri="{FF2B5EF4-FFF2-40B4-BE49-F238E27FC236}">
                <a16:creationId xmlns:a16="http://schemas.microsoft.com/office/drawing/2014/main" id="{2C34FE85-486E-4754-8733-775BEAC3065D}"/>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5" action="ppaction://hlinksldjump"/>
            <a:extLst>
              <a:ext uri="{FF2B5EF4-FFF2-40B4-BE49-F238E27FC236}">
                <a16:creationId xmlns:a16="http://schemas.microsoft.com/office/drawing/2014/main" id="{2E59B66D-6A64-4CA9-A9DB-EF608931F09D}"/>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6" action="ppaction://hlinksldjump"/>
            <a:extLst>
              <a:ext uri="{FF2B5EF4-FFF2-40B4-BE49-F238E27FC236}">
                <a16:creationId xmlns:a16="http://schemas.microsoft.com/office/drawing/2014/main" id="{F9DCC534-A581-4984-B138-67492E794CEE}"/>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7" action="ppaction://hlinksldjump"/>
            <a:extLst>
              <a:ext uri="{FF2B5EF4-FFF2-40B4-BE49-F238E27FC236}">
                <a16:creationId xmlns:a16="http://schemas.microsoft.com/office/drawing/2014/main" id="{39C8126D-E0C5-4B90-9E7C-21F65E957017}"/>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8" action="ppaction://hlinksldjump"/>
            <a:extLst>
              <a:ext uri="{FF2B5EF4-FFF2-40B4-BE49-F238E27FC236}">
                <a16:creationId xmlns:a16="http://schemas.microsoft.com/office/drawing/2014/main" id="{C0FB1C57-5A5A-48CD-A9E7-EC948F57CBF0}"/>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9" action="ppaction://hlinksldjump"/>
            <a:extLst>
              <a:ext uri="{FF2B5EF4-FFF2-40B4-BE49-F238E27FC236}">
                <a16:creationId xmlns:a16="http://schemas.microsoft.com/office/drawing/2014/main" id="{45553F78-0E59-4C35-B8FA-2AF80C22D7BD}"/>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extLst>
              <a:ext uri="{FF2B5EF4-FFF2-40B4-BE49-F238E27FC236}">
                <a16:creationId xmlns:a16="http://schemas.microsoft.com/office/drawing/2014/main" id="{54962D43-365C-427A-9618-81AE91B044EE}"/>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10" action="ppaction://hlinksldjump"/>
            <a:extLst>
              <a:ext uri="{FF2B5EF4-FFF2-40B4-BE49-F238E27FC236}">
                <a16:creationId xmlns:a16="http://schemas.microsoft.com/office/drawing/2014/main" id="{3F1490C7-003C-42E5-BC7F-1A54F2D0C17A}"/>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11" action="ppaction://hlinksldjump"/>
            <a:extLst>
              <a:ext uri="{FF2B5EF4-FFF2-40B4-BE49-F238E27FC236}">
                <a16:creationId xmlns:a16="http://schemas.microsoft.com/office/drawing/2014/main" id="{03BEA95F-A66F-4C23-BB34-AFC648CD5543}"/>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12" action="ppaction://hlinksldjump"/>
            <a:extLst>
              <a:ext uri="{FF2B5EF4-FFF2-40B4-BE49-F238E27FC236}">
                <a16:creationId xmlns:a16="http://schemas.microsoft.com/office/drawing/2014/main" id="{B24147CD-E504-4235-AA31-992FD7484CEB}"/>
              </a:ext>
            </a:extLst>
          </p:cNvPr>
          <p:cNvSpPr/>
          <p:nvPr/>
        </p:nvSpPr>
        <p:spPr>
          <a:xfrm>
            <a:off x="191875" y="2128647"/>
            <a:ext cx="910777" cy="1101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3" action="ppaction://hlinksldjump"/>
            <a:extLst>
              <a:ext uri="{FF2B5EF4-FFF2-40B4-BE49-F238E27FC236}">
                <a16:creationId xmlns:a16="http://schemas.microsoft.com/office/drawing/2014/main" id="{BD741643-1AF9-45F3-8085-ED367CF9F412}"/>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4" action="ppaction://hlinksldjump"/>
            <a:extLst>
              <a:ext uri="{FF2B5EF4-FFF2-40B4-BE49-F238E27FC236}">
                <a16:creationId xmlns:a16="http://schemas.microsoft.com/office/drawing/2014/main" id="{0532FBF3-F426-4804-B298-9C0FDBF4F932}"/>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5" action="ppaction://hlinksldjump"/>
            <a:extLst>
              <a:ext uri="{FF2B5EF4-FFF2-40B4-BE49-F238E27FC236}">
                <a16:creationId xmlns:a16="http://schemas.microsoft.com/office/drawing/2014/main" id="{DE5D32CA-8848-41F4-A2C5-9CF24F0692AE}"/>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6" action="ppaction://hlinksldjump"/>
            <a:extLst>
              <a:ext uri="{FF2B5EF4-FFF2-40B4-BE49-F238E27FC236}">
                <a16:creationId xmlns:a16="http://schemas.microsoft.com/office/drawing/2014/main" id="{3FF44887-218D-4B2B-8BB9-78FDC472851E}"/>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7" action="ppaction://hlinksldjump"/>
            <a:extLst>
              <a:ext uri="{FF2B5EF4-FFF2-40B4-BE49-F238E27FC236}">
                <a16:creationId xmlns:a16="http://schemas.microsoft.com/office/drawing/2014/main" id="{ABAFCE42-88D3-4628-85B7-7568DEA508CC}"/>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8" action="ppaction://hlinksldjump"/>
            <a:extLst>
              <a:ext uri="{FF2B5EF4-FFF2-40B4-BE49-F238E27FC236}">
                <a16:creationId xmlns:a16="http://schemas.microsoft.com/office/drawing/2014/main" id="{DCC98AE4-C3BA-413E-9361-6AB7A2E692B5}"/>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9" action="ppaction://hlinksldjump"/>
            <a:extLst>
              <a:ext uri="{FF2B5EF4-FFF2-40B4-BE49-F238E27FC236}">
                <a16:creationId xmlns:a16="http://schemas.microsoft.com/office/drawing/2014/main" id="{1D0F9973-C864-4E8D-8A9C-9A552CEA73DD}"/>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20" action="ppaction://hlinksldjump"/>
            <a:extLst>
              <a:ext uri="{FF2B5EF4-FFF2-40B4-BE49-F238E27FC236}">
                <a16:creationId xmlns:a16="http://schemas.microsoft.com/office/drawing/2014/main" id="{EAB3F751-CA88-411F-A4BD-47F8ABF2C0FC}"/>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21" action="ppaction://hlinksldjump"/>
            <a:extLst>
              <a:ext uri="{FF2B5EF4-FFF2-40B4-BE49-F238E27FC236}">
                <a16:creationId xmlns:a16="http://schemas.microsoft.com/office/drawing/2014/main" id="{7DE8DDAB-1D11-4253-83C2-8CB8D1A8A58D}"/>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22" action="ppaction://hlinksldjump"/>
            <a:extLst>
              <a:ext uri="{FF2B5EF4-FFF2-40B4-BE49-F238E27FC236}">
                <a16:creationId xmlns:a16="http://schemas.microsoft.com/office/drawing/2014/main" id="{67F4F183-C359-4A5F-95BD-CD8A2D0662F4}"/>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extLst>
              <a:ext uri="{FF2B5EF4-FFF2-40B4-BE49-F238E27FC236}">
                <a16:creationId xmlns:a16="http://schemas.microsoft.com/office/drawing/2014/main" id="{F3F5328D-C855-4CEA-AA99-C96DD94653ED}"/>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23" action="ppaction://hlinksldjump"/>
            <a:extLst>
              <a:ext uri="{FF2B5EF4-FFF2-40B4-BE49-F238E27FC236}">
                <a16:creationId xmlns:a16="http://schemas.microsoft.com/office/drawing/2014/main" id="{CD14AD92-9221-4C43-B723-5FC2933C2B3E}"/>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4" action="ppaction://hlinksldjump"/>
            <a:extLst>
              <a:ext uri="{FF2B5EF4-FFF2-40B4-BE49-F238E27FC236}">
                <a16:creationId xmlns:a16="http://schemas.microsoft.com/office/drawing/2014/main" id="{7EB71BBA-EC20-4A67-8191-994166CDB41A}"/>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5" action="ppaction://hlinksldjump"/>
            <a:extLst>
              <a:ext uri="{FF2B5EF4-FFF2-40B4-BE49-F238E27FC236}">
                <a16:creationId xmlns:a16="http://schemas.microsoft.com/office/drawing/2014/main" id="{44E4679E-C6CD-4A13-8B5D-5D336759B2BA}"/>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399531978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5C57C-9255-4CAC-B32C-7F5E0E316975}"/>
              </a:ext>
            </a:extLst>
          </p:cNvPr>
          <p:cNvSpPr>
            <a:spLocks noGrp="1"/>
          </p:cNvSpPr>
          <p:nvPr>
            <p:ph type="title"/>
          </p:nvPr>
        </p:nvSpPr>
        <p:spPr/>
        <p:txBody>
          <a:bodyPr/>
          <a:lstStyle/>
          <a:p>
            <a:r>
              <a:rPr lang="en-GB" spc="-15" noProof="0" dirty="0">
                <a:latin typeface="Neue Frutiger World" panose="020B0603040304020203" pitchFamily="34" charset="0"/>
                <a:cs typeface="Neue Frutiger World" panose="020B0603040304020203" pitchFamily="34" charset="0"/>
              </a:rPr>
              <a:t>Antibiotics</a:t>
            </a:r>
            <a:r>
              <a:rPr lang="en-GB" spc="40" noProof="0" dirty="0">
                <a:latin typeface="Neue Frutiger World" panose="020B0603040304020203" pitchFamily="34" charset="0"/>
                <a:cs typeface="Neue Frutiger World" panose="020B0603040304020203" pitchFamily="34" charset="0"/>
              </a:rPr>
              <a:t> </a:t>
            </a:r>
            <a:r>
              <a:rPr lang="en-GB" spc="-5" noProof="0" dirty="0">
                <a:latin typeface="Neue Frutiger World" panose="020B0603040304020203" pitchFamily="34" charset="0"/>
                <a:cs typeface="Neue Frutiger World" panose="020B0603040304020203" pitchFamily="34" charset="0"/>
              </a:rPr>
              <a:t>since</a:t>
            </a:r>
            <a:r>
              <a:rPr lang="en-GB" spc="45" noProof="0" dirty="0">
                <a:latin typeface="Neue Frutiger World" panose="020B0603040304020203" pitchFamily="34" charset="0"/>
                <a:cs typeface="Neue Frutiger World" panose="020B0603040304020203" pitchFamily="34" charset="0"/>
              </a:rPr>
              <a:t> </a:t>
            </a:r>
            <a:r>
              <a:rPr lang="en-GB" spc="-10" noProof="0" dirty="0">
                <a:latin typeface="Neue Frutiger World" panose="020B0603040304020203" pitchFamily="34" charset="0"/>
                <a:cs typeface="Neue Frutiger World" panose="020B0603040304020203" pitchFamily="34" charset="0"/>
              </a:rPr>
              <a:t>last visit</a:t>
            </a:r>
            <a:r>
              <a:rPr lang="en-GB" spc="45" noProof="0" dirty="0">
                <a:latin typeface="Neue Frutiger World" panose="020B0603040304020203" pitchFamily="34" charset="0"/>
                <a:cs typeface="Neue Frutiger World" panose="020B0603040304020203" pitchFamily="34" charset="0"/>
              </a:rPr>
              <a:t> </a:t>
            </a:r>
            <a:r>
              <a:rPr lang="en-GB" spc="229" noProof="0" dirty="0">
                <a:latin typeface="Neue Frutiger World" panose="020B0603040304020203" pitchFamily="34" charset="0"/>
                <a:cs typeface="Neue Frutiger World" panose="020B0603040304020203" pitchFamily="34" charset="0"/>
              </a:rPr>
              <a:t>–</a:t>
            </a:r>
            <a:r>
              <a:rPr lang="en-GB" spc="45" noProof="0" dirty="0">
                <a:latin typeface="Neue Frutiger World" panose="020B0603040304020203" pitchFamily="34" charset="0"/>
                <a:cs typeface="Neue Frutiger World" panose="020B0603040304020203" pitchFamily="34" charset="0"/>
              </a:rPr>
              <a:t> </a:t>
            </a:r>
            <a:r>
              <a:rPr lang="en-GB" spc="-10" noProof="0" dirty="0">
                <a:latin typeface="Neue Frutiger World" panose="020B0603040304020203" pitchFamily="34" charset="0"/>
                <a:cs typeface="Neue Frutiger World" panose="020B0603040304020203" pitchFamily="34" charset="0"/>
              </a:rPr>
              <a:t>conversation</a:t>
            </a:r>
            <a:r>
              <a:rPr lang="en-GB" spc="45" noProof="0" dirty="0">
                <a:latin typeface="Neue Frutiger World" panose="020B0603040304020203" pitchFamily="34" charset="0"/>
                <a:cs typeface="Neue Frutiger World" panose="020B0603040304020203" pitchFamily="34" charset="0"/>
              </a:rPr>
              <a:t> </a:t>
            </a:r>
            <a:r>
              <a:rPr lang="en-GB" spc="-15" noProof="0" dirty="0">
                <a:latin typeface="Neue Frutiger World" panose="020B0603040304020203" pitchFamily="34" charset="0"/>
                <a:cs typeface="Neue Frutiger World" panose="020B0603040304020203" pitchFamily="34" charset="0"/>
              </a:rPr>
              <a:t>starter</a:t>
            </a:r>
            <a:r>
              <a:rPr lang="en-GB" spc="5" noProof="0" dirty="0">
                <a:latin typeface="Neue Frutiger World" panose="020B0603040304020203" pitchFamily="34" charset="0"/>
                <a:cs typeface="Neue Frutiger World" panose="020B0603040304020203" pitchFamily="34" charset="0"/>
              </a:rPr>
              <a:t> </a:t>
            </a:r>
            <a:r>
              <a:rPr lang="en-GB" spc="-20" noProof="0" dirty="0">
                <a:latin typeface="Neue Frutiger World" panose="020B0603040304020203" pitchFamily="34" charset="0"/>
                <a:cs typeface="Neue Frutiger World" panose="020B0603040304020203" pitchFamily="34" charset="0"/>
              </a:rPr>
              <a:t>3</a:t>
            </a:r>
            <a:endParaRPr lang="en-GB" noProof="0" dirty="0">
              <a:latin typeface="Neue Frutiger World" panose="020B0603040304020203" pitchFamily="34" charset="0"/>
              <a:cs typeface="Neue Frutiger World" panose="020B0603040304020203" pitchFamily="34" charset="0"/>
            </a:endParaRPr>
          </a:p>
        </p:txBody>
      </p:sp>
      <p:sp>
        <p:nvSpPr>
          <p:cNvPr id="4" name="Slide Number Placeholder 3">
            <a:extLst>
              <a:ext uri="{FF2B5EF4-FFF2-40B4-BE49-F238E27FC236}">
                <a16:creationId xmlns:a16="http://schemas.microsoft.com/office/drawing/2014/main" id="{9CB3CDA9-6D0E-4473-8366-CDD2C47D2FBF}"/>
              </a:ext>
            </a:extLst>
          </p:cNvPr>
          <p:cNvSpPr>
            <a:spLocks noGrp="1"/>
          </p:cNvSpPr>
          <p:nvPr>
            <p:ph type="sldNum" sz="quarter" idx="18"/>
          </p:nvPr>
        </p:nvSpPr>
        <p:spPr>
          <a:xfrm>
            <a:off x="7977899" y="4855867"/>
            <a:ext cx="199973" cy="150200"/>
          </a:xfrm>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14</a:t>
            </a:fld>
            <a:endParaRPr lang="en-US" noProof="0" dirty="0">
              <a:latin typeface="Neue Frutiger World" panose="020B0603040304020203" pitchFamily="34" charset="0"/>
              <a:cs typeface="Neue Frutiger World" panose="020B0603040304020203" pitchFamily="34" charset="0"/>
            </a:endParaRPr>
          </a:p>
        </p:txBody>
      </p:sp>
      <p:grpSp>
        <p:nvGrpSpPr>
          <p:cNvPr id="6" name="object 2">
            <a:extLst>
              <a:ext uri="{FF2B5EF4-FFF2-40B4-BE49-F238E27FC236}">
                <a16:creationId xmlns:a16="http://schemas.microsoft.com/office/drawing/2014/main" id="{959C1279-E537-4805-9BF3-8E93B9FA58C4}"/>
              </a:ext>
            </a:extLst>
          </p:cNvPr>
          <p:cNvGrpSpPr/>
          <p:nvPr/>
        </p:nvGrpSpPr>
        <p:grpSpPr>
          <a:xfrm>
            <a:off x="1547664" y="2323440"/>
            <a:ext cx="798830" cy="706755"/>
            <a:chOff x="512063" y="4090887"/>
            <a:chExt cx="798830" cy="706755"/>
          </a:xfrm>
        </p:grpSpPr>
        <p:sp>
          <p:nvSpPr>
            <p:cNvPr id="7" name="object 3">
              <a:extLst>
                <a:ext uri="{FF2B5EF4-FFF2-40B4-BE49-F238E27FC236}">
                  <a16:creationId xmlns:a16="http://schemas.microsoft.com/office/drawing/2014/main" id="{03871AD0-7653-4B87-B3AF-C51C89EB5A7C}"/>
                </a:ext>
              </a:extLst>
            </p:cNvPr>
            <p:cNvSpPr/>
            <p:nvPr/>
          </p:nvSpPr>
          <p:spPr>
            <a:xfrm>
              <a:off x="784487" y="4090887"/>
              <a:ext cx="159385" cy="384810"/>
            </a:xfrm>
            <a:custGeom>
              <a:avLst/>
              <a:gdLst/>
              <a:ahLst/>
              <a:cxnLst/>
              <a:rect l="l" t="t" r="r" b="b"/>
              <a:pathLst>
                <a:path w="159384" h="384810">
                  <a:moveTo>
                    <a:pt x="119557" y="250431"/>
                  </a:moveTo>
                  <a:lnTo>
                    <a:pt x="102654" y="250431"/>
                  </a:lnTo>
                  <a:lnTo>
                    <a:pt x="102654" y="384251"/>
                  </a:lnTo>
                  <a:lnTo>
                    <a:pt x="119557" y="384251"/>
                  </a:lnTo>
                  <a:lnTo>
                    <a:pt x="119557" y="250431"/>
                  </a:lnTo>
                  <a:close/>
                </a:path>
                <a:path w="159384" h="384810">
                  <a:moveTo>
                    <a:pt x="59816" y="0"/>
                  </a:moveTo>
                  <a:lnTo>
                    <a:pt x="36556" y="4708"/>
                  </a:lnTo>
                  <a:lnTo>
                    <a:pt x="17540" y="17540"/>
                  </a:lnTo>
                  <a:lnTo>
                    <a:pt x="4708" y="36556"/>
                  </a:lnTo>
                  <a:lnTo>
                    <a:pt x="0" y="59816"/>
                  </a:lnTo>
                  <a:lnTo>
                    <a:pt x="0" y="351053"/>
                  </a:lnTo>
                  <a:lnTo>
                    <a:pt x="16903" y="351053"/>
                  </a:lnTo>
                  <a:lnTo>
                    <a:pt x="16903" y="59816"/>
                  </a:lnTo>
                  <a:lnTo>
                    <a:pt x="20281" y="43130"/>
                  </a:lnTo>
                  <a:lnTo>
                    <a:pt x="29487" y="29487"/>
                  </a:lnTo>
                  <a:lnTo>
                    <a:pt x="43130" y="20281"/>
                  </a:lnTo>
                  <a:lnTo>
                    <a:pt x="59816" y="16903"/>
                  </a:lnTo>
                  <a:lnTo>
                    <a:pt x="101150" y="16903"/>
                  </a:lnTo>
                  <a:lnTo>
                    <a:pt x="83077" y="4708"/>
                  </a:lnTo>
                  <a:lnTo>
                    <a:pt x="59816" y="0"/>
                  </a:lnTo>
                  <a:close/>
                </a:path>
                <a:path w="159384" h="384810">
                  <a:moveTo>
                    <a:pt x="153695" y="98285"/>
                  </a:moveTo>
                  <a:lnTo>
                    <a:pt x="68668" y="98285"/>
                  </a:lnTo>
                  <a:lnTo>
                    <a:pt x="63131" y="103746"/>
                  </a:lnTo>
                  <a:lnTo>
                    <a:pt x="63169" y="191922"/>
                  </a:lnTo>
                  <a:lnTo>
                    <a:pt x="90131" y="220700"/>
                  </a:lnTo>
                  <a:lnTo>
                    <a:pt x="96685" y="224535"/>
                  </a:lnTo>
                  <a:lnTo>
                    <a:pt x="98348" y="226072"/>
                  </a:lnTo>
                  <a:lnTo>
                    <a:pt x="100533" y="228472"/>
                  </a:lnTo>
                  <a:lnTo>
                    <a:pt x="100926" y="229590"/>
                  </a:lnTo>
                  <a:lnTo>
                    <a:pt x="101460" y="230835"/>
                  </a:lnTo>
                  <a:lnTo>
                    <a:pt x="121094" y="230835"/>
                  </a:lnTo>
                  <a:lnTo>
                    <a:pt x="121577" y="228549"/>
                  </a:lnTo>
                  <a:lnTo>
                    <a:pt x="122872" y="226860"/>
                  </a:lnTo>
                  <a:lnTo>
                    <a:pt x="127622" y="223494"/>
                  </a:lnTo>
                  <a:lnTo>
                    <a:pt x="130771" y="221551"/>
                  </a:lnTo>
                  <a:lnTo>
                    <a:pt x="137934" y="217462"/>
                  </a:lnTo>
                  <a:lnTo>
                    <a:pt x="142112" y="215557"/>
                  </a:lnTo>
                  <a:lnTo>
                    <a:pt x="146049" y="213232"/>
                  </a:lnTo>
                  <a:lnTo>
                    <a:pt x="159207" y="170667"/>
                  </a:lnTo>
                  <a:lnTo>
                    <a:pt x="159219" y="103504"/>
                  </a:lnTo>
                  <a:lnTo>
                    <a:pt x="153695" y="98285"/>
                  </a:lnTo>
                  <a:close/>
                </a:path>
                <a:path w="159384" h="384810">
                  <a:moveTo>
                    <a:pt x="101150" y="16903"/>
                  </a:moveTo>
                  <a:lnTo>
                    <a:pt x="59816" y="16903"/>
                  </a:lnTo>
                  <a:lnTo>
                    <a:pt x="76511" y="20281"/>
                  </a:lnTo>
                  <a:lnTo>
                    <a:pt x="90157" y="29487"/>
                  </a:lnTo>
                  <a:lnTo>
                    <a:pt x="99364" y="43130"/>
                  </a:lnTo>
                  <a:lnTo>
                    <a:pt x="102742" y="59816"/>
                  </a:lnTo>
                  <a:lnTo>
                    <a:pt x="102742" y="79032"/>
                  </a:lnTo>
                  <a:lnTo>
                    <a:pt x="119633" y="79032"/>
                  </a:lnTo>
                  <a:lnTo>
                    <a:pt x="119633" y="59816"/>
                  </a:lnTo>
                  <a:lnTo>
                    <a:pt x="114925" y="36556"/>
                  </a:lnTo>
                  <a:lnTo>
                    <a:pt x="102093" y="17540"/>
                  </a:lnTo>
                  <a:lnTo>
                    <a:pt x="101150" y="16903"/>
                  </a:lnTo>
                  <a:close/>
                </a:path>
              </a:pathLst>
            </a:custGeom>
            <a:solidFill>
              <a:srgbClr val="00A9EB"/>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8" name="object 4">
              <a:extLst>
                <a:ext uri="{FF2B5EF4-FFF2-40B4-BE49-F238E27FC236}">
                  <a16:creationId xmlns:a16="http://schemas.microsoft.com/office/drawing/2014/main" id="{B48E4B72-458C-468B-A4FC-F661D554A20E}"/>
                </a:ext>
              </a:extLst>
            </p:cNvPr>
            <p:cNvSpPr/>
            <p:nvPr/>
          </p:nvSpPr>
          <p:spPr>
            <a:xfrm>
              <a:off x="512063" y="4249588"/>
              <a:ext cx="798830" cy="548640"/>
            </a:xfrm>
            <a:custGeom>
              <a:avLst/>
              <a:gdLst/>
              <a:ahLst/>
              <a:cxnLst/>
              <a:rect l="l" t="t" r="r" b="b"/>
              <a:pathLst>
                <a:path w="798830" h="548639">
                  <a:moveTo>
                    <a:pt x="762317" y="0"/>
                  </a:moveTo>
                  <a:lnTo>
                    <a:pt x="748301" y="2828"/>
                  </a:lnTo>
                  <a:lnTo>
                    <a:pt x="736857" y="10544"/>
                  </a:lnTo>
                  <a:lnTo>
                    <a:pt x="729141" y="21988"/>
                  </a:lnTo>
                  <a:lnTo>
                    <a:pt x="726313" y="36004"/>
                  </a:lnTo>
                  <a:lnTo>
                    <a:pt x="726313" y="337172"/>
                  </a:lnTo>
                  <a:lnTo>
                    <a:pt x="72008" y="337172"/>
                  </a:lnTo>
                  <a:lnTo>
                    <a:pt x="72008" y="243141"/>
                  </a:lnTo>
                  <a:lnTo>
                    <a:pt x="69180" y="229125"/>
                  </a:lnTo>
                  <a:lnTo>
                    <a:pt x="61464" y="217681"/>
                  </a:lnTo>
                  <a:lnTo>
                    <a:pt x="50020" y="209965"/>
                  </a:lnTo>
                  <a:lnTo>
                    <a:pt x="36004" y="207137"/>
                  </a:lnTo>
                  <a:lnTo>
                    <a:pt x="21988" y="209965"/>
                  </a:lnTo>
                  <a:lnTo>
                    <a:pt x="10544" y="217681"/>
                  </a:lnTo>
                  <a:lnTo>
                    <a:pt x="2828" y="229125"/>
                  </a:lnTo>
                  <a:lnTo>
                    <a:pt x="0" y="243141"/>
                  </a:lnTo>
                  <a:lnTo>
                    <a:pt x="0" y="548055"/>
                  </a:lnTo>
                  <a:lnTo>
                    <a:pt x="72008" y="548055"/>
                  </a:lnTo>
                  <a:lnTo>
                    <a:pt x="72008" y="431419"/>
                  </a:lnTo>
                  <a:lnTo>
                    <a:pt x="726313" y="431419"/>
                  </a:lnTo>
                  <a:lnTo>
                    <a:pt x="726313" y="548055"/>
                  </a:lnTo>
                  <a:lnTo>
                    <a:pt x="798322" y="548055"/>
                  </a:lnTo>
                  <a:lnTo>
                    <a:pt x="798322" y="36004"/>
                  </a:lnTo>
                  <a:lnTo>
                    <a:pt x="795493" y="21988"/>
                  </a:lnTo>
                  <a:lnTo>
                    <a:pt x="787777" y="10544"/>
                  </a:lnTo>
                  <a:lnTo>
                    <a:pt x="776333" y="2828"/>
                  </a:lnTo>
                  <a:lnTo>
                    <a:pt x="762317" y="0"/>
                  </a:lnTo>
                  <a:close/>
                </a:path>
              </a:pathLst>
            </a:custGeom>
            <a:solidFill>
              <a:srgbClr val="9AD7F9"/>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9" name="object 5">
              <a:extLst>
                <a:ext uri="{FF2B5EF4-FFF2-40B4-BE49-F238E27FC236}">
                  <a16:creationId xmlns:a16="http://schemas.microsoft.com/office/drawing/2014/main" id="{994972C2-2AB7-4CCE-A5CA-E15AD6F9F233}"/>
                </a:ext>
              </a:extLst>
            </p:cNvPr>
            <p:cNvSpPr/>
            <p:nvPr/>
          </p:nvSpPr>
          <p:spPr>
            <a:xfrm>
              <a:off x="614457" y="4200618"/>
              <a:ext cx="601345" cy="352425"/>
            </a:xfrm>
            <a:custGeom>
              <a:avLst/>
              <a:gdLst/>
              <a:ahLst/>
              <a:cxnLst/>
              <a:rect l="l" t="t" r="r" b="b"/>
              <a:pathLst>
                <a:path w="601344" h="352425">
                  <a:moveTo>
                    <a:pt x="222046" y="271144"/>
                  </a:moveTo>
                  <a:lnTo>
                    <a:pt x="145000" y="271157"/>
                  </a:lnTo>
                  <a:lnTo>
                    <a:pt x="100814" y="276949"/>
                  </a:lnTo>
                  <a:lnTo>
                    <a:pt x="60866" y="293355"/>
                  </a:lnTo>
                  <a:lnTo>
                    <a:pt x="26759" y="318856"/>
                  </a:lnTo>
                  <a:lnTo>
                    <a:pt x="0" y="351942"/>
                  </a:lnTo>
                  <a:lnTo>
                    <a:pt x="389547" y="351942"/>
                  </a:lnTo>
                  <a:lnTo>
                    <a:pt x="459449" y="271157"/>
                  </a:lnTo>
                  <a:lnTo>
                    <a:pt x="222046" y="271157"/>
                  </a:lnTo>
                  <a:close/>
                </a:path>
                <a:path w="601344" h="352425">
                  <a:moveTo>
                    <a:pt x="504373" y="145620"/>
                  </a:moveTo>
                  <a:lnTo>
                    <a:pt x="434917" y="167607"/>
                  </a:lnTo>
                  <a:lnTo>
                    <a:pt x="388756" y="210478"/>
                  </a:lnTo>
                  <a:lnTo>
                    <a:pt x="352220" y="252323"/>
                  </a:lnTo>
                  <a:lnTo>
                    <a:pt x="337362" y="271157"/>
                  </a:lnTo>
                  <a:lnTo>
                    <a:pt x="459460" y="271144"/>
                  </a:lnTo>
                  <a:lnTo>
                    <a:pt x="551154" y="165176"/>
                  </a:lnTo>
                  <a:lnTo>
                    <a:pt x="540304" y="157335"/>
                  </a:lnTo>
                  <a:lnTo>
                    <a:pt x="524817" y="150158"/>
                  </a:lnTo>
                  <a:lnTo>
                    <a:pt x="504373" y="145620"/>
                  </a:lnTo>
                  <a:close/>
                </a:path>
                <a:path w="601344" h="352425">
                  <a:moveTo>
                    <a:pt x="535889" y="0"/>
                  </a:moveTo>
                  <a:lnTo>
                    <a:pt x="510547" y="5117"/>
                  </a:lnTo>
                  <a:lnTo>
                    <a:pt x="489850" y="19073"/>
                  </a:lnTo>
                  <a:lnTo>
                    <a:pt x="475894" y="39771"/>
                  </a:lnTo>
                  <a:lnTo>
                    <a:pt x="470776" y="65112"/>
                  </a:lnTo>
                  <a:lnTo>
                    <a:pt x="475894" y="90460"/>
                  </a:lnTo>
                  <a:lnTo>
                    <a:pt x="489850" y="111156"/>
                  </a:lnTo>
                  <a:lnTo>
                    <a:pt x="510547" y="125109"/>
                  </a:lnTo>
                  <a:lnTo>
                    <a:pt x="535889" y="130225"/>
                  </a:lnTo>
                  <a:lnTo>
                    <a:pt x="561236" y="125109"/>
                  </a:lnTo>
                  <a:lnTo>
                    <a:pt x="581933" y="111156"/>
                  </a:lnTo>
                  <a:lnTo>
                    <a:pt x="595885" y="90460"/>
                  </a:lnTo>
                  <a:lnTo>
                    <a:pt x="601002" y="65112"/>
                  </a:lnTo>
                  <a:lnTo>
                    <a:pt x="595885" y="39771"/>
                  </a:lnTo>
                  <a:lnTo>
                    <a:pt x="581933" y="19073"/>
                  </a:lnTo>
                  <a:lnTo>
                    <a:pt x="561236" y="5117"/>
                  </a:lnTo>
                  <a:lnTo>
                    <a:pt x="535889" y="0"/>
                  </a:lnTo>
                  <a:close/>
                </a:path>
              </a:pathLst>
            </a:custGeom>
            <a:solidFill>
              <a:srgbClr val="0077C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pic>
          <p:nvPicPr>
            <p:cNvPr id="10" name="object 6">
              <a:extLst>
                <a:ext uri="{FF2B5EF4-FFF2-40B4-BE49-F238E27FC236}">
                  <a16:creationId xmlns:a16="http://schemas.microsoft.com/office/drawing/2014/main" id="{DA186746-F60E-4483-9DBA-FB1ECDBD7289}"/>
                </a:ext>
              </a:extLst>
            </p:cNvPr>
            <p:cNvPicPr/>
            <p:nvPr/>
          </p:nvPicPr>
          <p:blipFill>
            <a:blip r:embed="rId2" cstate="print"/>
            <a:stretch>
              <a:fillRect/>
            </a:stretch>
          </p:blipFill>
          <p:spPr>
            <a:xfrm>
              <a:off x="1062813" y="4384141"/>
              <a:ext cx="158167" cy="178754"/>
            </a:xfrm>
            <a:prstGeom prst="rect">
              <a:avLst/>
            </a:prstGeom>
          </p:spPr>
        </p:pic>
        <p:pic>
          <p:nvPicPr>
            <p:cNvPr id="11" name="object 7">
              <a:extLst>
                <a:ext uri="{FF2B5EF4-FFF2-40B4-BE49-F238E27FC236}">
                  <a16:creationId xmlns:a16="http://schemas.microsoft.com/office/drawing/2014/main" id="{D23C2316-7169-45C1-A828-2DDD4D89C4A5}"/>
                </a:ext>
              </a:extLst>
            </p:cNvPr>
            <p:cNvPicPr/>
            <p:nvPr/>
          </p:nvPicPr>
          <p:blipFill>
            <a:blip r:embed="rId3" cstate="print"/>
            <a:stretch>
              <a:fillRect/>
            </a:stretch>
          </p:blipFill>
          <p:spPr>
            <a:xfrm>
              <a:off x="856094" y="4198561"/>
              <a:ext cx="79006" cy="114710"/>
            </a:xfrm>
            <a:prstGeom prst="rect">
              <a:avLst/>
            </a:prstGeom>
          </p:spPr>
        </p:pic>
      </p:grpSp>
      <p:sp>
        <p:nvSpPr>
          <p:cNvPr id="12" name="object 10">
            <a:extLst>
              <a:ext uri="{FF2B5EF4-FFF2-40B4-BE49-F238E27FC236}">
                <a16:creationId xmlns:a16="http://schemas.microsoft.com/office/drawing/2014/main" id="{A740233A-E2F1-42A5-A908-79ACC0088454}"/>
              </a:ext>
            </a:extLst>
          </p:cNvPr>
          <p:cNvSpPr txBox="1"/>
          <p:nvPr/>
        </p:nvSpPr>
        <p:spPr>
          <a:xfrm>
            <a:off x="1547665" y="771550"/>
            <a:ext cx="2808312" cy="596189"/>
          </a:xfrm>
          <a:prstGeom prst="rect">
            <a:avLst/>
          </a:prstGeom>
        </p:spPr>
        <p:txBody>
          <a:bodyPr vert="horz" wrap="square" lIns="0" tIns="92710" rIns="0" bIns="0" rtlCol="0">
            <a:spAutoFit/>
          </a:bodyPr>
          <a:lstStyle/>
          <a:p>
            <a:pPr marL="12699">
              <a:spcBef>
                <a:spcPts val="730"/>
              </a:spcBef>
            </a:pPr>
            <a:r>
              <a:rPr sz="1300" b="1" dirty="0">
                <a:solidFill>
                  <a:srgbClr val="231F20"/>
                </a:solidFill>
                <a:latin typeface="Neue Frutiger World" panose="020B0603040304020203" pitchFamily="34" charset="0"/>
                <a:cs typeface="Neue Frutiger World" panose="020B0603040304020203" pitchFamily="34" charset="0"/>
              </a:rPr>
              <a:t>Open ended</a:t>
            </a:r>
            <a:r>
              <a:rPr sz="1300" b="1" spc="5"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question:</a:t>
            </a:r>
            <a:endParaRPr sz="1300" dirty="0">
              <a:latin typeface="Neue Frutiger World" panose="020B0603040304020203" pitchFamily="34" charset="0"/>
              <a:cs typeface="Neue Frutiger World" panose="020B0603040304020203" pitchFamily="34" charset="0"/>
            </a:endParaRPr>
          </a:p>
          <a:p>
            <a:pPr marL="12699" marR="5079">
              <a:lnSpc>
                <a:spcPct val="104200"/>
              </a:lnSpc>
              <a:spcBef>
                <a:spcPts val="350"/>
              </a:spcBef>
            </a:pPr>
            <a:r>
              <a:rPr sz="800" spc="-5" dirty="0">
                <a:solidFill>
                  <a:srgbClr val="231F20"/>
                </a:solidFill>
                <a:latin typeface="Neue Frutiger World" panose="020B0603040304020203" pitchFamily="34" charset="0"/>
                <a:cs typeface="Neue Frutiger World" panose="020B0603040304020203" pitchFamily="34" charset="0"/>
              </a:rPr>
              <a:t>Does</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r</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linic</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staff</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egularly</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k</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r</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f</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y</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en</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rescribed</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ntibiotics</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ince </a:t>
            </a:r>
            <a:r>
              <a:rPr sz="800" spc="-10" dirty="0">
                <a:solidFill>
                  <a:srgbClr val="231F20"/>
                </a:solidFill>
                <a:latin typeface="Neue Frutiger World" panose="020B0603040304020203" pitchFamily="34" charset="0"/>
                <a:cs typeface="Neue Frutiger World" panose="020B0603040304020203" pitchFamily="34" charset="0"/>
              </a:rPr>
              <a:t>their</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last</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visit?</a:t>
            </a:r>
            <a:endParaRPr sz="800" dirty="0">
              <a:latin typeface="Neue Frutiger World" panose="020B0603040304020203" pitchFamily="34" charset="0"/>
              <a:cs typeface="Neue Frutiger World" panose="020B0603040304020203" pitchFamily="34" charset="0"/>
            </a:endParaRPr>
          </a:p>
        </p:txBody>
      </p:sp>
      <p:sp>
        <p:nvSpPr>
          <p:cNvPr id="13" name="object 11">
            <a:extLst>
              <a:ext uri="{FF2B5EF4-FFF2-40B4-BE49-F238E27FC236}">
                <a16:creationId xmlns:a16="http://schemas.microsoft.com/office/drawing/2014/main" id="{D458B9C4-3A79-4ED9-AB5A-5F2753031DF4}"/>
              </a:ext>
            </a:extLst>
          </p:cNvPr>
          <p:cNvSpPr txBox="1"/>
          <p:nvPr/>
        </p:nvSpPr>
        <p:spPr>
          <a:xfrm>
            <a:off x="1547665" y="1522119"/>
            <a:ext cx="2808312" cy="591187"/>
          </a:xfrm>
          <a:prstGeom prst="rect">
            <a:avLst/>
          </a:prstGeom>
        </p:spPr>
        <p:txBody>
          <a:bodyPr vert="horz" wrap="square" lIns="0" tIns="92710" rIns="0" bIns="0" rtlCol="0">
            <a:spAutoFit/>
          </a:bodyPr>
          <a:lstStyle/>
          <a:p>
            <a:pPr marL="12699">
              <a:spcBef>
                <a:spcPts val="730"/>
              </a:spcBef>
            </a:pPr>
            <a:r>
              <a:rPr sz="1300" b="1" spc="-15" dirty="0">
                <a:solidFill>
                  <a:srgbClr val="231F20"/>
                </a:solidFill>
                <a:latin typeface="Neue Frutiger World" panose="020B0603040304020203" pitchFamily="34" charset="0"/>
                <a:cs typeface="Neue Frutiger World" panose="020B0603040304020203" pitchFamily="34" charset="0"/>
              </a:rPr>
              <a:t>Potential</a:t>
            </a:r>
            <a:r>
              <a:rPr sz="1300" b="1" spc="25" dirty="0">
                <a:solidFill>
                  <a:srgbClr val="231F20"/>
                </a:solidFill>
                <a:latin typeface="Neue Frutiger World" panose="020B0603040304020203" pitchFamily="34" charset="0"/>
                <a:cs typeface="Neue Frutiger World" panose="020B0603040304020203" pitchFamily="34" charset="0"/>
              </a:rPr>
              <a:t> </a:t>
            </a:r>
            <a:r>
              <a:rPr sz="1300" b="1" dirty="0">
                <a:solidFill>
                  <a:srgbClr val="231F20"/>
                </a:solidFill>
                <a:latin typeface="Neue Frutiger World" panose="020B0603040304020203" pitchFamily="34" charset="0"/>
                <a:cs typeface="Neue Frutiger World" panose="020B0603040304020203" pitchFamily="34" charset="0"/>
              </a:rPr>
              <a:t>physician</a:t>
            </a:r>
            <a:r>
              <a:rPr sz="1300" b="1" spc="30"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12699">
              <a:spcBef>
                <a:spcPts val="390"/>
              </a:spcBef>
            </a:pPr>
            <a:r>
              <a:rPr sz="800" spc="-15" dirty="0">
                <a:solidFill>
                  <a:srgbClr val="231F20"/>
                </a:solidFill>
                <a:latin typeface="Neue Frutiger World" panose="020B0603040304020203" pitchFamily="34" charset="0"/>
                <a:cs typeface="Neue Frutiger World" panose="020B0603040304020203" pitchFamily="34" charset="0"/>
              </a:rPr>
              <a:t>It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rt</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ur</a:t>
            </a:r>
            <a:r>
              <a:rPr sz="800" spc="-10" dirty="0">
                <a:solidFill>
                  <a:srgbClr val="231F20"/>
                </a:solidFill>
                <a:latin typeface="Neue Frutiger World" panose="020B0603040304020203" pitchFamily="34" charset="0"/>
                <a:cs typeface="Neue Frutiger World" panose="020B0603040304020203" pitchFamily="34" charset="0"/>
              </a:rPr>
              <a:t> standard</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ractic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hy</a:t>
            </a:r>
            <a:r>
              <a:rPr sz="800" spc="-4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ould</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y</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need</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k</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question?</a:t>
            </a:r>
            <a:endParaRPr sz="800" dirty="0">
              <a:latin typeface="Neue Frutiger World" panose="020B0603040304020203" pitchFamily="34" charset="0"/>
              <a:cs typeface="Neue Frutiger World" panose="020B0603040304020203" pitchFamily="34" charset="0"/>
            </a:endParaRPr>
          </a:p>
        </p:txBody>
      </p:sp>
      <p:sp>
        <p:nvSpPr>
          <p:cNvPr id="14" name="object 12">
            <a:extLst>
              <a:ext uri="{FF2B5EF4-FFF2-40B4-BE49-F238E27FC236}">
                <a16:creationId xmlns:a16="http://schemas.microsoft.com/office/drawing/2014/main" id="{E3AE3CD7-DEA5-4509-80CD-ECB70632CC4F}"/>
              </a:ext>
            </a:extLst>
          </p:cNvPr>
          <p:cNvSpPr txBox="1"/>
          <p:nvPr/>
        </p:nvSpPr>
        <p:spPr>
          <a:xfrm>
            <a:off x="5203547" y="771550"/>
            <a:ext cx="3664536" cy="3182281"/>
          </a:xfrm>
          <a:prstGeom prst="rect">
            <a:avLst/>
          </a:prstGeom>
        </p:spPr>
        <p:txBody>
          <a:bodyPr vert="horz" wrap="square" lIns="0" tIns="92710" rIns="0" bIns="0" rtlCol="0">
            <a:spAutoFit/>
          </a:bodyPr>
          <a:lstStyle/>
          <a:p>
            <a:pPr marL="38097">
              <a:spcBef>
                <a:spcPts val="730"/>
              </a:spcBef>
            </a:pPr>
            <a:r>
              <a:rPr sz="1300" b="1" spc="-5" dirty="0">
                <a:solidFill>
                  <a:srgbClr val="231F20"/>
                </a:solidFill>
                <a:latin typeface="Neue Frutiger World" panose="020B0603040304020203" pitchFamily="34" charset="0"/>
                <a:cs typeface="Neue Frutiger World" panose="020B0603040304020203" pitchFamily="34" charset="0"/>
              </a:rPr>
              <a:t>Rep</a:t>
            </a:r>
            <a:r>
              <a:rPr sz="1300" b="1"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38097" marR="30477">
              <a:lnSpc>
                <a:spcPct val="104200"/>
              </a:lnSpc>
              <a:spcBef>
                <a:spcPts val="350"/>
              </a:spcBef>
            </a:pPr>
            <a:r>
              <a:rPr sz="800" spc="-5" dirty="0">
                <a:solidFill>
                  <a:srgbClr val="231F20"/>
                </a:solidFill>
                <a:latin typeface="Neue Frutiger World" panose="020B0603040304020203" pitchFamily="34" charset="0"/>
                <a:cs typeface="Neue Frutiger World" panose="020B0603040304020203" pitchFamily="34" charset="0"/>
              </a:rPr>
              <a:t>While</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I</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m</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ure</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r</a:t>
            </a:r>
            <a:r>
              <a:rPr sz="800" spc="-1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staff</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eadily</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agnos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fection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mptoms</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ic</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n</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rickier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agnos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ic</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en</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hown</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year</a:t>
            </a:r>
            <a:r>
              <a:rPr lang="en-GB"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mortality</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31%,</a:t>
            </a:r>
            <a:r>
              <a:rPr sz="800" baseline="30864" dirty="0">
                <a:solidFill>
                  <a:srgbClr val="231F20"/>
                </a:solidFill>
                <a:latin typeface="Neue Frutiger World" panose="020B0603040304020203" pitchFamily="34" charset="0"/>
                <a:cs typeface="Neue Frutiger World" panose="020B0603040304020203" pitchFamily="34" charset="0"/>
              </a:rPr>
              <a:t>12</a:t>
            </a:r>
            <a:r>
              <a:rPr sz="800" spc="112" baseline="30864"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hich</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creas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f</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rogresses</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endocarditis.</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king</a:t>
            </a:r>
            <a:r>
              <a:rPr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f</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y</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e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rescribed</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ntibiotic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n</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rovide</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r</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staff</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clu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y</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may</a:t>
            </a:r>
            <a:r>
              <a:rPr lang="en-GB"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want</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g</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deeper.</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Data</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hown</a:t>
            </a:r>
            <a:r>
              <a:rPr lang="en-GB" sz="800" spc="-5" dirty="0">
                <a:solidFill>
                  <a:srgbClr val="231F20"/>
                </a:solidFill>
                <a:latin typeface="Neue Frutiger World" panose="020B0603040304020203" pitchFamily="34" charset="0"/>
                <a:cs typeface="Neue Frutiger World" panose="020B0603040304020203" pitchFamily="34" charset="0"/>
              </a:rPr>
              <a: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ll</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originat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rom</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r</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ads.</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secondary</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rom</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different</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ource</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ma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us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ad</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r</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fection.</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n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tud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howed</a:t>
            </a:r>
            <a:r>
              <a:rPr lang="en-GB"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27.3%</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patient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d</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5" dirty="0">
                <a:solidFill>
                  <a:srgbClr val="231F20"/>
                </a:solidFill>
                <a:latin typeface="Neue Frutiger World" panose="020B0603040304020203" pitchFamily="34" charset="0"/>
                <a:cs typeface="Neue Frutiger World" panose="020B0603040304020203" pitchFamily="34" charset="0"/>
              </a:rPr>
              <a:t> </a:t>
            </a:r>
            <a:r>
              <a:rPr lang="en-GB" sz="800" spc="-15" dirty="0">
                <a:solidFill>
                  <a:srgbClr val="231F20"/>
                </a:solidFill>
                <a:latin typeface="Neue Frutiger World" panose="020B0603040304020203" pitchFamily="34" charset="0"/>
                <a:cs typeface="Neue Frutiger World" panose="020B0603040304020203" pitchFamily="34" charset="0"/>
              </a:rPr>
              <a:t>which</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originated</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rom</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distan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r</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unknown</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ourc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other</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a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r</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ads).</a:t>
            </a:r>
            <a:r>
              <a:rPr sz="800" spc="-7" baseline="30864" dirty="0">
                <a:solidFill>
                  <a:srgbClr val="231F20"/>
                </a:solidFill>
                <a:latin typeface="Neue Frutiger World" panose="020B0603040304020203" pitchFamily="34" charset="0"/>
                <a:cs typeface="Neue Frutiger World" panose="020B0603040304020203" pitchFamily="34" charset="0"/>
              </a:rPr>
              <a:t>13</a:t>
            </a:r>
            <a:r>
              <a:rPr lang="en-GB" sz="800" spc="-7" baseline="30864"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tential</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uses</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secondary</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fection</a:t>
            </a:r>
            <a:r>
              <a:rPr sz="800" spc="-7" baseline="30864" dirty="0">
                <a:solidFill>
                  <a:srgbClr val="231F20"/>
                </a:solidFill>
                <a:latin typeface="Neue Frutiger World" panose="020B0603040304020203" pitchFamily="34" charset="0"/>
                <a:cs typeface="Neue Frutiger World" panose="020B0603040304020203" pitchFamily="34" charset="0"/>
              </a:rPr>
              <a:t>14</a:t>
            </a:r>
            <a:r>
              <a:rPr sz="800" spc="-5" dirty="0">
                <a:solidFill>
                  <a:srgbClr val="231F20"/>
                </a:solidFill>
                <a:latin typeface="Neue Frutiger World" panose="020B0603040304020203" pitchFamily="34" charset="0"/>
                <a:cs typeface="Neue Frutiger World" panose="020B0603040304020203" pitchFamily="34" charset="0"/>
              </a:rPr>
              <a:t>:</a:t>
            </a:r>
            <a:endParaRPr sz="800" dirty="0">
              <a:latin typeface="Neue Frutiger World" panose="020B0603040304020203" pitchFamily="34" charset="0"/>
              <a:cs typeface="Neue Frutiger World" panose="020B0603040304020203" pitchFamily="34" charset="0"/>
            </a:endParaRPr>
          </a:p>
          <a:p>
            <a:pPr marL="139688" indent="-101592">
              <a:spcBef>
                <a:spcPts val="490"/>
              </a:spcBef>
              <a:buChar char="•"/>
              <a:tabLst>
                <a:tab pos="139688" algn="l"/>
              </a:tabLst>
            </a:pPr>
            <a:r>
              <a:rPr sz="800" spc="-10" dirty="0">
                <a:solidFill>
                  <a:srgbClr val="231F20"/>
                </a:solidFill>
                <a:latin typeface="Neue Frutiger World" panose="020B0603040304020203" pitchFamily="34" charset="0"/>
                <a:cs typeface="Neue Frutiger World" panose="020B0603040304020203" pitchFamily="34" charset="0"/>
              </a:rPr>
              <a:t>Catheter</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bloodstream</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endParaRPr sz="800" dirty="0">
              <a:latin typeface="Neue Frutiger World" panose="020B0603040304020203" pitchFamily="34" charset="0"/>
              <a:cs typeface="Neue Frutiger World" panose="020B0603040304020203" pitchFamily="34" charset="0"/>
            </a:endParaRPr>
          </a:p>
          <a:p>
            <a:pPr marL="139688" indent="-101592">
              <a:spcBef>
                <a:spcPts val="490"/>
              </a:spcBef>
              <a:buChar char="•"/>
              <a:tabLst>
                <a:tab pos="139688" algn="l"/>
              </a:tabLst>
            </a:pPr>
            <a:r>
              <a:rPr sz="800" spc="-10" dirty="0">
                <a:solidFill>
                  <a:srgbClr val="231F20"/>
                </a:solidFill>
                <a:latin typeface="Neue Frutiger World" panose="020B0603040304020203" pitchFamily="34" charset="0"/>
                <a:cs typeface="Neue Frutiger World" panose="020B0603040304020203" pitchFamily="34" charset="0"/>
              </a:rPr>
              <a:t>Intravascular</a:t>
            </a:r>
            <a:r>
              <a:rPr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catheters</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alysi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catheters)</a:t>
            </a:r>
            <a:endParaRPr sz="800" dirty="0">
              <a:latin typeface="Neue Frutiger World" panose="020B0603040304020203" pitchFamily="34" charset="0"/>
              <a:cs typeface="Neue Frutiger World" panose="020B0603040304020203" pitchFamily="34" charset="0"/>
            </a:endParaRPr>
          </a:p>
          <a:p>
            <a:pPr marL="139688" indent="-101592">
              <a:spcBef>
                <a:spcPts val="490"/>
              </a:spcBef>
              <a:buChar char="•"/>
              <a:tabLst>
                <a:tab pos="139688" algn="l"/>
              </a:tabLst>
            </a:pPr>
            <a:r>
              <a:rPr sz="800" spc="-5" dirty="0">
                <a:solidFill>
                  <a:srgbClr val="231F20"/>
                </a:solidFill>
                <a:latin typeface="Neue Frutiger World" panose="020B0603040304020203" pitchFamily="34" charset="0"/>
                <a:cs typeface="Neue Frutiger World" panose="020B0603040304020203" pitchFamily="34" charset="0"/>
              </a:rPr>
              <a:t>Decubitus</a:t>
            </a:r>
            <a:r>
              <a:rPr sz="800" spc="-4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ulcers</a:t>
            </a:r>
            <a:endParaRPr sz="800" dirty="0">
              <a:latin typeface="Neue Frutiger World" panose="020B0603040304020203" pitchFamily="34" charset="0"/>
              <a:cs typeface="Neue Frutiger World" panose="020B0603040304020203" pitchFamily="34" charset="0"/>
            </a:endParaRPr>
          </a:p>
          <a:p>
            <a:pPr marL="139688" indent="-101592">
              <a:spcBef>
                <a:spcPts val="490"/>
              </a:spcBef>
              <a:buChar char="•"/>
              <a:tabLst>
                <a:tab pos="139688" algn="l"/>
              </a:tabLst>
            </a:pPr>
            <a:r>
              <a:rPr sz="800" spc="-5" dirty="0">
                <a:solidFill>
                  <a:srgbClr val="231F20"/>
                </a:solidFill>
                <a:latin typeface="Neue Frutiger World" panose="020B0603040304020203" pitchFamily="34" charset="0"/>
                <a:cs typeface="Neue Frutiger World" panose="020B0603040304020203" pitchFamily="34" charset="0"/>
              </a:rPr>
              <a:t>Septic</a:t>
            </a:r>
            <a:r>
              <a:rPr sz="800" spc="-3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thritis</a:t>
            </a:r>
            <a:r>
              <a:rPr lang="en-GB" sz="800" spc="-10" dirty="0">
                <a:solidFill>
                  <a:srgbClr val="231F20"/>
                </a:solidFill>
                <a:latin typeface="Neue Frutiger World" panose="020B0603040304020203" pitchFamily="34" charset="0"/>
                <a:cs typeface="Neue Frutiger World" panose="020B0603040304020203" pitchFamily="34" charset="0"/>
              </a:rPr>
              <a:t>m</a:t>
            </a:r>
          </a:p>
          <a:p>
            <a:pPr marL="38096">
              <a:spcBef>
                <a:spcPts val="490"/>
              </a:spcBef>
              <a:tabLst>
                <a:tab pos="139688" algn="l"/>
              </a:tabLst>
            </a:pPr>
            <a:endParaRPr lang="en-GB" sz="800" spc="-10" dirty="0">
              <a:solidFill>
                <a:srgbClr val="231F20"/>
              </a:solidFill>
              <a:latin typeface="Neue Frutiger World" panose="020B0603040304020203" pitchFamily="34" charset="0"/>
              <a:cs typeface="Neue Frutiger World" panose="020B0603040304020203" pitchFamily="34" charset="0"/>
            </a:endParaRPr>
          </a:p>
          <a:p>
            <a:pPr marL="38096">
              <a:spcBef>
                <a:spcPts val="490"/>
              </a:spcBef>
              <a:tabLst>
                <a:tab pos="139688" algn="l"/>
              </a:tabLst>
            </a:pPr>
            <a:r>
              <a:rPr lang="en-US" sz="800" spc="-5" dirty="0">
                <a:solidFill>
                  <a:srgbClr val="231F20"/>
                </a:solidFill>
                <a:latin typeface="Neue Frutiger World" panose="020B0603040304020203" pitchFamily="34" charset="0"/>
                <a:cs typeface="Neue Frutiger World" panose="020B0603040304020203" pitchFamily="34" charset="0"/>
              </a:rPr>
              <a:t>This</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is</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why</a:t>
            </a:r>
            <a:r>
              <a:rPr lang="en-US" sz="800" spc="-2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asking</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about</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antibiotic</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use</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since</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the</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last</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visit,</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in</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combination</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with</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checking </a:t>
            </a:r>
            <a:r>
              <a:rPr lang="en-US" sz="800" spc="-5" dirty="0">
                <a:solidFill>
                  <a:srgbClr val="231F20"/>
                </a:solidFill>
                <a:latin typeface="Neue Frutiger World" panose="020B0603040304020203" pitchFamily="34" charset="0"/>
                <a:cs typeface="Neue Frutiger World" panose="020B0603040304020203" pitchFamily="34" charset="0"/>
              </a:rPr>
              <a:t>symptoms</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can</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help</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identify</a:t>
            </a:r>
            <a:r>
              <a:rPr lang="en-US" sz="800" spc="-2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device</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infections</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early</a:t>
            </a:r>
          </a:p>
          <a:p>
            <a:pPr marL="38096">
              <a:spcBef>
                <a:spcPts val="490"/>
              </a:spcBef>
              <a:tabLst>
                <a:tab pos="139688" algn="l"/>
              </a:tabLst>
            </a:pPr>
            <a:r>
              <a:rPr lang="en-US" sz="800" dirty="0">
                <a:solidFill>
                  <a:srgbClr val="00A9EB"/>
                </a:solidFill>
                <a:latin typeface="Neue Frutiger World" panose="020B0603040304020203" pitchFamily="34" charset="0"/>
                <a:cs typeface="Neue Frutiger World" panose="020B0603040304020203" pitchFamily="34" charset="0"/>
              </a:rPr>
              <a:t>Can</a:t>
            </a:r>
            <a:r>
              <a:rPr lang="en-US" sz="800" spc="5" dirty="0">
                <a:solidFill>
                  <a:srgbClr val="00A9EB"/>
                </a:solidFill>
                <a:latin typeface="Neue Frutiger World" panose="020B0603040304020203" pitchFamily="34" charset="0"/>
                <a:cs typeface="Neue Frutiger World" panose="020B0603040304020203" pitchFamily="34" charset="0"/>
              </a:rPr>
              <a:t> </a:t>
            </a:r>
            <a:r>
              <a:rPr lang="en-US" sz="800" dirty="0">
                <a:solidFill>
                  <a:srgbClr val="00A9EB"/>
                </a:solidFill>
                <a:latin typeface="Neue Frutiger World" panose="020B0603040304020203" pitchFamily="34" charset="0"/>
                <a:cs typeface="Neue Frutiger World" panose="020B0603040304020203" pitchFamily="34" charset="0"/>
              </a:rPr>
              <a:t>I</a:t>
            </a:r>
            <a:r>
              <a:rPr lang="en-US" sz="800" spc="10" dirty="0">
                <a:solidFill>
                  <a:srgbClr val="00A9EB"/>
                </a:solidFill>
                <a:latin typeface="Neue Frutiger World" panose="020B0603040304020203" pitchFamily="34" charset="0"/>
                <a:cs typeface="Neue Frutiger World" panose="020B0603040304020203" pitchFamily="34" charset="0"/>
              </a:rPr>
              <a:t> </a:t>
            </a:r>
            <a:r>
              <a:rPr lang="en-US" sz="800" spc="-10" dirty="0">
                <a:solidFill>
                  <a:srgbClr val="00A9EB"/>
                </a:solidFill>
                <a:latin typeface="Neue Frutiger World" panose="020B0603040304020203" pitchFamily="34" charset="0"/>
                <a:cs typeface="Neue Frutiger World" panose="020B0603040304020203" pitchFamily="34" charset="0"/>
              </a:rPr>
              <a:t>set</a:t>
            </a:r>
            <a:r>
              <a:rPr lang="en-US" sz="800" spc="10" dirty="0">
                <a:solidFill>
                  <a:srgbClr val="00A9EB"/>
                </a:solidFill>
                <a:latin typeface="Neue Frutiger World" panose="020B0603040304020203" pitchFamily="34" charset="0"/>
                <a:cs typeface="Neue Frutiger World" panose="020B0603040304020203" pitchFamily="34" charset="0"/>
              </a:rPr>
              <a:t> </a:t>
            </a:r>
            <a:r>
              <a:rPr lang="en-US" sz="800" spc="-5" dirty="0">
                <a:solidFill>
                  <a:srgbClr val="00A9EB"/>
                </a:solidFill>
                <a:latin typeface="Neue Frutiger World" panose="020B0603040304020203" pitchFamily="34" charset="0"/>
                <a:cs typeface="Neue Frutiger World" panose="020B0603040304020203" pitchFamily="34" charset="0"/>
              </a:rPr>
              <a:t>up</a:t>
            </a:r>
            <a:r>
              <a:rPr lang="en-US" sz="800" spc="10" dirty="0">
                <a:solidFill>
                  <a:srgbClr val="00A9EB"/>
                </a:solidFill>
                <a:latin typeface="Neue Frutiger World" panose="020B0603040304020203" pitchFamily="34" charset="0"/>
                <a:cs typeface="Neue Frutiger World" panose="020B0603040304020203" pitchFamily="34" charset="0"/>
              </a:rPr>
              <a:t> </a:t>
            </a:r>
            <a:r>
              <a:rPr lang="en-US" sz="800" spc="-5" dirty="0">
                <a:solidFill>
                  <a:srgbClr val="00A9EB"/>
                </a:solidFill>
                <a:latin typeface="Neue Frutiger World" panose="020B0603040304020203" pitchFamily="34" charset="0"/>
                <a:cs typeface="Neue Frutiger World" panose="020B0603040304020203" pitchFamily="34" charset="0"/>
              </a:rPr>
              <a:t>a meeting with</a:t>
            </a:r>
            <a:r>
              <a:rPr lang="en-US" sz="800" spc="-15" dirty="0">
                <a:solidFill>
                  <a:srgbClr val="00A9EB"/>
                </a:solidFill>
                <a:latin typeface="Neue Frutiger World" panose="020B0603040304020203" pitchFamily="34" charset="0"/>
                <a:cs typeface="Neue Frutiger World" panose="020B0603040304020203" pitchFamily="34" charset="0"/>
              </a:rPr>
              <a:t> </a:t>
            </a:r>
            <a:r>
              <a:rPr lang="en-US" sz="800" dirty="0">
                <a:solidFill>
                  <a:srgbClr val="00A9EB"/>
                </a:solidFill>
                <a:latin typeface="Neue Frutiger World" panose="020B0603040304020203" pitchFamily="34" charset="0"/>
                <a:cs typeface="Neue Frutiger World" panose="020B0603040304020203" pitchFamily="34" charset="0"/>
              </a:rPr>
              <a:t>your</a:t>
            </a:r>
            <a:r>
              <a:rPr lang="en-US" sz="800" spc="-10" dirty="0">
                <a:solidFill>
                  <a:srgbClr val="00A9EB"/>
                </a:solidFill>
                <a:latin typeface="Neue Frutiger World" panose="020B0603040304020203" pitchFamily="34" charset="0"/>
                <a:cs typeface="Neue Frutiger World" panose="020B0603040304020203" pitchFamily="34" charset="0"/>
              </a:rPr>
              <a:t> </a:t>
            </a:r>
            <a:r>
              <a:rPr lang="en-US" sz="800" spc="-20" dirty="0">
                <a:solidFill>
                  <a:srgbClr val="00A9EB"/>
                </a:solidFill>
                <a:latin typeface="Neue Frutiger World" panose="020B0603040304020203" pitchFamily="34" charset="0"/>
                <a:cs typeface="Neue Frutiger World" panose="020B0603040304020203" pitchFamily="34" charset="0"/>
              </a:rPr>
              <a:t>staff, </a:t>
            </a:r>
            <a:r>
              <a:rPr lang="en-US" sz="800" spc="-5" dirty="0">
                <a:solidFill>
                  <a:srgbClr val="00A9EB"/>
                </a:solidFill>
                <a:latin typeface="Neue Frutiger World" panose="020B0603040304020203" pitchFamily="34" charset="0"/>
                <a:cs typeface="Neue Frutiger World" panose="020B0603040304020203" pitchFamily="34" charset="0"/>
              </a:rPr>
              <a:t>where</a:t>
            </a:r>
            <a:r>
              <a:rPr lang="en-US" sz="800" spc="-15" dirty="0">
                <a:solidFill>
                  <a:srgbClr val="00A9EB"/>
                </a:solidFill>
                <a:latin typeface="Neue Frutiger World" panose="020B0603040304020203" pitchFamily="34" charset="0"/>
                <a:cs typeface="Neue Frutiger World" panose="020B0603040304020203" pitchFamily="34" charset="0"/>
              </a:rPr>
              <a:t> </a:t>
            </a:r>
            <a:r>
              <a:rPr lang="en-US" sz="800" spc="-5" dirty="0">
                <a:solidFill>
                  <a:srgbClr val="00A9EB"/>
                </a:solidFill>
                <a:latin typeface="Neue Frutiger World" panose="020B0603040304020203" pitchFamily="34" charset="0"/>
                <a:cs typeface="Neue Frutiger World" panose="020B0603040304020203" pitchFamily="34" charset="0"/>
              </a:rPr>
              <a:t>we</a:t>
            </a:r>
            <a:r>
              <a:rPr lang="en-US" sz="800" spc="10" dirty="0">
                <a:solidFill>
                  <a:srgbClr val="00A9EB"/>
                </a:solidFill>
                <a:latin typeface="Neue Frutiger World" panose="020B0603040304020203" pitchFamily="34" charset="0"/>
                <a:cs typeface="Neue Frutiger World" panose="020B0603040304020203" pitchFamily="34" charset="0"/>
              </a:rPr>
              <a:t> </a:t>
            </a:r>
            <a:r>
              <a:rPr lang="en-US" sz="800" spc="-5" dirty="0">
                <a:solidFill>
                  <a:srgbClr val="00A9EB"/>
                </a:solidFill>
                <a:latin typeface="Neue Frutiger World" panose="020B0603040304020203" pitchFamily="34" charset="0"/>
                <a:cs typeface="Neue Frutiger World" panose="020B0603040304020203" pitchFamily="34" charset="0"/>
              </a:rPr>
              <a:t>can</a:t>
            </a:r>
            <a:r>
              <a:rPr lang="en-US" sz="800" spc="10" dirty="0">
                <a:solidFill>
                  <a:srgbClr val="00A9EB"/>
                </a:solidFill>
                <a:latin typeface="Neue Frutiger World" panose="020B0603040304020203" pitchFamily="34" charset="0"/>
                <a:cs typeface="Neue Frutiger World" panose="020B0603040304020203" pitchFamily="34" charset="0"/>
              </a:rPr>
              <a:t> </a:t>
            </a:r>
            <a:r>
              <a:rPr lang="en-US" sz="800" spc="-5" dirty="0">
                <a:solidFill>
                  <a:srgbClr val="00A9EB"/>
                </a:solidFill>
                <a:latin typeface="Neue Frutiger World" panose="020B0603040304020203" pitchFamily="34" charset="0"/>
                <a:cs typeface="Neue Frutiger World" panose="020B0603040304020203" pitchFamily="34" charset="0"/>
              </a:rPr>
              <a:t>discuss</a:t>
            </a:r>
            <a:r>
              <a:rPr lang="en-US" sz="800" spc="5" dirty="0">
                <a:solidFill>
                  <a:srgbClr val="00A9EB"/>
                </a:solidFill>
                <a:latin typeface="Neue Frutiger World" panose="020B0603040304020203" pitchFamily="34" charset="0"/>
                <a:cs typeface="Neue Frutiger World" panose="020B0603040304020203" pitchFamily="34" charset="0"/>
              </a:rPr>
              <a:t> </a:t>
            </a:r>
            <a:r>
              <a:rPr lang="en-US" sz="800" spc="-5" dirty="0">
                <a:solidFill>
                  <a:srgbClr val="00A9EB"/>
                </a:solidFill>
                <a:latin typeface="Neue Frutiger World" panose="020B0603040304020203" pitchFamily="34" charset="0"/>
                <a:cs typeface="Neue Frutiger World" panose="020B0603040304020203" pitchFamily="34" charset="0"/>
              </a:rPr>
              <a:t>adding</a:t>
            </a:r>
            <a:r>
              <a:rPr lang="en-US" sz="800" spc="5" dirty="0">
                <a:solidFill>
                  <a:srgbClr val="00A9EB"/>
                </a:solidFill>
                <a:latin typeface="Neue Frutiger World" panose="020B0603040304020203" pitchFamily="34" charset="0"/>
                <a:cs typeface="Neue Frutiger World" panose="020B0603040304020203" pitchFamily="34" charset="0"/>
              </a:rPr>
              <a:t> </a:t>
            </a:r>
            <a:r>
              <a:rPr lang="en-US" sz="800" spc="-10" dirty="0">
                <a:solidFill>
                  <a:srgbClr val="00A9EB"/>
                </a:solidFill>
                <a:latin typeface="Neue Frutiger World" panose="020B0603040304020203" pitchFamily="34" charset="0"/>
                <a:cs typeface="Neue Frutiger World" panose="020B0603040304020203" pitchFamily="34" charset="0"/>
              </a:rPr>
              <a:t>this</a:t>
            </a:r>
            <a:r>
              <a:rPr lang="en-US" sz="800" spc="10" dirty="0">
                <a:solidFill>
                  <a:srgbClr val="00A9EB"/>
                </a:solidFill>
                <a:latin typeface="Neue Frutiger World" panose="020B0603040304020203" pitchFamily="34" charset="0"/>
                <a:cs typeface="Neue Frutiger World" panose="020B0603040304020203" pitchFamily="34" charset="0"/>
              </a:rPr>
              <a:t> </a:t>
            </a:r>
            <a:r>
              <a:rPr lang="en-US" sz="800" spc="-5" dirty="0">
                <a:solidFill>
                  <a:srgbClr val="00A9EB"/>
                </a:solidFill>
                <a:latin typeface="Neue Frutiger World" panose="020B0603040304020203" pitchFamily="34" charset="0"/>
                <a:cs typeface="Neue Frutiger World" panose="020B0603040304020203" pitchFamily="34" charset="0"/>
              </a:rPr>
              <a:t>question</a:t>
            </a:r>
            <a:r>
              <a:rPr lang="en-US" sz="800" spc="5" dirty="0">
                <a:solidFill>
                  <a:srgbClr val="00A9EB"/>
                </a:solidFill>
                <a:latin typeface="Neue Frutiger World" panose="020B0603040304020203" pitchFamily="34" charset="0"/>
                <a:cs typeface="Neue Frutiger World" panose="020B0603040304020203" pitchFamily="34" charset="0"/>
              </a:rPr>
              <a:t> </a:t>
            </a:r>
            <a:r>
              <a:rPr lang="en-US" sz="800" spc="-20" dirty="0">
                <a:solidFill>
                  <a:srgbClr val="00A9EB"/>
                </a:solidFill>
                <a:latin typeface="Neue Frutiger World" panose="020B0603040304020203" pitchFamily="34" charset="0"/>
                <a:cs typeface="Neue Frutiger World" panose="020B0603040304020203" pitchFamily="34" charset="0"/>
              </a:rPr>
              <a:t>to</a:t>
            </a:r>
            <a:r>
              <a:rPr lang="en-US" sz="800" dirty="0">
                <a:solidFill>
                  <a:srgbClr val="00A9EB"/>
                </a:solidFill>
                <a:latin typeface="Neue Frutiger World" panose="020B0603040304020203" pitchFamily="34" charset="0"/>
                <a:cs typeface="Neue Frutiger World" panose="020B0603040304020203" pitchFamily="34" charset="0"/>
              </a:rPr>
              <a:t> </a:t>
            </a:r>
            <a:r>
              <a:rPr lang="en-US" sz="800" spc="-10" dirty="0">
                <a:solidFill>
                  <a:srgbClr val="00A9EB"/>
                </a:solidFill>
                <a:latin typeface="Neue Frutiger World" panose="020B0603040304020203" pitchFamily="34" charset="0"/>
                <a:cs typeface="Neue Frutiger World" panose="020B0603040304020203" pitchFamily="34" charset="0"/>
              </a:rPr>
              <a:t>their current</a:t>
            </a:r>
            <a:r>
              <a:rPr lang="en-US" sz="800" spc="-20" dirty="0">
                <a:solidFill>
                  <a:srgbClr val="00A9EB"/>
                </a:solidFill>
                <a:latin typeface="Neue Frutiger World" panose="020B0603040304020203" pitchFamily="34" charset="0"/>
                <a:cs typeface="Neue Frutiger World" panose="020B0603040304020203" pitchFamily="34" charset="0"/>
              </a:rPr>
              <a:t> </a:t>
            </a:r>
            <a:r>
              <a:rPr lang="en-US" sz="800" spc="-5" dirty="0">
                <a:solidFill>
                  <a:srgbClr val="00A9EB"/>
                </a:solidFill>
                <a:latin typeface="Neue Frutiger World" panose="020B0603040304020203" pitchFamily="34" charset="0"/>
                <a:cs typeface="Neue Frutiger World" panose="020B0603040304020203" pitchFamily="34" charset="0"/>
              </a:rPr>
              <a:t>device</a:t>
            </a:r>
            <a:r>
              <a:rPr lang="en-US" sz="800" spc="5" dirty="0">
                <a:solidFill>
                  <a:srgbClr val="00A9EB"/>
                </a:solidFill>
                <a:latin typeface="Neue Frutiger World" panose="020B0603040304020203" pitchFamily="34" charset="0"/>
                <a:cs typeface="Neue Frutiger World" panose="020B0603040304020203" pitchFamily="34" charset="0"/>
              </a:rPr>
              <a:t> </a:t>
            </a:r>
            <a:r>
              <a:rPr lang="en-US" sz="800" dirty="0">
                <a:solidFill>
                  <a:srgbClr val="00A9EB"/>
                </a:solidFill>
                <a:latin typeface="Neue Frutiger World" panose="020B0603040304020203" pitchFamily="34" charset="0"/>
                <a:cs typeface="Neue Frutiger World" panose="020B0603040304020203" pitchFamily="34" charset="0"/>
              </a:rPr>
              <a:t>checkup</a:t>
            </a:r>
            <a:r>
              <a:rPr lang="en-US" sz="800" spc="5" dirty="0">
                <a:solidFill>
                  <a:srgbClr val="00A9EB"/>
                </a:solidFill>
                <a:latin typeface="Neue Frutiger World" panose="020B0603040304020203" pitchFamily="34" charset="0"/>
                <a:cs typeface="Neue Frutiger World" panose="020B0603040304020203" pitchFamily="34" charset="0"/>
              </a:rPr>
              <a:t> </a:t>
            </a:r>
            <a:r>
              <a:rPr lang="en-US" sz="800" spc="-5" dirty="0">
                <a:solidFill>
                  <a:srgbClr val="00A9EB"/>
                </a:solidFill>
                <a:latin typeface="Neue Frutiger World" panose="020B0603040304020203" pitchFamily="34" charset="0"/>
                <a:cs typeface="Neue Frutiger World" panose="020B0603040304020203" pitchFamily="34" charset="0"/>
              </a:rPr>
              <a:t>protocol?</a:t>
            </a:r>
            <a:endParaRPr lang="en-US" sz="800" dirty="0">
              <a:latin typeface="Neue Frutiger World" panose="020B0603040304020203" pitchFamily="34" charset="0"/>
              <a:cs typeface="Neue Frutiger World" panose="020B0603040304020203" pitchFamily="34" charset="0"/>
            </a:endParaRPr>
          </a:p>
        </p:txBody>
      </p:sp>
      <p:sp>
        <p:nvSpPr>
          <p:cNvPr id="17" name="object 16">
            <a:extLst>
              <a:ext uri="{FF2B5EF4-FFF2-40B4-BE49-F238E27FC236}">
                <a16:creationId xmlns:a16="http://schemas.microsoft.com/office/drawing/2014/main" id="{CE01B7E8-B907-4C13-BEBD-6EC0E288E41D}"/>
              </a:ext>
            </a:extLst>
          </p:cNvPr>
          <p:cNvSpPr txBox="1"/>
          <p:nvPr/>
        </p:nvSpPr>
        <p:spPr>
          <a:xfrm>
            <a:off x="1505006" y="3165334"/>
            <a:ext cx="1048024" cy="647934"/>
          </a:xfrm>
          <a:prstGeom prst="rect">
            <a:avLst/>
          </a:prstGeom>
        </p:spPr>
        <p:txBody>
          <a:bodyPr vert="horz" wrap="square" lIns="0" tIns="7620" rIns="0" bIns="0" rtlCol="0">
            <a:spAutoFit/>
          </a:bodyPr>
          <a:lstStyle/>
          <a:p>
            <a:pPr marL="38097" marR="30477">
              <a:lnSpc>
                <a:spcPct val="104200"/>
              </a:lnSpc>
              <a:spcBef>
                <a:spcPts val="60"/>
              </a:spcBef>
            </a:pPr>
            <a:r>
              <a:rPr sz="800" spc="-5" dirty="0">
                <a:solidFill>
                  <a:srgbClr val="231F20"/>
                </a:solidFill>
                <a:latin typeface="Neue Frutiger World" panose="020B0603040304020203" pitchFamily="34" charset="0"/>
                <a:cs typeface="Neue Frutiger World" panose="020B0603040304020203" pitchFamily="34" charset="0"/>
              </a:rPr>
              <a:t>Up </a:t>
            </a:r>
            <a:r>
              <a:rPr sz="800" spc="-20" dirty="0">
                <a:solidFill>
                  <a:srgbClr val="231F20"/>
                </a:solidFill>
                <a:latin typeface="Neue Frutiger World" panose="020B0603040304020203" pitchFamily="34" charset="0"/>
                <a:cs typeface="Neue Frutiger World" panose="020B0603040304020203" pitchFamily="34" charset="0"/>
              </a:rPr>
              <a:t>to </a:t>
            </a:r>
            <a:r>
              <a:rPr sz="800" spc="5" dirty="0">
                <a:solidFill>
                  <a:srgbClr val="231F20"/>
                </a:solidFill>
                <a:latin typeface="Neue Frutiger World" panose="020B0603040304020203" pitchFamily="34" charset="0"/>
                <a:cs typeface="Neue Frutiger World" panose="020B0603040304020203" pitchFamily="34" charset="0"/>
              </a:rPr>
              <a:t>100% </a:t>
            </a:r>
            <a:r>
              <a:rPr sz="800" dirty="0">
                <a:solidFill>
                  <a:srgbClr val="231F20"/>
                </a:solidFill>
                <a:latin typeface="Neue Frutiger World" panose="020B0603040304020203" pitchFamily="34" charset="0"/>
                <a:cs typeface="Neue Frutiger World" panose="020B0603040304020203" pitchFamily="34" charset="0"/>
              </a:rPr>
              <a:t>of </a:t>
            </a:r>
            <a:r>
              <a:rPr sz="800" spc="-10" dirty="0">
                <a:solidFill>
                  <a:srgbClr val="231F20"/>
                </a:solidFill>
                <a:latin typeface="Neue Frutiger World" panose="020B0603040304020203" pitchFamily="34" charset="0"/>
                <a:cs typeface="Neue Frutiger World" panose="020B0603040304020203" pitchFamily="34" charset="0"/>
              </a:rPr>
              <a:t>patients</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a:t>
            </a:r>
            <a:r>
              <a:rPr sz="800" spc="-40" dirty="0">
                <a:solidFill>
                  <a:srgbClr val="231F20"/>
                </a:solidFill>
                <a:latin typeface="Neue Frutiger World" panose="020B0603040304020203" pitchFamily="34" charset="0"/>
                <a:cs typeface="Neue Frutiger World" panose="020B0603040304020203" pitchFamily="34" charset="0"/>
              </a:rPr>
              <a:t>r</a:t>
            </a:r>
            <a:r>
              <a:rPr sz="800" dirty="0">
                <a:solidFill>
                  <a:srgbClr val="231F20"/>
                </a:solidFill>
                <a:latin typeface="Neue Frutiger World" panose="020B0603040304020203" pitchFamily="34" charset="0"/>
                <a:cs typeface="Neue Frutiger World" panose="020B0603040304020203" pitchFamily="34" charset="0"/>
              </a:rPr>
              <a:t>e</a:t>
            </a:r>
            <a:r>
              <a:rPr sz="800" spc="-5" dirty="0">
                <a:solidFill>
                  <a:srgbClr val="231F20"/>
                </a:solidFill>
                <a:latin typeface="Neue Frutiger World" panose="020B0603040304020203" pitchFamily="34" charset="0"/>
                <a:cs typeface="Neue Frutiger World" panose="020B0603040304020203" pitchFamily="34" charset="0"/>
              </a:rPr>
              <a:t>a</a:t>
            </a:r>
            <a:r>
              <a:rPr sz="800" spc="-35" dirty="0">
                <a:solidFill>
                  <a:srgbClr val="231F20"/>
                </a:solidFill>
                <a:latin typeface="Neue Frutiger World" panose="020B0603040304020203" pitchFamily="34" charset="0"/>
                <a:cs typeface="Neue Frutiger World" panose="020B0603040304020203" pitchFamily="34" charset="0"/>
              </a:rPr>
              <a:t>t</a:t>
            </a:r>
            <a:r>
              <a:rPr sz="800" dirty="0">
                <a:solidFill>
                  <a:srgbClr val="231F20"/>
                </a:solidFill>
                <a:latin typeface="Neue Frutiger World" panose="020B0603040304020203" pitchFamily="34" charset="0"/>
                <a:cs typeface="Neue Frutiger World" panose="020B0603040304020203" pitchFamily="34" charset="0"/>
              </a:rPr>
              <a:t>ed</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ith</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nti</a:t>
            </a:r>
            <a:r>
              <a:rPr sz="800" spc="-25" dirty="0">
                <a:solidFill>
                  <a:srgbClr val="231F20"/>
                </a:solidFill>
                <a:latin typeface="Neue Frutiger World" panose="020B0603040304020203" pitchFamily="34" charset="0"/>
                <a:cs typeface="Neue Frutiger World" panose="020B0603040304020203" pitchFamily="34" charset="0"/>
              </a:rPr>
              <a:t>b</a:t>
            </a:r>
            <a:r>
              <a:rPr sz="800" spc="-5" dirty="0">
                <a:solidFill>
                  <a:srgbClr val="231F20"/>
                </a:solidFill>
                <a:latin typeface="Neue Frutiger World" panose="020B0603040304020203" pitchFamily="34" charset="0"/>
                <a:cs typeface="Neue Frutiger World" panose="020B0603040304020203" pitchFamily="34" charset="0"/>
              </a:rPr>
              <a:t>i</a:t>
            </a:r>
            <a:r>
              <a:rPr sz="800" spc="-10" dirty="0">
                <a:solidFill>
                  <a:srgbClr val="231F20"/>
                </a:solidFill>
                <a:latin typeface="Neue Frutiger World" panose="020B0603040304020203" pitchFamily="34" charset="0"/>
                <a:cs typeface="Neue Frutiger World" panose="020B0603040304020203" pitchFamily="34" charset="0"/>
              </a:rPr>
              <a:t>oti</a:t>
            </a:r>
            <a:r>
              <a:rPr sz="800" spc="-20" dirty="0">
                <a:solidFill>
                  <a:srgbClr val="231F20"/>
                </a:solidFill>
                <a:latin typeface="Neue Frutiger World" panose="020B0603040304020203" pitchFamily="34" charset="0"/>
                <a:cs typeface="Neue Frutiger World" panose="020B0603040304020203" pitchFamily="34" charset="0"/>
              </a:rPr>
              <a:t>c</a:t>
            </a:r>
            <a:r>
              <a:rPr sz="800" spc="-5" dirty="0">
                <a:solidFill>
                  <a:srgbClr val="231F20"/>
                </a:solidFill>
                <a:latin typeface="Neue Frutiger World" panose="020B0603040304020203" pitchFamily="34" charset="0"/>
                <a:cs typeface="Neue Frutiger World" panose="020B0603040304020203" pitchFamily="34" charset="0"/>
              </a:rPr>
              <a:t>s</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lone</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experience</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elapse</a:t>
            </a:r>
            <a:r>
              <a:rPr sz="675" spc="-7" baseline="30864" dirty="0">
                <a:solidFill>
                  <a:srgbClr val="231F20"/>
                </a:solidFill>
                <a:latin typeface="Neue Frutiger World" panose="020B0603040304020203" pitchFamily="34" charset="0"/>
                <a:cs typeface="Neue Frutiger World" panose="020B0603040304020203" pitchFamily="34" charset="0"/>
              </a:rPr>
              <a:t>1,2</a:t>
            </a:r>
            <a:endParaRPr sz="675" baseline="30864" dirty="0">
              <a:latin typeface="Neue Frutiger World" panose="020B0603040304020203" pitchFamily="34" charset="0"/>
              <a:cs typeface="Neue Frutiger World" panose="020B0603040304020203" pitchFamily="34" charset="0"/>
            </a:endParaRPr>
          </a:p>
        </p:txBody>
      </p:sp>
      <p:sp>
        <p:nvSpPr>
          <p:cNvPr id="18" name="object 17">
            <a:extLst>
              <a:ext uri="{FF2B5EF4-FFF2-40B4-BE49-F238E27FC236}">
                <a16:creationId xmlns:a16="http://schemas.microsoft.com/office/drawing/2014/main" id="{7DD22CF5-3FE0-4390-B365-1E873F75F9BE}"/>
              </a:ext>
            </a:extLst>
          </p:cNvPr>
          <p:cNvSpPr txBox="1"/>
          <p:nvPr/>
        </p:nvSpPr>
        <p:spPr>
          <a:xfrm>
            <a:off x="2547821" y="3165334"/>
            <a:ext cx="1208844" cy="775982"/>
          </a:xfrm>
          <a:prstGeom prst="rect">
            <a:avLst/>
          </a:prstGeom>
        </p:spPr>
        <p:txBody>
          <a:bodyPr vert="horz" wrap="square" lIns="0" tIns="7620" rIns="0" bIns="0" rtlCol="0">
            <a:spAutoFit/>
          </a:bodyPr>
          <a:lstStyle/>
          <a:p>
            <a:pPr marL="38097" marR="30477">
              <a:lnSpc>
                <a:spcPct val="104200"/>
              </a:lnSpc>
              <a:spcBef>
                <a:spcPts val="60"/>
              </a:spcBef>
            </a:pPr>
            <a:r>
              <a:rPr sz="800" spc="5" dirty="0">
                <a:solidFill>
                  <a:srgbClr val="231F20"/>
                </a:solidFill>
                <a:latin typeface="Neue Frutiger World" panose="020B0603040304020203" pitchFamily="34" charset="0"/>
                <a:cs typeface="Neue Frutiger World" panose="020B0603040304020203" pitchFamily="34" charset="0"/>
              </a:rPr>
              <a:t>CIED</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8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reatment</a:t>
            </a:r>
            <a:r>
              <a:rPr lang="en-GB"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ith </a:t>
            </a:r>
            <a:r>
              <a:rPr sz="800" spc="5" dirty="0">
                <a:solidFill>
                  <a:srgbClr val="231F20"/>
                </a:solidFill>
                <a:latin typeface="Neue Frutiger World" panose="020B0603040304020203" pitchFamily="34" charset="0"/>
                <a:cs typeface="Neue Frutiger World" panose="020B0603040304020203" pitchFamily="34" charset="0"/>
              </a:rPr>
              <a:t>only </a:t>
            </a:r>
            <a:r>
              <a:rPr sz="800" spc="-10" dirty="0">
                <a:solidFill>
                  <a:srgbClr val="231F20"/>
                </a:solidFill>
                <a:latin typeface="Neue Frutiger World" panose="020B0603040304020203" pitchFamily="34" charset="0"/>
                <a:cs typeface="Neue Frutiger World" panose="020B0603040304020203" pitchFamily="34" charset="0"/>
              </a:rPr>
              <a:t>antibiotics </a:t>
            </a:r>
            <a:r>
              <a:rPr sz="800" spc="-5" dirty="0">
                <a:solidFill>
                  <a:srgbClr val="231F20"/>
                </a:solidFill>
                <a:latin typeface="Neue Frutiger World" panose="020B0603040304020203" pitchFamily="34" charset="0"/>
                <a:cs typeface="Neue Frutiger World" panose="020B0603040304020203" pitchFamily="34" charset="0"/>
              </a:rPr>
              <a:t>has a</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reported</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year</a:t>
            </a:r>
            <a:r>
              <a:rPr sz="800" spc="-3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mortality</a:t>
            </a:r>
            <a:r>
              <a:rPr sz="800" spc="-3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rate</a:t>
            </a:r>
            <a:r>
              <a:rPr lang="en-GB"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anging</a:t>
            </a:r>
            <a:r>
              <a:rPr sz="800" spc="-10" dirty="0">
                <a:solidFill>
                  <a:srgbClr val="231F20"/>
                </a:solidFill>
                <a:latin typeface="Neue Frutiger World" panose="020B0603040304020203" pitchFamily="34" charset="0"/>
                <a:cs typeface="Neue Frutiger World" panose="020B0603040304020203" pitchFamily="34" charset="0"/>
              </a:rPr>
              <a:t> from</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38.1%-44%</a:t>
            </a:r>
            <a:r>
              <a:rPr sz="675" spc="7" baseline="30864" dirty="0">
                <a:solidFill>
                  <a:srgbClr val="231F20"/>
                </a:solidFill>
                <a:latin typeface="Neue Frutiger World" panose="020B0603040304020203" pitchFamily="34" charset="0"/>
                <a:cs typeface="Neue Frutiger World" panose="020B0603040304020203" pitchFamily="34" charset="0"/>
              </a:rPr>
              <a:t>2,3</a:t>
            </a:r>
            <a:endParaRPr sz="675" baseline="30864" dirty="0">
              <a:latin typeface="Neue Frutiger World" panose="020B0603040304020203" pitchFamily="34" charset="0"/>
              <a:cs typeface="Neue Frutiger World" panose="020B0603040304020203" pitchFamily="34" charset="0"/>
            </a:endParaRPr>
          </a:p>
        </p:txBody>
      </p:sp>
      <p:sp>
        <p:nvSpPr>
          <p:cNvPr id="19" name="object 18">
            <a:extLst>
              <a:ext uri="{FF2B5EF4-FFF2-40B4-BE49-F238E27FC236}">
                <a16:creationId xmlns:a16="http://schemas.microsoft.com/office/drawing/2014/main" id="{C367EACD-A6BC-4301-9966-DBA381F49BE7}"/>
              </a:ext>
            </a:extLst>
          </p:cNvPr>
          <p:cNvSpPr txBox="1"/>
          <p:nvPr/>
        </p:nvSpPr>
        <p:spPr>
          <a:xfrm>
            <a:off x="3756667" y="3167940"/>
            <a:ext cx="1342637" cy="775982"/>
          </a:xfrm>
          <a:prstGeom prst="rect">
            <a:avLst/>
          </a:prstGeom>
        </p:spPr>
        <p:txBody>
          <a:bodyPr vert="horz" wrap="square" lIns="0" tIns="7620" rIns="0" bIns="0" rtlCol="0">
            <a:spAutoFit/>
          </a:bodyPr>
          <a:lstStyle/>
          <a:p>
            <a:pPr marL="38097" marR="30477">
              <a:lnSpc>
                <a:spcPct val="104200"/>
              </a:lnSpc>
              <a:spcBef>
                <a:spcPts val="60"/>
              </a:spcBef>
            </a:pPr>
            <a:r>
              <a:rPr sz="800" spc="-10" dirty="0">
                <a:solidFill>
                  <a:srgbClr val="231F20"/>
                </a:solidFill>
                <a:latin typeface="Neue Frutiger World" panose="020B0603040304020203" pitchFamily="34" charset="0"/>
                <a:cs typeface="Neue Frutiger World" panose="020B0603040304020203" pitchFamily="34" charset="0"/>
              </a:rPr>
              <a:t>Antibiotic ineffectiveness</a:t>
            </a:r>
            <a:r>
              <a:rPr lang="en-GB"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may be </a:t>
            </a:r>
            <a:r>
              <a:rPr sz="800" spc="-5" dirty="0">
                <a:solidFill>
                  <a:srgbClr val="231F20"/>
                </a:solidFill>
                <a:latin typeface="Neue Frutiger World" panose="020B0603040304020203" pitchFamily="34" charset="0"/>
                <a:cs typeface="Neue Frutiger World" panose="020B0603040304020203" pitchFamily="34" charset="0"/>
              </a:rPr>
              <a:t>due </a:t>
            </a:r>
            <a:r>
              <a:rPr sz="800" spc="-20" dirty="0">
                <a:solidFill>
                  <a:srgbClr val="231F20"/>
                </a:solidFill>
                <a:latin typeface="Neue Frutiger World" panose="020B0603040304020203" pitchFamily="34" charset="0"/>
                <a:cs typeface="Neue Frutiger World" panose="020B0603040304020203" pitchFamily="34" charset="0"/>
              </a:rPr>
              <a:t>to </a:t>
            </a:r>
            <a:r>
              <a:rPr sz="800" spc="-10" dirty="0">
                <a:solidFill>
                  <a:srgbClr val="231F20"/>
                </a:solidFill>
                <a:latin typeface="Neue Frutiger World" panose="020B0603040304020203" pitchFamily="34" charset="0"/>
                <a:cs typeface="Neue Frutiger World" panose="020B0603040304020203" pitchFamily="34" charset="0"/>
              </a:rPr>
              <a:t>biofilms</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 increase in </a:t>
            </a:r>
            <a:r>
              <a:rPr sz="800" spc="-10" dirty="0">
                <a:solidFill>
                  <a:srgbClr val="231F20"/>
                </a:solidFill>
                <a:latin typeface="Neue Frutiger World" panose="020B0603040304020203" pitchFamily="34" charset="0"/>
                <a:cs typeface="Neue Frutiger World" panose="020B0603040304020203" pitchFamily="34" charset="0"/>
              </a:rPr>
              <a:t>antibiotic</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resistanc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r</a:t>
            </a:r>
            <a:r>
              <a:rPr sz="800" spc="-3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creased</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usceptibility from the</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ost</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mmune</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a:t>
            </a:r>
            <a:r>
              <a:rPr sz="675" spc="-7" baseline="30864" dirty="0">
                <a:solidFill>
                  <a:srgbClr val="231F20"/>
                </a:solidFill>
                <a:latin typeface="Neue Frutiger World" panose="020B0603040304020203" pitchFamily="34" charset="0"/>
                <a:cs typeface="Neue Frutiger World" panose="020B0603040304020203" pitchFamily="34" charset="0"/>
              </a:rPr>
              <a:t>4</a:t>
            </a:r>
            <a:endParaRPr sz="675" baseline="30864" dirty="0">
              <a:latin typeface="Neue Frutiger World" panose="020B0603040304020203" pitchFamily="34" charset="0"/>
              <a:cs typeface="Neue Frutiger World" panose="020B0603040304020203" pitchFamily="34" charset="0"/>
            </a:endParaRPr>
          </a:p>
        </p:txBody>
      </p:sp>
      <p:grpSp>
        <p:nvGrpSpPr>
          <p:cNvPr id="21" name="object 20">
            <a:extLst>
              <a:ext uri="{FF2B5EF4-FFF2-40B4-BE49-F238E27FC236}">
                <a16:creationId xmlns:a16="http://schemas.microsoft.com/office/drawing/2014/main" id="{63F9493B-D91D-496F-8B76-201AC44C0345}"/>
              </a:ext>
            </a:extLst>
          </p:cNvPr>
          <p:cNvGrpSpPr/>
          <p:nvPr/>
        </p:nvGrpSpPr>
        <p:grpSpPr>
          <a:xfrm>
            <a:off x="2788506" y="2323440"/>
            <a:ext cx="512445" cy="697865"/>
            <a:chOff x="2258377" y="4163082"/>
            <a:chExt cx="512445" cy="697865"/>
          </a:xfrm>
        </p:grpSpPr>
        <p:pic>
          <p:nvPicPr>
            <p:cNvPr id="22" name="object 21">
              <a:extLst>
                <a:ext uri="{FF2B5EF4-FFF2-40B4-BE49-F238E27FC236}">
                  <a16:creationId xmlns:a16="http://schemas.microsoft.com/office/drawing/2014/main" id="{5DE077DF-D17C-4345-83ED-04940CC92699}"/>
                </a:ext>
              </a:extLst>
            </p:cNvPr>
            <p:cNvPicPr/>
            <p:nvPr/>
          </p:nvPicPr>
          <p:blipFill>
            <a:blip r:embed="rId4" cstate="print"/>
            <a:stretch>
              <a:fillRect/>
            </a:stretch>
          </p:blipFill>
          <p:spPr>
            <a:xfrm>
              <a:off x="2665403" y="4168654"/>
              <a:ext cx="83997" cy="83616"/>
            </a:xfrm>
            <a:prstGeom prst="rect">
              <a:avLst/>
            </a:prstGeom>
          </p:spPr>
        </p:pic>
        <p:pic>
          <p:nvPicPr>
            <p:cNvPr id="23" name="object 22">
              <a:extLst>
                <a:ext uri="{FF2B5EF4-FFF2-40B4-BE49-F238E27FC236}">
                  <a16:creationId xmlns:a16="http://schemas.microsoft.com/office/drawing/2014/main" id="{B92C69AD-B711-4852-8CE7-3F931DB4163C}"/>
                </a:ext>
              </a:extLst>
            </p:cNvPr>
            <p:cNvPicPr/>
            <p:nvPr/>
          </p:nvPicPr>
          <p:blipFill>
            <a:blip r:embed="rId5" cstate="print"/>
            <a:stretch>
              <a:fillRect/>
            </a:stretch>
          </p:blipFill>
          <p:spPr>
            <a:xfrm>
              <a:off x="2289439" y="4163082"/>
              <a:ext cx="83997" cy="83616"/>
            </a:xfrm>
            <a:prstGeom prst="rect">
              <a:avLst/>
            </a:prstGeom>
          </p:spPr>
        </p:pic>
        <p:sp>
          <p:nvSpPr>
            <p:cNvPr id="24" name="object 23">
              <a:extLst>
                <a:ext uri="{FF2B5EF4-FFF2-40B4-BE49-F238E27FC236}">
                  <a16:creationId xmlns:a16="http://schemas.microsoft.com/office/drawing/2014/main" id="{996E32CC-A301-4145-991C-05184A22CE61}"/>
                </a:ext>
              </a:extLst>
            </p:cNvPr>
            <p:cNvSpPr/>
            <p:nvPr/>
          </p:nvSpPr>
          <p:spPr>
            <a:xfrm>
              <a:off x="2258377" y="4461213"/>
              <a:ext cx="512445" cy="400050"/>
            </a:xfrm>
            <a:custGeom>
              <a:avLst/>
              <a:gdLst/>
              <a:ahLst/>
              <a:cxnLst/>
              <a:rect l="l" t="t" r="r" b="b"/>
              <a:pathLst>
                <a:path w="512444" h="400050">
                  <a:moveTo>
                    <a:pt x="161607" y="0"/>
                  </a:moveTo>
                  <a:lnTo>
                    <a:pt x="94129" y="18694"/>
                  </a:lnTo>
                  <a:lnTo>
                    <a:pt x="49263" y="67030"/>
                  </a:lnTo>
                  <a:lnTo>
                    <a:pt x="26815" y="119509"/>
                  </a:lnTo>
                  <a:lnTo>
                    <a:pt x="12136" y="169035"/>
                  </a:lnTo>
                  <a:lnTo>
                    <a:pt x="3088" y="220558"/>
                  </a:lnTo>
                  <a:lnTo>
                    <a:pt x="0" y="273773"/>
                  </a:lnTo>
                  <a:lnTo>
                    <a:pt x="1116" y="305954"/>
                  </a:lnTo>
                  <a:lnTo>
                    <a:pt x="4419" y="337773"/>
                  </a:lnTo>
                  <a:lnTo>
                    <a:pt x="9836" y="369076"/>
                  </a:lnTo>
                  <a:lnTo>
                    <a:pt x="17297" y="399707"/>
                  </a:lnTo>
                  <a:lnTo>
                    <a:pt x="494779" y="399707"/>
                  </a:lnTo>
                  <a:lnTo>
                    <a:pt x="502239" y="369076"/>
                  </a:lnTo>
                  <a:lnTo>
                    <a:pt x="507657" y="337773"/>
                  </a:lnTo>
                  <a:lnTo>
                    <a:pt x="510959" y="305954"/>
                  </a:lnTo>
                  <a:lnTo>
                    <a:pt x="512076" y="273773"/>
                  </a:lnTo>
                  <a:lnTo>
                    <a:pt x="511988" y="272249"/>
                  </a:lnTo>
                  <a:lnTo>
                    <a:pt x="336219" y="272249"/>
                  </a:lnTo>
                  <a:lnTo>
                    <a:pt x="265214" y="189763"/>
                  </a:lnTo>
                  <a:lnTo>
                    <a:pt x="263270" y="187820"/>
                  </a:lnTo>
                  <a:lnTo>
                    <a:pt x="261467" y="185724"/>
                  </a:lnTo>
                  <a:lnTo>
                    <a:pt x="259829" y="183515"/>
                  </a:lnTo>
                  <a:lnTo>
                    <a:pt x="259257" y="182841"/>
                  </a:lnTo>
                  <a:lnTo>
                    <a:pt x="255110" y="175838"/>
                  </a:lnTo>
                  <a:lnTo>
                    <a:pt x="251941" y="168194"/>
                  </a:lnTo>
                  <a:lnTo>
                    <a:pt x="249960" y="160008"/>
                  </a:lnTo>
                  <a:lnTo>
                    <a:pt x="249275" y="151384"/>
                  </a:lnTo>
                  <a:lnTo>
                    <a:pt x="253533" y="130295"/>
                  </a:lnTo>
                  <a:lnTo>
                    <a:pt x="265144" y="113074"/>
                  </a:lnTo>
                  <a:lnTo>
                    <a:pt x="282365" y="101463"/>
                  </a:lnTo>
                  <a:lnTo>
                    <a:pt x="303453" y="97205"/>
                  </a:lnTo>
                  <a:lnTo>
                    <a:pt x="475821" y="97205"/>
                  </a:lnTo>
                  <a:lnTo>
                    <a:pt x="465277" y="72288"/>
                  </a:lnTo>
                  <a:lnTo>
                    <a:pt x="462826" y="67030"/>
                  </a:lnTo>
                  <a:lnTo>
                    <a:pt x="445514" y="41808"/>
                  </a:lnTo>
                  <a:lnTo>
                    <a:pt x="255765" y="41808"/>
                  </a:lnTo>
                  <a:lnTo>
                    <a:pt x="228180" y="38890"/>
                  </a:lnTo>
                  <a:lnTo>
                    <a:pt x="202771" y="30543"/>
                  </a:lnTo>
                  <a:lnTo>
                    <a:pt x="180320" y="17376"/>
                  </a:lnTo>
                  <a:lnTo>
                    <a:pt x="161607" y="0"/>
                  </a:lnTo>
                  <a:close/>
                </a:path>
                <a:path w="512444" h="400050">
                  <a:moveTo>
                    <a:pt x="475821" y="97205"/>
                  </a:moveTo>
                  <a:lnTo>
                    <a:pt x="370039" y="97205"/>
                  </a:lnTo>
                  <a:lnTo>
                    <a:pt x="391128" y="101463"/>
                  </a:lnTo>
                  <a:lnTo>
                    <a:pt x="408349" y="113074"/>
                  </a:lnTo>
                  <a:lnTo>
                    <a:pt x="419960" y="130295"/>
                  </a:lnTo>
                  <a:lnTo>
                    <a:pt x="424218" y="151384"/>
                  </a:lnTo>
                  <a:lnTo>
                    <a:pt x="423535" y="160008"/>
                  </a:lnTo>
                  <a:lnTo>
                    <a:pt x="421559" y="168194"/>
                  </a:lnTo>
                  <a:lnTo>
                    <a:pt x="418394" y="175838"/>
                  </a:lnTo>
                  <a:lnTo>
                    <a:pt x="414147" y="182841"/>
                  </a:lnTo>
                  <a:lnTo>
                    <a:pt x="414604" y="182841"/>
                  </a:lnTo>
                  <a:lnTo>
                    <a:pt x="336219" y="272249"/>
                  </a:lnTo>
                  <a:lnTo>
                    <a:pt x="511988" y="272249"/>
                  </a:lnTo>
                  <a:lnTo>
                    <a:pt x="508988" y="220558"/>
                  </a:lnTo>
                  <a:lnTo>
                    <a:pt x="499940" y="169035"/>
                  </a:lnTo>
                  <a:lnTo>
                    <a:pt x="485260" y="119509"/>
                  </a:lnTo>
                  <a:lnTo>
                    <a:pt x="475821" y="97205"/>
                  </a:lnTo>
                  <a:close/>
                </a:path>
                <a:path w="512444" h="400050">
                  <a:moveTo>
                    <a:pt x="370039" y="97205"/>
                  </a:moveTo>
                  <a:lnTo>
                    <a:pt x="303453" y="97205"/>
                  </a:lnTo>
                  <a:lnTo>
                    <a:pt x="312657" y="98585"/>
                  </a:lnTo>
                  <a:lnTo>
                    <a:pt x="321359" y="102158"/>
                  </a:lnTo>
                  <a:lnTo>
                    <a:pt x="329430" y="107074"/>
                  </a:lnTo>
                  <a:lnTo>
                    <a:pt x="336740" y="112483"/>
                  </a:lnTo>
                  <a:lnTo>
                    <a:pt x="344063" y="107074"/>
                  </a:lnTo>
                  <a:lnTo>
                    <a:pt x="352137" y="102158"/>
                  </a:lnTo>
                  <a:lnTo>
                    <a:pt x="360838" y="98585"/>
                  </a:lnTo>
                  <a:lnTo>
                    <a:pt x="370039" y="97205"/>
                  </a:lnTo>
                  <a:close/>
                </a:path>
                <a:path w="512444" h="400050">
                  <a:moveTo>
                    <a:pt x="350481" y="0"/>
                  </a:moveTo>
                  <a:lnTo>
                    <a:pt x="331760" y="17376"/>
                  </a:lnTo>
                  <a:lnTo>
                    <a:pt x="309302" y="30543"/>
                  </a:lnTo>
                  <a:lnTo>
                    <a:pt x="283891" y="38890"/>
                  </a:lnTo>
                  <a:lnTo>
                    <a:pt x="256311" y="41808"/>
                  </a:lnTo>
                  <a:lnTo>
                    <a:pt x="445514" y="41808"/>
                  </a:lnTo>
                  <a:lnTo>
                    <a:pt x="444193" y="39883"/>
                  </a:lnTo>
                  <a:lnTo>
                    <a:pt x="417950" y="18694"/>
                  </a:lnTo>
                  <a:lnTo>
                    <a:pt x="386059" y="4915"/>
                  </a:lnTo>
                  <a:lnTo>
                    <a:pt x="350481" y="0"/>
                  </a:lnTo>
                  <a:close/>
                </a:path>
              </a:pathLst>
            </a:custGeom>
            <a:solidFill>
              <a:srgbClr val="0077C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pic>
          <p:nvPicPr>
            <p:cNvPr id="25" name="object 24">
              <a:extLst>
                <a:ext uri="{FF2B5EF4-FFF2-40B4-BE49-F238E27FC236}">
                  <a16:creationId xmlns:a16="http://schemas.microsoft.com/office/drawing/2014/main" id="{1DC82DD8-4FF0-4C21-93B7-0D92487D4702}"/>
                </a:ext>
              </a:extLst>
            </p:cNvPr>
            <p:cNvPicPr/>
            <p:nvPr/>
          </p:nvPicPr>
          <p:blipFill>
            <a:blip r:embed="rId6" cstate="print"/>
            <a:stretch>
              <a:fillRect/>
            </a:stretch>
          </p:blipFill>
          <p:spPr>
            <a:xfrm>
              <a:off x="2392900" y="4217629"/>
              <a:ext cx="242938" cy="242404"/>
            </a:xfrm>
            <a:prstGeom prst="rect">
              <a:avLst/>
            </a:prstGeom>
          </p:spPr>
        </p:pic>
      </p:grpSp>
      <p:grpSp>
        <p:nvGrpSpPr>
          <p:cNvPr id="26" name="object 25">
            <a:extLst>
              <a:ext uri="{FF2B5EF4-FFF2-40B4-BE49-F238E27FC236}">
                <a16:creationId xmlns:a16="http://schemas.microsoft.com/office/drawing/2014/main" id="{A05A13CC-1649-488C-9E80-EDFBD973FECE}"/>
              </a:ext>
            </a:extLst>
          </p:cNvPr>
          <p:cNvGrpSpPr/>
          <p:nvPr/>
        </p:nvGrpSpPr>
        <p:grpSpPr>
          <a:xfrm>
            <a:off x="4079250" y="2318403"/>
            <a:ext cx="607060" cy="775335"/>
            <a:chOff x="3867953" y="4056717"/>
            <a:chExt cx="607060" cy="775335"/>
          </a:xfrm>
        </p:grpSpPr>
        <p:sp>
          <p:nvSpPr>
            <p:cNvPr id="27" name="object 26">
              <a:extLst>
                <a:ext uri="{FF2B5EF4-FFF2-40B4-BE49-F238E27FC236}">
                  <a16:creationId xmlns:a16="http://schemas.microsoft.com/office/drawing/2014/main" id="{CD5B7F45-5679-4985-9802-600F44B59BA8}"/>
                </a:ext>
              </a:extLst>
            </p:cNvPr>
            <p:cNvSpPr/>
            <p:nvPr/>
          </p:nvSpPr>
          <p:spPr>
            <a:xfrm>
              <a:off x="4177366" y="4056717"/>
              <a:ext cx="297815" cy="775335"/>
            </a:xfrm>
            <a:custGeom>
              <a:avLst/>
              <a:gdLst/>
              <a:ahLst/>
              <a:cxnLst/>
              <a:rect l="l" t="t" r="r" b="b"/>
              <a:pathLst>
                <a:path w="297814" h="775335">
                  <a:moveTo>
                    <a:pt x="148742" y="0"/>
                  </a:moveTo>
                  <a:lnTo>
                    <a:pt x="127520" y="4297"/>
                  </a:lnTo>
                  <a:lnTo>
                    <a:pt x="110189" y="16019"/>
                  </a:lnTo>
                  <a:lnTo>
                    <a:pt x="98505" y="33405"/>
                  </a:lnTo>
                  <a:lnTo>
                    <a:pt x="94221" y="54698"/>
                  </a:lnTo>
                  <a:lnTo>
                    <a:pt x="94221" y="491680"/>
                  </a:lnTo>
                  <a:lnTo>
                    <a:pt x="14350" y="491680"/>
                  </a:lnTo>
                  <a:lnTo>
                    <a:pt x="7454" y="495668"/>
                  </a:lnTo>
                  <a:lnTo>
                    <a:pt x="0" y="508622"/>
                  </a:lnTo>
                  <a:lnTo>
                    <a:pt x="0" y="516597"/>
                  </a:lnTo>
                  <a:lnTo>
                    <a:pt x="148729" y="775106"/>
                  </a:lnTo>
                  <a:lnTo>
                    <a:pt x="297472" y="516610"/>
                  </a:lnTo>
                  <a:lnTo>
                    <a:pt x="297472" y="508622"/>
                  </a:lnTo>
                  <a:lnTo>
                    <a:pt x="293750" y="502145"/>
                  </a:lnTo>
                  <a:lnTo>
                    <a:pt x="290017" y="495668"/>
                  </a:lnTo>
                  <a:lnTo>
                    <a:pt x="283133" y="491680"/>
                  </a:lnTo>
                  <a:lnTo>
                    <a:pt x="203250" y="491680"/>
                  </a:lnTo>
                  <a:lnTo>
                    <a:pt x="203250" y="54698"/>
                  </a:lnTo>
                  <a:lnTo>
                    <a:pt x="198966" y="33405"/>
                  </a:lnTo>
                  <a:lnTo>
                    <a:pt x="187283" y="16019"/>
                  </a:lnTo>
                  <a:lnTo>
                    <a:pt x="169957" y="4297"/>
                  </a:lnTo>
                  <a:lnTo>
                    <a:pt x="148742" y="0"/>
                  </a:lnTo>
                  <a:close/>
                </a:path>
              </a:pathLst>
            </a:custGeom>
            <a:solidFill>
              <a:srgbClr val="9AD7F9"/>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28" name="object 27">
              <a:extLst>
                <a:ext uri="{FF2B5EF4-FFF2-40B4-BE49-F238E27FC236}">
                  <a16:creationId xmlns:a16="http://schemas.microsoft.com/office/drawing/2014/main" id="{A2A99BC2-B3D4-4F29-8532-1F6658189E85}"/>
                </a:ext>
              </a:extLst>
            </p:cNvPr>
            <p:cNvSpPr/>
            <p:nvPr/>
          </p:nvSpPr>
          <p:spPr>
            <a:xfrm>
              <a:off x="4041991" y="4196142"/>
              <a:ext cx="270510" cy="267970"/>
            </a:xfrm>
            <a:custGeom>
              <a:avLst/>
              <a:gdLst/>
              <a:ahLst/>
              <a:cxnLst/>
              <a:rect l="l" t="t" r="r" b="b"/>
              <a:pathLst>
                <a:path w="270510" h="267970">
                  <a:moveTo>
                    <a:pt x="178460" y="0"/>
                  </a:moveTo>
                  <a:lnTo>
                    <a:pt x="126828" y="14005"/>
                  </a:lnTo>
                  <a:lnTo>
                    <a:pt x="0" y="131762"/>
                  </a:lnTo>
                  <a:lnTo>
                    <a:pt x="128866" y="267461"/>
                  </a:lnTo>
                  <a:lnTo>
                    <a:pt x="241363" y="160845"/>
                  </a:lnTo>
                  <a:lnTo>
                    <a:pt x="267718" y="114503"/>
                  </a:lnTo>
                  <a:lnTo>
                    <a:pt x="269963" y="96367"/>
                  </a:lnTo>
                  <a:lnTo>
                    <a:pt x="268679" y="78144"/>
                  </a:lnTo>
                  <a:lnTo>
                    <a:pt x="244805" y="30479"/>
                  </a:lnTo>
                  <a:lnTo>
                    <a:pt x="213677" y="7866"/>
                  </a:lnTo>
                  <a:lnTo>
                    <a:pt x="178460" y="0"/>
                  </a:lnTo>
                  <a:close/>
                </a:path>
              </a:pathLst>
            </a:custGeom>
            <a:solidFill>
              <a:srgbClr val="FFFFFF"/>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29" name="object 28">
              <a:extLst>
                <a:ext uri="{FF2B5EF4-FFF2-40B4-BE49-F238E27FC236}">
                  <a16:creationId xmlns:a16="http://schemas.microsoft.com/office/drawing/2014/main" id="{2549207F-BA63-4038-BBF8-D906A1CC5AB2}"/>
                </a:ext>
              </a:extLst>
            </p:cNvPr>
            <p:cNvSpPr/>
            <p:nvPr/>
          </p:nvSpPr>
          <p:spPr>
            <a:xfrm>
              <a:off x="3867953" y="4163223"/>
              <a:ext cx="477520" cy="465455"/>
            </a:xfrm>
            <a:custGeom>
              <a:avLst/>
              <a:gdLst/>
              <a:ahLst/>
              <a:cxnLst/>
              <a:rect l="l" t="t" r="r" b="b"/>
              <a:pathLst>
                <a:path w="477520" h="465454">
                  <a:moveTo>
                    <a:pt x="353358" y="0"/>
                  </a:moveTo>
                  <a:lnTo>
                    <a:pt x="305941" y="7881"/>
                  </a:lnTo>
                  <a:lnTo>
                    <a:pt x="263810" y="34205"/>
                  </a:lnTo>
                  <a:lnTo>
                    <a:pt x="38858" y="247399"/>
                  </a:lnTo>
                  <a:lnTo>
                    <a:pt x="10373" y="288011"/>
                  </a:lnTo>
                  <a:lnTo>
                    <a:pt x="0" y="334903"/>
                  </a:lnTo>
                  <a:lnTo>
                    <a:pt x="7890" y="382274"/>
                  </a:lnTo>
                  <a:lnTo>
                    <a:pt x="34197" y="424322"/>
                  </a:lnTo>
                  <a:lnTo>
                    <a:pt x="36014" y="426240"/>
                  </a:lnTo>
                  <a:lnTo>
                    <a:pt x="76655" y="454697"/>
                  </a:lnTo>
                  <a:lnTo>
                    <a:pt x="123591" y="465061"/>
                  </a:lnTo>
                  <a:lnTo>
                    <a:pt x="171011" y="457180"/>
                  </a:lnTo>
                  <a:lnTo>
                    <a:pt x="213102" y="430901"/>
                  </a:lnTo>
                  <a:lnTo>
                    <a:pt x="350810" y="300383"/>
                  </a:lnTo>
                  <a:lnTo>
                    <a:pt x="302904" y="300383"/>
                  </a:lnTo>
                  <a:lnTo>
                    <a:pt x="174037" y="164671"/>
                  </a:lnTo>
                  <a:lnTo>
                    <a:pt x="286534" y="58054"/>
                  </a:lnTo>
                  <a:lnTo>
                    <a:pt x="334245" y="34205"/>
                  </a:lnTo>
                  <a:lnTo>
                    <a:pt x="352485" y="32921"/>
                  </a:lnTo>
                  <a:lnTo>
                    <a:pt x="432522" y="32921"/>
                  </a:lnTo>
                  <a:lnTo>
                    <a:pt x="400294" y="10363"/>
                  </a:lnTo>
                  <a:lnTo>
                    <a:pt x="353358" y="0"/>
                  </a:lnTo>
                  <a:close/>
                </a:path>
                <a:path w="477520" h="465454">
                  <a:moveTo>
                    <a:pt x="432522" y="32921"/>
                  </a:moveTo>
                  <a:lnTo>
                    <a:pt x="352485" y="32921"/>
                  </a:lnTo>
                  <a:lnTo>
                    <a:pt x="370640" y="35159"/>
                  </a:lnTo>
                  <a:lnTo>
                    <a:pt x="387713" y="40782"/>
                  </a:lnTo>
                  <a:lnTo>
                    <a:pt x="418842" y="63401"/>
                  </a:lnTo>
                  <a:lnTo>
                    <a:pt x="442717" y="111061"/>
                  </a:lnTo>
                  <a:lnTo>
                    <a:pt x="444001" y="129289"/>
                  </a:lnTo>
                  <a:lnTo>
                    <a:pt x="441756" y="147418"/>
                  </a:lnTo>
                  <a:lnTo>
                    <a:pt x="436125" y="164471"/>
                  </a:lnTo>
                  <a:lnTo>
                    <a:pt x="427283" y="180052"/>
                  </a:lnTo>
                  <a:lnTo>
                    <a:pt x="415401" y="193767"/>
                  </a:lnTo>
                  <a:lnTo>
                    <a:pt x="302904" y="300383"/>
                  </a:lnTo>
                  <a:lnTo>
                    <a:pt x="350810" y="300383"/>
                  </a:lnTo>
                  <a:lnTo>
                    <a:pt x="438096" y="217655"/>
                  </a:lnTo>
                  <a:lnTo>
                    <a:pt x="466575" y="177049"/>
                  </a:lnTo>
                  <a:lnTo>
                    <a:pt x="476950" y="130155"/>
                  </a:lnTo>
                  <a:lnTo>
                    <a:pt x="469062" y="82781"/>
                  </a:lnTo>
                  <a:lnTo>
                    <a:pt x="442756" y="40732"/>
                  </a:lnTo>
                  <a:lnTo>
                    <a:pt x="440940" y="38814"/>
                  </a:lnTo>
                  <a:lnTo>
                    <a:pt x="432522" y="32921"/>
                  </a:lnTo>
                  <a:close/>
                </a:path>
              </a:pathLst>
            </a:custGeom>
            <a:solidFill>
              <a:srgbClr val="0077C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sp>
        <p:nvSpPr>
          <p:cNvPr id="30" name="TextBox 29">
            <a:extLst>
              <a:ext uri="{FF2B5EF4-FFF2-40B4-BE49-F238E27FC236}">
                <a16:creationId xmlns:a16="http://schemas.microsoft.com/office/drawing/2014/main" id="{F5551096-07B5-4D0B-A356-176922D77BF8}"/>
              </a:ext>
            </a:extLst>
          </p:cNvPr>
          <p:cNvSpPr txBox="1"/>
          <p:nvPr/>
        </p:nvSpPr>
        <p:spPr>
          <a:xfrm>
            <a:off x="1452347" y="4118913"/>
            <a:ext cx="6505538" cy="892552"/>
          </a:xfrm>
          <a:prstGeom prst="rect">
            <a:avLst/>
          </a:prstGeom>
          <a:noFill/>
        </p:spPr>
        <p:txBody>
          <a:bodyPr wrap="square" rtlCol="0">
            <a:spAutoFit/>
          </a:bodyPr>
          <a:lstStyle/>
          <a:p>
            <a:r>
              <a:rPr lang="en-US" sz="1300" dirty="0">
                <a:solidFill>
                  <a:srgbClr val="00B0F0"/>
                </a:solidFill>
                <a:latin typeface="Neue Frutiger World" panose="020B0603040304020203" pitchFamily="34" charset="0"/>
                <a:cs typeface="Neue Frutiger World" panose="020B0603040304020203" pitchFamily="34" charset="0"/>
              </a:rPr>
              <a:t>“Patients with CIED infection may present with embolic involvement of lungs and pleural space, frequently misdiagnosed as pulmonary infections. Cardiac implantable electronic device infections may also be revealed by other distant foci as vertebral osteomyelitis </a:t>
            </a:r>
            <a:r>
              <a:rPr lang="en-GB" sz="1300" dirty="0">
                <a:solidFill>
                  <a:srgbClr val="00B0F0"/>
                </a:solidFill>
                <a:latin typeface="Neue Frutiger World" panose="020B0603040304020203" pitchFamily="34" charset="0"/>
                <a:cs typeface="Neue Frutiger World" panose="020B0603040304020203" pitchFamily="34" charset="0"/>
              </a:rPr>
              <a:t>and discitis.”		</a:t>
            </a:r>
            <a:r>
              <a:rPr lang="en-GB" sz="800" dirty="0">
                <a:latin typeface="Neue Frutiger World" panose="020B0603040304020203" pitchFamily="34" charset="0"/>
                <a:cs typeface="Neue Frutiger World" panose="020B0603040304020203" pitchFamily="34" charset="0"/>
              </a:rPr>
              <a:t>- EHRA Consensus Guidelines 2019</a:t>
            </a:r>
            <a:r>
              <a:rPr lang="en-GB" sz="800" baseline="30000" dirty="0">
                <a:latin typeface="Neue Frutiger World" panose="020B0603040304020203" pitchFamily="34" charset="0"/>
                <a:cs typeface="Neue Frutiger World" panose="020B0603040304020203" pitchFamily="34" charset="0"/>
              </a:rPr>
              <a:t>28</a:t>
            </a:r>
            <a:endParaRPr lang="en-GB" sz="1300" baseline="30000" dirty="0">
              <a:solidFill>
                <a:srgbClr val="00B0F0"/>
              </a:solidFill>
              <a:latin typeface="Neue Frutiger World" panose="020B0603040304020203" pitchFamily="34" charset="0"/>
              <a:cs typeface="Neue Frutiger World" panose="020B0603040304020203" pitchFamily="34" charset="0"/>
            </a:endParaRPr>
          </a:p>
        </p:txBody>
      </p:sp>
      <p:sp>
        <p:nvSpPr>
          <p:cNvPr id="31" name="TextBox 30">
            <a:extLst>
              <a:ext uri="{FF2B5EF4-FFF2-40B4-BE49-F238E27FC236}">
                <a16:creationId xmlns:a16="http://schemas.microsoft.com/office/drawing/2014/main" id="{E29DA5D5-A95B-4A74-BCED-7FFAA8C80C5D}"/>
              </a:ext>
            </a:extLst>
          </p:cNvPr>
          <p:cNvSpPr txBox="1"/>
          <p:nvPr/>
        </p:nvSpPr>
        <p:spPr>
          <a:xfrm>
            <a:off x="8123129" y="4823245"/>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7" action="ppaction://hlinksldjump"/>
            <a:extLst>
              <a:ext uri="{FF2B5EF4-FFF2-40B4-BE49-F238E27FC236}">
                <a16:creationId xmlns:a16="http://schemas.microsoft.com/office/drawing/2014/main" id="{7A3BB0A7-5B51-4F44-BD5D-68AD9779B8AC}"/>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8" action="ppaction://hlinksldjump"/>
            <a:extLst>
              <a:ext uri="{FF2B5EF4-FFF2-40B4-BE49-F238E27FC236}">
                <a16:creationId xmlns:a16="http://schemas.microsoft.com/office/drawing/2014/main" id="{38C75198-26A6-44A3-8990-D9D1496822D9}"/>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9" action="ppaction://hlinksldjump"/>
            <a:extLst>
              <a:ext uri="{FF2B5EF4-FFF2-40B4-BE49-F238E27FC236}">
                <a16:creationId xmlns:a16="http://schemas.microsoft.com/office/drawing/2014/main" id="{13D8150B-A980-49A7-BD78-697345ECDA3D}"/>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10" action="ppaction://hlinksldjump"/>
            <a:extLst>
              <a:ext uri="{FF2B5EF4-FFF2-40B4-BE49-F238E27FC236}">
                <a16:creationId xmlns:a16="http://schemas.microsoft.com/office/drawing/2014/main" id="{70745BD3-94A3-49C5-997D-9CDDF982B617}"/>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11" action="ppaction://hlinksldjump"/>
            <a:extLst>
              <a:ext uri="{FF2B5EF4-FFF2-40B4-BE49-F238E27FC236}">
                <a16:creationId xmlns:a16="http://schemas.microsoft.com/office/drawing/2014/main" id="{1C0BC7B0-7D31-42AE-BE8C-BC04DE06CE72}"/>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12" action="ppaction://hlinksldjump"/>
            <a:extLst>
              <a:ext uri="{FF2B5EF4-FFF2-40B4-BE49-F238E27FC236}">
                <a16:creationId xmlns:a16="http://schemas.microsoft.com/office/drawing/2014/main" id="{78787960-0C7A-437B-B3CB-66D91A7BD130}"/>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13" action="ppaction://hlinksldjump"/>
            <a:extLst>
              <a:ext uri="{FF2B5EF4-FFF2-40B4-BE49-F238E27FC236}">
                <a16:creationId xmlns:a16="http://schemas.microsoft.com/office/drawing/2014/main" id="{D3512D4A-1632-4002-B8D3-5A825FEE1A45}"/>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14" action="ppaction://hlinksldjump"/>
            <a:extLst>
              <a:ext uri="{FF2B5EF4-FFF2-40B4-BE49-F238E27FC236}">
                <a16:creationId xmlns:a16="http://schemas.microsoft.com/office/drawing/2014/main" id="{E3641281-6BB2-4224-B49A-8226D120A7D0}"/>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extLst>
              <a:ext uri="{FF2B5EF4-FFF2-40B4-BE49-F238E27FC236}">
                <a16:creationId xmlns:a16="http://schemas.microsoft.com/office/drawing/2014/main" id="{8845E89E-0CD9-42DD-9678-BFD5C5EF796B}"/>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15" action="ppaction://hlinksldjump"/>
            <a:extLst>
              <a:ext uri="{FF2B5EF4-FFF2-40B4-BE49-F238E27FC236}">
                <a16:creationId xmlns:a16="http://schemas.microsoft.com/office/drawing/2014/main" id="{0B5AD0D4-8344-49F9-AF4A-3D4878E7992B}"/>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16" action="ppaction://hlinksldjump"/>
            <a:extLst>
              <a:ext uri="{FF2B5EF4-FFF2-40B4-BE49-F238E27FC236}">
                <a16:creationId xmlns:a16="http://schemas.microsoft.com/office/drawing/2014/main" id="{EA8DB340-B711-426A-BE59-47D4170EF114}"/>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17" action="ppaction://hlinksldjump"/>
            <a:extLst>
              <a:ext uri="{FF2B5EF4-FFF2-40B4-BE49-F238E27FC236}">
                <a16:creationId xmlns:a16="http://schemas.microsoft.com/office/drawing/2014/main" id="{34F2197A-841C-464B-8B0D-EF5A9E783E46}"/>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18" action="ppaction://hlinksldjump"/>
            <a:extLst>
              <a:ext uri="{FF2B5EF4-FFF2-40B4-BE49-F238E27FC236}">
                <a16:creationId xmlns:a16="http://schemas.microsoft.com/office/drawing/2014/main" id="{D5DF68C3-DD55-475C-893F-0B02E8112534}"/>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19" action="ppaction://hlinksldjump"/>
            <a:extLst>
              <a:ext uri="{FF2B5EF4-FFF2-40B4-BE49-F238E27FC236}">
                <a16:creationId xmlns:a16="http://schemas.microsoft.com/office/drawing/2014/main" id="{80F0A963-961A-4410-9495-67F87902BD3D}"/>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20" action="ppaction://hlinksldjump"/>
            <a:extLst>
              <a:ext uri="{FF2B5EF4-FFF2-40B4-BE49-F238E27FC236}">
                <a16:creationId xmlns:a16="http://schemas.microsoft.com/office/drawing/2014/main" id="{B9F3B18F-7ACE-496E-ACF3-BF863973719F}"/>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21" action="ppaction://hlinksldjump"/>
            <a:extLst>
              <a:ext uri="{FF2B5EF4-FFF2-40B4-BE49-F238E27FC236}">
                <a16:creationId xmlns:a16="http://schemas.microsoft.com/office/drawing/2014/main" id="{4C0D7653-DBAA-4875-8B63-612186A41AF9}"/>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22" action="ppaction://hlinksldjump"/>
            <a:extLst>
              <a:ext uri="{FF2B5EF4-FFF2-40B4-BE49-F238E27FC236}">
                <a16:creationId xmlns:a16="http://schemas.microsoft.com/office/drawing/2014/main" id="{DE10A164-196D-439F-BCB9-C9FBBD47DF0D}"/>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23" action="ppaction://hlinksldjump"/>
            <a:extLst>
              <a:ext uri="{FF2B5EF4-FFF2-40B4-BE49-F238E27FC236}">
                <a16:creationId xmlns:a16="http://schemas.microsoft.com/office/drawing/2014/main" id="{C01ECC4E-72CE-4C64-9455-75A1F1440729}"/>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24" action="ppaction://hlinksldjump"/>
            <a:extLst>
              <a:ext uri="{FF2B5EF4-FFF2-40B4-BE49-F238E27FC236}">
                <a16:creationId xmlns:a16="http://schemas.microsoft.com/office/drawing/2014/main" id="{DA107FC4-3C3C-4C26-8DDA-851668CA4500}"/>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25" action="ppaction://hlinksldjump"/>
            <a:extLst>
              <a:ext uri="{FF2B5EF4-FFF2-40B4-BE49-F238E27FC236}">
                <a16:creationId xmlns:a16="http://schemas.microsoft.com/office/drawing/2014/main" id="{E8659A72-4604-46EC-B708-7550B64AB142}"/>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26" action="ppaction://hlinksldjump"/>
            <a:extLst>
              <a:ext uri="{FF2B5EF4-FFF2-40B4-BE49-F238E27FC236}">
                <a16:creationId xmlns:a16="http://schemas.microsoft.com/office/drawing/2014/main" id="{F3643974-148B-417E-B96D-928C8640CAE7}"/>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27" action="ppaction://hlinksldjump"/>
            <a:extLst>
              <a:ext uri="{FF2B5EF4-FFF2-40B4-BE49-F238E27FC236}">
                <a16:creationId xmlns:a16="http://schemas.microsoft.com/office/drawing/2014/main" id="{508BC070-7391-4A3F-8C87-EE958F5286A3}"/>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extLst>
              <a:ext uri="{FF2B5EF4-FFF2-40B4-BE49-F238E27FC236}">
                <a16:creationId xmlns:a16="http://schemas.microsoft.com/office/drawing/2014/main" id="{AEBA9705-A924-4AB2-9DEA-AC78E7D89981}"/>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28" action="ppaction://hlinksldjump"/>
            <a:extLst>
              <a:ext uri="{FF2B5EF4-FFF2-40B4-BE49-F238E27FC236}">
                <a16:creationId xmlns:a16="http://schemas.microsoft.com/office/drawing/2014/main" id="{C5A73354-9DB5-486A-930D-A58B6BCB716E}"/>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29" action="ppaction://hlinksldjump"/>
            <a:extLst>
              <a:ext uri="{FF2B5EF4-FFF2-40B4-BE49-F238E27FC236}">
                <a16:creationId xmlns:a16="http://schemas.microsoft.com/office/drawing/2014/main" id="{F14AE2D5-66C6-4EEE-A519-C32EFF4E396F}"/>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30" action="ppaction://hlinksldjump"/>
            <a:extLst>
              <a:ext uri="{FF2B5EF4-FFF2-40B4-BE49-F238E27FC236}">
                <a16:creationId xmlns:a16="http://schemas.microsoft.com/office/drawing/2014/main" id="{90D49003-E850-4047-96B2-6652169EA590}"/>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extLst>
              <a:ext uri="{FF2B5EF4-FFF2-40B4-BE49-F238E27FC236}">
                <a16:creationId xmlns:a16="http://schemas.microsoft.com/office/drawing/2014/main" id="{7159A16A-A410-4D4A-8F6E-CCBFBAD927E6}"/>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59" name="Table 58">
            <a:extLst>
              <a:ext uri="{FF2B5EF4-FFF2-40B4-BE49-F238E27FC236}">
                <a16:creationId xmlns:a16="http://schemas.microsoft.com/office/drawing/2014/main" id="{EBE508C8-DDDF-4DCD-9F9A-F1A3E8BF5F3C}"/>
              </a:ext>
            </a:extLst>
          </p:cNvPr>
          <p:cNvGraphicFramePr>
            <a:graphicFrameLocks noGrp="1"/>
          </p:cNvGraphicFramePr>
          <p:nvPr>
            <p:extLst>
              <p:ext uri="{D42A27DB-BD31-4B8C-83A1-F6EECF244321}">
                <p14:modId xmlns:p14="http://schemas.microsoft.com/office/powerpoint/2010/main" val="3474207453"/>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60" name="Rectangle 59">
            <a:hlinkClick r:id="rId7" action="ppaction://hlinksldjump"/>
            <a:extLst>
              <a:ext uri="{FF2B5EF4-FFF2-40B4-BE49-F238E27FC236}">
                <a16:creationId xmlns:a16="http://schemas.microsoft.com/office/drawing/2014/main" id="{8795EEAC-2DA0-48C2-85A6-A65AD7159B1A}"/>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8" action="ppaction://hlinksldjump"/>
            <a:extLst>
              <a:ext uri="{FF2B5EF4-FFF2-40B4-BE49-F238E27FC236}">
                <a16:creationId xmlns:a16="http://schemas.microsoft.com/office/drawing/2014/main" id="{C1F9A380-8AA9-4E29-90E2-4E3EB6CEC543}"/>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9" action="ppaction://hlinksldjump"/>
            <a:extLst>
              <a:ext uri="{FF2B5EF4-FFF2-40B4-BE49-F238E27FC236}">
                <a16:creationId xmlns:a16="http://schemas.microsoft.com/office/drawing/2014/main" id="{7FD7A41C-0445-4317-8E81-30BAD9D5FCF9}"/>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10" action="ppaction://hlinksldjump"/>
            <a:extLst>
              <a:ext uri="{FF2B5EF4-FFF2-40B4-BE49-F238E27FC236}">
                <a16:creationId xmlns:a16="http://schemas.microsoft.com/office/drawing/2014/main" id="{D73C3661-D31B-4088-A54E-100DF6EF3F5D}"/>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11" action="ppaction://hlinksldjump"/>
            <a:extLst>
              <a:ext uri="{FF2B5EF4-FFF2-40B4-BE49-F238E27FC236}">
                <a16:creationId xmlns:a16="http://schemas.microsoft.com/office/drawing/2014/main" id="{40726089-3E3F-4E86-A613-A1A90490392F}"/>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hlinkClick r:id="rId12" action="ppaction://hlinksldjump"/>
            <a:extLst>
              <a:ext uri="{FF2B5EF4-FFF2-40B4-BE49-F238E27FC236}">
                <a16:creationId xmlns:a16="http://schemas.microsoft.com/office/drawing/2014/main" id="{A7A0B008-E5E0-4AC8-AD84-B7F5F698AC2C}"/>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13" action="ppaction://hlinksldjump"/>
            <a:extLst>
              <a:ext uri="{FF2B5EF4-FFF2-40B4-BE49-F238E27FC236}">
                <a16:creationId xmlns:a16="http://schemas.microsoft.com/office/drawing/2014/main" id="{5C3F6110-2AA0-4EC7-8D57-7E2C3315935A}"/>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14" action="ppaction://hlinksldjump"/>
            <a:extLst>
              <a:ext uri="{FF2B5EF4-FFF2-40B4-BE49-F238E27FC236}">
                <a16:creationId xmlns:a16="http://schemas.microsoft.com/office/drawing/2014/main" id="{AECDF45A-3A42-4B4A-9812-C0401A8BA5D4}"/>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8" name="Rectangle 67">
            <a:extLst>
              <a:ext uri="{FF2B5EF4-FFF2-40B4-BE49-F238E27FC236}">
                <a16:creationId xmlns:a16="http://schemas.microsoft.com/office/drawing/2014/main" id="{09DA9141-8643-43BA-9636-79F51F444D82}"/>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9" name="Rectangle 68">
            <a:hlinkClick r:id="rId15" action="ppaction://hlinksldjump"/>
            <a:extLst>
              <a:ext uri="{FF2B5EF4-FFF2-40B4-BE49-F238E27FC236}">
                <a16:creationId xmlns:a16="http://schemas.microsoft.com/office/drawing/2014/main" id="{A4998059-3578-4160-A0F2-5AA230832282}"/>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0" name="Rectangle 69">
            <a:hlinkClick r:id="rId16" action="ppaction://hlinksldjump"/>
            <a:extLst>
              <a:ext uri="{FF2B5EF4-FFF2-40B4-BE49-F238E27FC236}">
                <a16:creationId xmlns:a16="http://schemas.microsoft.com/office/drawing/2014/main" id="{9F35D5B8-3DC1-48F5-B8F8-0D05C57E92B4}"/>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1" name="Rectangle 70">
            <a:hlinkClick r:id="rId17" action="ppaction://hlinksldjump"/>
            <a:extLst>
              <a:ext uri="{FF2B5EF4-FFF2-40B4-BE49-F238E27FC236}">
                <a16:creationId xmlns:a16="http://schemas.microsoft.com/office/drawing/2014/main" id="{634AA193-BCC7-4839-B592-321A269F2733}"/>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2" name="Rectangle 71">
            <a:hlinkClick r:id="rId18" action="ppaction://hlinksldjump"/>
            <a:extLst>
              <a:ext uri="{FF2B5EF4-FFF2-40B4-BE49-F238E27FC236}">
                <a16:creationId xmlns:a16="http://schemas.microsoft.com/office/drawing/2014/main" id="{BB1C0809-2165-49E1-AFBF-42188959CD05}"/>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3" name="Rectangle 72">
            <a:hlinkClick r:id="rId19" action="ppaction://hlinksldjump"/>
            <a:extLst>
              <a:ext uri="{FF2B5EF4-FFF2-40B4-BE49-F238E27FC236}">
                <a16:creationId xmlns:a16="http://schemas.microsoft.com/office/drawing/2014/main" id="{7CD3547E-694E-4A57-9FA9-42B409A28624}"/>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4" name="Rectangle 73">
            <a:hlinkClick r:id="rId20" action="ppaction://hlinksldjump"/>
            <a:extLst>
              <a:ext uri="{FF2B5EF4-FFF2-40B4-BE49-F238E27FC236}">
                <a16:creationId xmlns:a16="http://schemas.microsoft.com/office/drawing/2014/main" id="{1804B62C-BFF4-4CD8-B2A7-6D7069BFA4FB}"/>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5" name="Rectangle 74">
            <a:hlinkClick r:id="rId21" action="ppaction://hlinksldjump"/>
            <a:extLst>
              <a:ext uri="{FF2B5EF4-FFF2-40B4-BE49-F238E27FC236}">
                <a16:creationId xmlns:a16="http://schemas.microsoft.com/office/drawing/2014/main" id="{D039654D-B0DE-4940-B36D-0CAC3BDA6841}"/>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6" name="Rectangle 75">
            <a:hlinkClick r:id="rId22" action="ppaction://hlinksldjump"/>
            <a:extLst>
              <a:ext uri="{FF2B5EF4-FFF2-40B4-BE49-F238E27FC236}">
                <a16:creationId xmlns:a16="http://schemas.microsoft.com/office/drawing/2014/main" id="{3067A447-12F0-4057-98FB-1F3862A4CFF5}"/>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7" name="Rectangle 76">
            <a:hlinkClick r:id="rId23" action="ppaction://hlinksldjump"/>
            <a:extLst>
              <a:ext uri="{FF2B5EF4-FFF2-40B4-BE49-F238E27FC236}">
                <a16:creationId xmlns:a16="http://schemas.microsoft.com/office/drawing/2014/main" id="{3243CB4D-723B-4CAE-9770-05DD80BA8B1A}"/>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8" name="Rectangle 77">
            <a:hlinkClick r:id="rId24" action="ppaction://hlinksldjump"/>
            <a:extLst>
              <a:ext uri="{FF2B5EF4-FFF2-40B4-BE49-F238E27FC236}">
                <a16:creationId xmlns:a16="http://schemas.microsoft.com/office/drawing/2014/main" id="{154893E8-F2A6-4FC1-B13E-C36EDA0F5662}"/>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9" name="Rectangle 78">
            <a:hlinkClick r:id="rId25" action="ppaction://hlinksldjump"/>
            <a:extLst>
              <a:ext uri="{FF2B5EF4-FFF2-40B4-BE49-F238E27FC236}">
                <a16:creationId xmlns:a16="http://schemas.microsoft.com/office/drawing/2014/main" id="{53E5670D-2F23-4EC1-A658-671A2A675D6B}"/>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0" name="Rectangle 79">
            <a:hlinkClick r:id="rId26" action="ppaction://hlinksldjump"/>
            <a:extLst>
              <a:ext uri="{FF2B5EF4-FFF2-40B4-BE49-F238E27FC236}">
                <a16:creationId xmlns:a16="http://schemas.microsoft.com/office/drawing/2014/main" id="{DFAE53C9-7E9A-49E3-9BAE-BBEB1B14BF89}"/>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1" name="Rectangle 80">
            <a:hlinkClick r:id="rId27" action="ppaction://hlinksldjump"/>
            <a:extLst>
              <a:ext uri="{FF2B5EF4-FFF2-40B4-BE49-F238E27FC236}">
                <a16:creationId xmlns:a16="http://schemas.microsoft.com/office/drawing/2014/main" id="{A7301E76-FE7B-4E38-A974-E78FFEC808CE}"/>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2" name="Rectangle 81">
            <a:extLst>
              <a:ext uri="{FF2B5EF4-FFF2-40B4-BE49-F238E27FC236}">
                <a16:creationId xmlns:a16="http://schemas.microsoft.com/office/drawing/2014/main" id="{B9A54F5C-2CAC-45CC-9F00-D98029D9F3FD}"/>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3" name="Rectangle 82">
            <a:hlinkClick r:id="rId28" action="ppaction://hlinksldjump"/>
            <a:extLst>
              <a:ext uri="{FF2B5EF4-FFF2-40B4-BE49-F238E27FC236}">
                <a16:creationId xmlns:a16="http://schemas.microsoft.com/office/drawing/2014/main" id="{6AC196BE-D373-466E-AC2F-8C68A581F070}"/>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4" name="Rectangle 83">
            <a:hlinkClick r:id="rId29" action="ppaction://hlinksldjump"/>
            <a:extLst>
              <a:ext uri="{FF2B5EF4-FFF2-40B4-BE49-F238E27FC236}">
                <a16:creationId xmlns:a16="http://schemas.microsoft.com/office/drawing/2014/main" id="{7AB5890C-8544-4711-9060-39D5869280D2}"/>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5" name="Rectangle 84">
            <a:hlinkClick r:id="rId30" action="ppaction://hlinksldjump"/>
            <a:extLst>
              <a:ext uri="{FF2B5EF4-FFF2-40B4-BE49-F238E27FC236}">
                <a16:creationId xmlns:a16="http://schemas.microsoft.com/office/drawing/2014/main" id="{8FEDA5FD-9FA1-42FD-8910-836FEC354038}"/>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344738131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7A39D-AD73-4DD5-BFAE-38DBC94CBCA4}"/>
              </a:ext>
            </a:extLst>
          </p:cNvPr>
          <p:cNvSpPr>
            <a:spLocks noGrp="1"/>
          </p:cNvSpPr>
          <p:nvPr>
            <p:ph type="title"/>
          </p:nvPr>
        </p:nvSpPr>
        <p:spPr/>
        <p:txBody>
          <a:bodyPr/>
          <a:lstStyle/>
          <a:p>
            <a:r>
              <a:rPr lang="en-GB" spc="5" noProof="0" dirty="0">
                <a:latin typeface="Neue Frutiger World" panose="020B0603040304020203" pitchFamily="34" charset="0"/>
                <a:cs typeface="Neue Frutiger World" panose="020B0603040304020203" pitchFamily="34" charset="0"/>
              </a:rPr>
              <a:t>Identify</a:t>
            </a:r>
            <a:r>
              <a:rPr lang="en-GB" spc="-20" noProof="0" dirty="0">
                <a:latin typeface="Neue Frutiger World" panose="020B0603040304020203" pitchFamily="34" charset="0"/>
                <a:cs typeface="Neue Frutiger World" panose="020B0603040304020203" pitchFamily="34" charset="0"/>
              </a:rPr>
              <a:t> </a:t>
            </a:r>
            <a:r>
              <a:rPr lang="en-GB" noProof="0" dirty="0">
                <a:latin typeface="Neue Frutiger World" panose="020B0603040304020203" pitchFamily="34" charset="0"/>
                <a:cs typeface="Neue Frutiger World" panose="020B0603040304020203" pitchFamily="34" charset="0"/>
              </a:rPr>
              <a:t>and</a:t>
            </a:r>
            <a:r>
              <a:rPr lang="en-GB" spc="35" noProof="0" dirty="0">
                <a:latin typeface="Neue Frutiger World" panose="020B0603040304020203" pitchFamily="34" charset="0"/>
                <a:cs typeface="Neue Frutiger World" panose="020B0603040304020203" pitchFamily="34" charset="0"/>
              </a:rPr>
              <a:t> </a:t>
            </a:r>
            <a:r>
              <a:rPr lang="en-GB" spc="-30" noProof="0" dirty="0">
                <a:latin typeface="Neue Frutiger World" panose="020B0603040304020203" pitchFamily="34" charset="0"/>
                <a:cs typeface="Neue Frutiger World" panose="020B0603040304020203" pitchFamily="34" charset="0"/>
              </a:rPr>
              <a:t>treat</a:t>
            </a:r>
            <a:r>
              <a:rPr lang="en-GB" spc="40" noProof="0" dirty="0">
                <a:latin typeface="Neue Frutiger World" panose="020B0603040304020203" pitchFamily="34" charset="0"/>
                <a:cs typeface="Neue Frutiger World" panose="020B0603040304020203" pitchFamily="34" charset="0"/>
              </a:rPr>
              <a:t> </a:t>
            </a:r>
            <a:r>
              <a:rPr lang="en-GB" spc="229" noProof="0" dirty="0">
                <a:latin typeface="Neue Frutiger World" panose="020B0603040304020203" pitchFamily="34" charset="0"/>
                <a:cs typeface="Neue Frutiger World" panose="020B0603040304020203" pitchFamily="34" charset="0"/>
              </a:rPr>
              <a:t>–</a:t>
            </a:r>
            <a:r>
              <a:rPr lang="en-GB" spc="40" noProof="0" dirty="0">
                <a:latin typeface="Neue Frutiger World" panose="020B0603040304020203" pitchFamily="34" charset="0"/>
                <a:cs typeface="Neue Frutiger World" panose="020B0603040304020203" pitchFamily="34" charset="0"/>
              </a:rPr>
              <a:t> </a:t>
            </a:r>
            <a:r>
              <a:rPr lang="en-GB" spc="-10" noProof="0" dirty="0">
                <a:latin typeface="Neue Frutiger World" panose="020B0603040304020203" pitchFamily="34" charset="0"/>
                <a:cs typeface="Neue Frutiger World" panose="020B0603040304020203" pitchFamily="34" charset="0"/>
              </a:rPr>
              <a:t>conversation</a:t>
            </a:r>
            <a:r>
              <a:rPr lang="en-GB" spc="40" noProof="0" dirty="0">
                <a:latin typeface="Neue Frutiger World" panose="020B0603040304020203" pitchFamily="34" charset="0"/>
                <a:cs typeface="Neue Frutiger World" panose="020B0603040304020203" pitchFamily="34" charset="0"/>
              </a:rPr>
              <a:t> </a:t>
            </a:r>
            <a:r>
              <a:rPr lang="en-GB" spc="-15" noProof="0" dirty="0">
                <a:latin typeface="Neue Frutiger World" panose="020B0603040304020203" pitchFamily="34" charset="0"/>
                <a:cs typeface="Neue Frutiger World" panose="020B0603040304020203" pitchFamily="34" charset="0"/>
              </a:rPr>
              <a:t>starter</a:t>
            </a:r>
            <a:r>
              <a:rPr lang="en-GB" noProof="0" dirty="0">
                <a:latin typeface="Neue Frutiger World" panose="020B0603040304020203" pitchFamily="34" charset="0"/>
                <a:cs typeface="Neue Frutiger World" panose="020B0603040304020203" pitchFamily="34" charset="0"/>
              </a:rPr>
              <a:t> </a:t>
            </a:r>
            <a:r>
              <a:rPr lang="en-GB" spc="5" noProof="0" dirty="0">
                <a:latin typeface="Neue Frutiger World" panose="020B0603040304020203" pitchFamily="34" charset="0"/>
                <a:cs typeface="Neue Frutiger World" panose="020B0603040304020203" pitchFamily="34" charset="0"/>
              </a:rPr>
              <a:t>4</a:t>
            </a:r>
            <a:endParaRPr lang="en-GB" noProof="0" dirty="0">
              <a:latin typeface="Neue Frutiger World" panose="020B0603040304020203" pitchFamily="34" charset="0"/>
              <a:cs typeface="Neue Frutiger World" panose="020B0603040304020203" pitchFamily="34" charset="0"/>
            </a:endParaRPr>
          </a:p>
        </p:txBody>
      </p:sp>
      <p:sp>
        <p:nvSpPr>
          <p:cNvPr id="4" name="Slide Number Placeholder 3">
            <a:extLst>
              <a:ext uri="{FF2B5EF4-FFF2-40B4-BE49-F238E27FC236}">
                <a16:creationId xmlns:a16="http://schemas.microsoft.com/office/drawing/2014/main" id="{191EF7A7-9117-412D-AA43-356E0022D6F1}"/>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15</a:t>
            </a:fld>
            <a:endParaRPr lang="en-US" noProof="0" dirty="0">
              <a:latin typeface="Neue Frutiger World" panose="020B0603040304020203" pitchFamily="34" charset="0"/>
              <a:cs typeface="Neue Frutiger World" panose="020B0603040304020203" pitchFamily="34" charset="0"/>
            </a:endParaRPr>
          </a:p>
        </p:txBody>
      </p:sp>
      <p:sp>
        <p:nvSpPr>
          <p:cNvPr id="6" name="object 4">
            <a:extLst>
              <a:ext uri="{FF2B5EF4-FFF2-40B4-BE49-F238E27FC236}">
                <a16:creationId xmlns:a16="http://schemas.microsoft.com/office/drawing/2014/main" id="{C22930AF-0BF7-44DD-B1E0-52760A30E714}"/>
              </a:ext>
            </a:extLst>
          </p:cNvPr>
          <p:cNvSpPr txBox="1"/>
          <p:nvPr/>
        </p:nvSpPr>
        <p:spPr>
          <a:xfrm>
            <a:off x="1547664" y="771550"/>
            <a:ext cx="3240360" cy="1398781"/>
          </a:xfrm>
          <a:prstGeom prst="rect">
            <a:avLst/>
          </a:prstGeom>
        </p:spPr>
        <p:txBody>
          <a:bodyPr vert="horz" wrap="square" lIns="0" tIns="92710" rIns="0" bIns="0" rtlCol="0">
            <a:spAutoFit/>
          </a:bodyPr>
          <a:lstStyle/>
          <a:p>
            <a:pPr marL="12699">
              <a:spcBef>
                <a:spcPts val="730"/>
              </a:spcBef>
            </a:pPr>
            <a:r>
              <a:rPr sz="1300" b="1" dirty="0">
                <a:solidFill>
                  <a:srgbClr val="231F20"/>
                </a:solidFill>
                <a:latin typeface="Neue Frutiger World" panose="020B0603040304020203" pitchFamily="34" charset="0"/>
                <a:cs typeface="Neue Frutiger World" panose="020B0603040304020203" pitchFamily="34" charset="0"/>
              </a:rPr>
              <a:t>Open ended</a:t>
            </a:r>
            <a:r>
              <a:rPr sz="1300" b="1" spc="5"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question:</a:t>
            </a:r>
            <a:endParaRPr sz="1300" dirty="0">
              <a:latin typeface="Neue Frutiger World" panose="020B0603040304020203" pitchFamily="34" charset="0"/>
              <a:cs typeface="Neue Frutiger World" panose="020B0603040304020203" pitchFamily="34" charset="0"/>
            </a:endParaRPr>
          </a:p>
          <a:p>
            <a:pPr marL="12699">
              <a:spcBef>
                <a:spcPts val="390"/>
              </a:spcBef>
            </a:pPr>
            <a:r>
              <a:rPr sz="800" spc="-5" dirty="0">
                <a:solidFill>
                  <a:srgbClr val="231F20"/>
                </a:solidFill>
                <a:latin typeface="Neue Frutiger World" panose="020B0603040304020203" pitchFamily="34" charset="0"/>
                <a:cs typeface="Neue Frutiger World" panose="020B0603040304020203" pitchFamily="34" charset="0"/>
              </a:rPr>
              <a:t>How</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o</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urrently</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dentif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d</a:t>
            </a:r>
            <a:r>
              <a:rPr sz="80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rea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fections?</a:t>
            </a:r>
            <a:endParaRPr sz="800" dirty="0">
              <a:latin typeface="Neue Frutiger World" panose="020B0603040304020203" pitchFamily="34" charset="0"/>
              <a:cs typeface="Neue Frutiger World" panose="020B0603040304020203" pitchFamily="34" charset="0"/>
            </a:endParaRPr>
          </a:p>
          <a:p>
            <a:pPr>
              <a:lnSpc>
                <a:spcPct val="100000"/>
              </a:lnSpc>
            </a:pPr>
            <a:endParaRPr sz="900" dirty="0">
              <a:latin typeface="Neue Frutiger World" panose="020B0603040304020203" pitchFamily="34" charset="0"/>
              <a:cs typeface="Neue Frutiger World" panose="020B0603040304020203" pitchFamily="34" charset="0"/>
            </a:endParaRPr>
          </a:p>
          <a:p>
            <a:pPr>
              <a:spcBef>
                <a:spcPts val="10"/>
              </a:spcBef>
            </a:pPr>
            <a:endParaRPr sz="1050" dirty="0">
              <a:latin typeface="Neue Frutiger World" panose="020B0603040304020203" pitchFamily="34" charset="0"/>
              <a:cs typeface="Neue Frutiger World" panose="020B0603040304020203" pitchFamily="34" charset="0"/>
            </a:endParaRPr>
          </a:p>
          <a:p>
            <a:pPr marL="12699"/>
            <a:r>
              <a:rPr sz="1300" b="1" spc="-15" dirty="0">
                <a:solidFill>
                  <a:srgbClr val="231F20"/>
                </a:solidFill>
                <a:latin typeface="Neue Frutiger World" panose="020B0603040304020203" pitchFamily="34" charset="0"/>
                <a:cs typeface="Neue Frutiger World" panose="020B0603040304020203" pitchFamily="34" charset="0"/>
              </a:rPr>
              <a:t>Potential</a:t>
            </a:r>
            <a:r>
              <a:rPr sz="1300" b="1" spc="25" dirty="0">
                <a:solidFill>
                  <a:srgbClr val="231F20"/>
                </a:solidFill>
                <a:latin typeface="Neue Frutiger World" panose="020B0603040304020203" pitchFamily="34" charset="0"/>
                <a:cs typeface="Neue Frutiger World" panose="020B0603040304020203" pitchFamily="34" charset="0"/>
              </a:rPr>
              <a:t> </a:t>
            </a:r>
            <a:r>
              <a:rPr sz="1300" b="1" dirty="0">
                <a:solidFill>
                  <a:srgbClr val="231F20"/>
                </a:solidFill>
                <a:latin typeface="Neue Frutiger World" panose="020B0603040304020203" pitchFamily="34" charset="0"/>
                <a:cs typeface="Neue Frutiger World" panose="020B0603040304020203" pitchFamily="34" charset="0"/>
              </a:rPr>
              <a:t>physician</a:t>
            </a:r>
            <a:r>
              <a:rPr sz="1300" b="1" spc="30"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12699" marR="5079">
              <a:lnSpc>
                <a:spcPct val="104200"/>
              </a:lnSpc>
              <a:spcBef>
                <a:spcPts val="350"/>
              </a:spcBef>
            </a:pPr>
            <a:r>
              <a:rPr sz="800" spc="10" dirty="0">
                <a:solidFill>
                  <a:srgbClr val="231F20"/>
                </a:solidFill>
                <a:latin typeface="Neue Frutiger World" panose="020B0603040304020203" pitchFamily="34" charset="0"/>
                <a:cs typeface="Neue Frutiger World" panose="020B0603040304020203" pitchFamily="34" charset="0"/>
              </a:rPr>
              <a:t>My</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staff</a:t>
            </a:r>
            <a:r>
              <a:rPr sz="800" spc="-10" dirty="0">
                <a:solidFill>
                  <a:srgbClr val="231F20"/>
                </a:solidFill>
                <a:latin typeface="Neue Frutiger World" panose="020B0603040304020203" pitchFamily="34" charset="0"/>
                <a:cs typeface="Neue Frutiger World" panose="020B0603040304020203" pitchFamily="34" charset="0"/>
              </a:rPr>
              <a:t> i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rained</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ak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ook</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at</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henever</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omes</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nto</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linic.</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pending</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n</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ow</a:t>
            </a:r>
            <a:r>
              <a:rPr sz="800" spc="-15" dirty="0">
                <a:solidFill>
                  <a:srgbClr val="231F20"/>
                </a:solidFill>
                <a:latin typeface="Neue Frutiger World" panose="020B0603040304020203" pitchFamily="34" charset="0"/>
                <a:cs typeface="Neue Frutiger World" panose="020B0603040304020203" pitchFamily="34" charset="0"/>
              </a:rPr>
              <a:t> i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ooks,</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e</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may</a:t>
            </a:r>
            <a:r>
              <a:rPr sz="800" spc="-20" dirty="0">
                <a:solidFill>
                  <a:srgbClr val="231F20"/>
                </a:solidFill>
                <a:latin typeface="Neue Frutiger World" panose="020B0603040304020203" pitchFamily="34" charset="0"/>
                <a:cs typeface="Neue Frutiger World" panose="020B0603040304020203" pitchFamily="34" charset="0"/>
              </a:rPr>
              <a:t> trea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m</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ith</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ntibiotics</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first,</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befor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tential</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xtraction.</a:t>
            </a:r>
            <a:endParaRPr sz="800" dirty="0">
              <a:latin typeface="Neue Frutiger World" panose="020B0603040304020203" pitchFamily="34" charset="0"/>
              <a:cs typeface="Neue Frutiger World" panose="020B0603040304020203" pitchFamily="34" charset="0"/>
            </a:endParaRPr>
          </a:p>
        </p:txBody>
      </p:sp>
      <p:sp>
        <p:nvSpPr>
          <p:cNvPr id="7" name="object 5">
            <a:extLst>
              <a:ext uri="{FF2B5EF4-FFF2-40B4-BE49-F238E27FC236}">
                <a16:creationId xmlns:a16="http://schemas.microsoft.com/office/drawing/2014/main" id="{5C73969F-2358-463D-A632-6CCA71417E7D}"/>
              </a:ext>
            </a:extLst>
          </p:cNvPr>
          <p:cNvSpPr txBox="1"/>
          <p:nvPr/>
        </p:nvSpPr>
        <p:spPr>
          <a:xfrm>
            <a:off x="5148064" y="771549"/>
            <a:ext cx="3744416" cy="2736070"/>
          </a:xfrm>
          <a:prstGeom prst="rect">
            <a:avLst/>
          </a:prstGeom>
        </p:spPr>
        <p:txBody>
          <a:bodyPr vert="horz" wrap="square" lIns="0" tIns="92710" rIns="0" bIns="0" rtlCol="0">
            <a:spAutoFit/>
          </a:bodyPr>
          <a:lstStyle/>
          <a:p>
            <a:pPr marL="63495">
              <a:spcBef>
                <a:spcPts val="730"/>
              </a:spcBef>
            </a:pPr>
            <a:r>
              <a:rPr sz="1300" b="1" spc="-5" dirty="0">
                <a:solidFill>
                  <a:srgbClr val="231F20"/>
                </a:solidFill>
                <a:latin typeface="Neue Frutiger World" panose="020B0603040304020203" pitchFamily="34" charset="0"/>
                <a:cs typeface="Neue Frutiger World" panose="020B0603040304020203" pitchFamily="34" charset="0"/>
              </a:rPr>
              <a:t>Rep</a:t>
            </a:r>
            <a:r>
              <a:rPr sz="1300" b="1"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63495" marR="55875">
              <a:lnSpc>
                <a:spcPct val="104200"/>
              </a:lnSpc>
              <a:spcBef>
                <a:spcPts val="350"/>
              </a:spcBef>
            </a:pPr>
            <a:r>
              <a:rPr sz="800" spc="-15" dirty="0">
                <a:solidFill>
                  <a:srgbClr val="231F20"/>
                </a:solidFill>
                <a:latin typeface="Neue Frutiger World" panose="020B0603040304020203" pitchFamily="34" charset="0"/>
                <a:cs typeface="Neue Frutiger World" panose="020B0603040304020203" pitchFamily="34" charset="0"/>
              </a:rPr>
              <a:t>It</a:t>
            </a:r>
            <a:r>
              <a:rPr lang="sv-SE" sz="800" spc="-15" dirty="0">
                <a:solidFill>
                  <a:srgbClr val="231F20"/>
                </a:solidFill>
                <a:latin typeface="Neue Frutiger World" panose="020B0603040304020203" pitchFamily="34" charset="0"/>
                <a:cs typeface="Neue Frutiger World" panose="020B0603040304020203" pitchFamily="34" charset="0"/>
              </a:rPr>
              <a:t>'</a:t>
            </a:r>
            <a:r>
              <a:rPr sz="800" spc="-15" dirty="0">
                <a:solidFill>
                  <a:srgbClr val="231F20"/>
                </a:solidFill>
                <a:latin typeface="Neue Frutiger World" panose="020B0603040304020203" pitchFamily="34" charset="0"/>
                <a:cs typeface="Neue Frutiger World" panose="020B0603040304020203" pitchFamily="34" charset="0"/>
              </a:rPr>
              <a:t>s</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great</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 </a:t>
            </a:r>
            <a:r>
              <a:rPr sz="800" dirty="0">
                <a:solidFill>
                  <a:srgbClr val="231F20"/>
                </a:solidFill>
                <a:latin typeface="Neue Frutiger World" panose="020B0603040304020203" pitchFamily="34" charset="0"/>
                <a:cs typeface="Neue Frutiger World" panose="020B0603040304020203" pitchFamily="34" charset="0"/>
              </a:rPr>
              <a:t>your</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linic</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checking</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n</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every</a:t>
            </a:r>
            <a:r>
              <a:rPr sz="800" spc="-4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visi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dentifying</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mptoms</a:t>
            </a:r>
            <a:r>
              <a:rPr lang="en-GB"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rovide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pportunity</a:t>
            </a:r>
            <a:r>
              <a:rPr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or </a:t>
            </a:r>
            <a:r>
              <a:rPr sz="800" spc="-5" dirty="0">
                <a:solidFill>
                  <a:srgbClr val="231F20"/>
                </a:solidFill>
                <a:latin typeface="Neue Frutiger World" panose="020B0603040304020203" pitchFamily="34" charset="0"/>
                <a:cs typeface="Neue Frutiger World" panose="020B0603040304020203" pitchFamily="34" charset="0"/>
              </a:rPr>
              <a:t>quick</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reatmen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owever </a:t>
            </a:r>
            <a:r>
              <a:rPr sz="800" spc="-15" dirty="0">
                <a:solidFill>
                  <a:srgbClr val="231F20"/>
                </a:solidFill>
                <a:latin typeface="Neue Frutiger World" panose="020B0603040304020203" pitchFamily="34" charset="0"/>
                <a:cs typeface="Neue Frutiger World" panose="020B0603040304020203" pitchFamily="34" charset="0"/>
              </a:rPr>
              <a:t>it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mportant</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lang="en-GB"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e</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reatment</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s</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ith</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ntibiotic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e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hown</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50-100%</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elaps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rat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d</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lays</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definitive</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reatment</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hich</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omplet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rdware</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removal.</a:t>
            </a:r>
            <a:r>
              <a:rPr sz="800" baseline="30864" dirty="0">
                <a:solidFill>
                  <a:srgbClr val="231F20"/>
                </a:solidFill>
                <a:latin typeface="Neue Frutiger World" panose="020B0603040304020203" pitchFamily="34" charset="0"/>
                <a:cs typeface="Neue Frutiger World" panose="020B0603040304020203" pitchFamily="34" charset="0"/>
              </a:rPr>
              <a:t>5-9</a:t>
            </a:r>
            <a:r>
              <a:rPr lang="en-GB" sz="800" baseline="30864"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s</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reated </a:t>
            </a:r>
            <a:r>
              <a:rPr sz="800" spc="-5" dirty="0">
                <a:solidFill>
                  <a:srgbClr val="231F20"/>
                </a:solidFill>
                <a:latin typeface="Neue Frutiger World" panose="020B0603040304020203" pitchFamily="34" charset="0"/>
                <a:cs typeface="Neue Frutiger World" panose="020B0603040304020203" pitchFamily="34" charset="0"/>
              </a:rPr>
              <a:t>with</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ntibiotics</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e</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lso</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mor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ikely</a:t>
            </a:r>
            <a:r>
              <a:rPr sz="800" spc="-20" dirty="0">
                <a:solidFill>
                  <a:srgbClr val="231F20"/>
                </a:solidFill>
                <a:latin typeface="Neue Frutiger World" panose="020B0603040304020203" pitchFamily="34" charset="0"/>
                <a:cs typeface="Neue Frutiger World" panose="020B0603040304020203" pitchFamily="34" charset="0"/>
              </a:rPr>
              <a:t> to</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an</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s </a:t>
            </a:r>
            <a:r>
              <a:rPr sz="800" spc="5" dirty="0">
                <a:solidFill>
                  <a:srgbClr val="231F20"/>
                </a:solidFill>
                <a:latin typeface="Neue Frutiger World" panose="020B0603040304020203" pitchFamily="34" charset="0"/>
                <a:cs typeface="Neue Frutiger World" panose="020B0603040304020203" pitchFamily="34" charset="0"/>
              </a:rPr>
              <a:t>who</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receive </a:t>
            </a:r>
            <a:r>
              <a:rPr sz="800" spc="-5" dirty="0">
                <a:solidFill>
                  <a:srgbClr val="231F20"/>
                </a:solidFill>
                <a:latin typeface="Neue Frutiger World" panose="020B0603040304020203" pitchFamily="34" charset="0"/>
                <a:cs typeface="Neue Frutiger World" panose="020B0603040304020203" pitchFamily="34" charset="0"/>
              </a:rPr>
              <a:t>complete</a:t>
            </a:r>
            <a:r>
              <a:rPr sz="800" spc="3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a:t>
            </a:r>
            <a:r>
              <a:rPr sz="800" spc="3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removal</a:t>
            </a:r>
            <a:r>
              <a:rPr sz="800" spc="3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47.6%</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vs.</a:t>
            </a:r>
            <a:r>
              <a:rPr sz="800" spc="4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6.7%).</a:t>
            </a:r>
            <a:r>
              <a:rPr sz="800" baseline="30864" dirty="0">
                <a:solidFill>
                  <a:srgbClr val="231F20"/>
                </a:solidFill>
                <a:latin typeface="Neue Frutiger World" panose="020B0603040304020203" pitchFamily="34" charset="0"/>
                <a:cs typeface="Neue Frutiger World" panose="020B0603040304020203" pitchFamily="34" charset="0"/>
              </a:rPr>
              <a:t>13</a:t>
            </a:r>
            <a:r>
              <a:rPr sz="800" spc="187" baseline="30864"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Given</a:t>
            </a:r>
            <a:r>
              <a:rPr sz="800" spc="3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4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3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s</a:t>
            </a:r>
            <a:r>
              <a:rPr sz="800" spc="3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3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en</a:t>
            </a:r>
            <a:r>
              <a:rPr sz="800" spc="4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hown </a:t>
            </a:r>
            <a:r>
              <a:rPr lang="en-GB" sz="800" spc="-5" dirty="0">
                <a:solidFill>
                  <a:srgbClr val="231F20"/>
                </a:solidFill>
                <a:latin typeface="Neue Frutiger World" panose="020B0603040304020203" pitchFamily="34" charset="0"/>
                <a:cs typeface="Neue Frutiger World" panose="020B0603040304020203" pitchFamily="34" charset="0"/>
              </a:rPr>
              <a:t>t</a:t>
            </a:r>
            <a:r>
              <a:rPr sz="800" spc="-20" dirty="0">
                <a:solidFill>
                  <a:srgbClr val="231F20"/>
                </a:solidFill>
                <a:latin typeface="Neue Frutiger World" panose="020B0603040304020203" pitchFamily="34" charset="0"/>
                <a:cs typeface="Neue Frutiger World" panose="020B0603040304020203" pitchFamily="34" charset="0"/>
              </a:rPr>
              <a:t>o</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12%</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mortality,</a:t>
            </a:r>
            <a:r>
              <a:rPr sz="800" spc="-15" baseline="30864" dirty="0">
                <a:solidFill>
                  <a:srgbClr val="231F20"/>
                </a:solidFill>
                <a:latin typeface="Neue Frutiger World" panose="020B0603040304020203" pitchFamily="34" charset="0"/>
                <a:cs typeface="Neue Frutiger World" panose="020B0603040304020203" pitchFamily="34" charset="0"/>
              </a:rPr>
              <a:t>12</a:t>
            </a:r>
            <a:r>
              <a:rPr lang="en-GB" sz="800" spc="-15" baseline="30864"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robably</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best</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or th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sz="80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quickly</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move</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xtractio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f </a:t>
            </a:r>
            <a:r>
              <a:rPr sz="800" spc="-10" dirty="0">
                <a:solidFill>
                  <a:srgbClr val="231F20"/>
                </a:solidFill>
                <a:latin typeface="Neue Frutiger World" panose="020B0603040304020203" pitchFamily="34" charset="0"/>
                <a:cs typeface="Neue Frutiger World" panose="020B0603040304020203" pitchFamily="34" charset="0"/>
              </a:rPr>
              <a:t>pocket</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uspected.</a:t>
            </a:r>
            <a:endParaRPr sz="800" dirty="0">
              <a:latin typeface="Neue Frutiger World" panose="020B0603040304020203" pitchFamily="34" charset="0"/>
              <a:cs typeface="Neue Frutiger World" panose="020B0603040304020203" pitchFamily="34" charset="0"/>
            </a:endParaRPr>
          </a:p>
          <a:p>
            <a:pPr>
              <a:lnSpc>
                <a:spcPct val="100000"/>
              </a:lnSpc>
            </a:pPr>
            <a:endParaRPr sz="800" dirty="0">
              <a:latin typeface="Neue Frutiger World" panose="020B0603040304020203" pitchFamily="34" charset="0"/>
              <a:cs typeface="Neue Frutiger World" panose="020B0603040304020203" pitchFamily="34" charset="0"/>
            </a:endParaRPr>
          </a:p>
          <a:p>
            <a:pPr>
              <a:spcBef>
                <a:spcPts val="40"/>
              </a:spcBef>
            </a:pPr>
            <a:endParaRPr sz="800" dirty="0">
              <a:latin typeface="Neue Frutiger World" panose="020B0603040304020203" pitchFamily="34" charset="0"/>
              <a:cs typeface="Neue Frutiger World" panose="020B0603040304020203" pitchFamily="34" charset="0"/>
            </a:endParaRPr>
          </a:p>
          <a:p>
            <a:pPr marL="63495" marR="138418">
              <a:lnSpc>
                <a:spcPct val="104200"/>
              </a:lnSpc>
            </a:pPr>
            <a:r>
              <a:rPr sz="800" dirty="0">
                <a:solidFill>
                  <a:srgbClr val="0077CD"/>
                </a:solidFill>
                <a:latin typeface="Neue Frutiger World" panose="020B0603040304020203" pitchFamily="34" charset="0"/>
                <a:cs typeface="Neue Frutiger World" panose="020B0603040304020203" pitchFamily="34" charset="0"/>
              </a:rPr>
              <a:t>I</a:t>
            </a:r>
            <a:r>
              <a:rPr sz="800" spc="-2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ould</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love</a:t>
            </a:r>
            <a:r>
              <a:rPr sz="800" spc="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work</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ith</a:t>
            </a:r>
            <a:r>
              <a:rPr sz="800" spc="-1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 </a:t>
            </a:r>
            <a:r>
              <a:rPr sz="800" spc="-20" dirty="0">
                <a:solidFill>
                  <a:srgbClr val="0077CD"/>
                </a:solidFill>
                <a:latin typeface="Neue Frutiger World" panose="020B0603040304020203" pitchFamily="34" charset="0"/>
                <a:cs typeface="Neue Frutiger World" panose="020B0603040304020203" pitchFamily="34" charset="0"/>
              </a:rPr>
              <a:t>to</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set</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up</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ome</a:t>
            </a:r>
            <a:r>
              <a:rPr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time</a:t>
            </a:r>
            <a:r>
              <a:rPr sz="800" spc="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peak</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ith</a:t>
            </a:r>
            <a:r>
              <a:rPr sz="800" spc="-20"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r</a:t>
            </a:r>
            <a:r>
              <a:rPr sz="800" spc="-10" dirty="0">
                <a:solidFill>
                  <a:srgbClr val="0077CD"/>
                </a:solidFill>
                <a:latin typeface="Neue Frutiger World" panose="020B0603040304020203" pitchFamily="34" charset="0"/>
                <a:cs typeface="Neue Frutiger World" panose="020B0603040304020203" pitchFamily="34" charset="0"/>
              </a:rPr>
              <a:t> </a:t>
            </a:r>
            <a:r>
              <a:rPr lang="en-GB" sz="800" spc="-10" dirty="0">
                <a:solidFill>
                  <a:srgbClr val="0077CD"/>
                </a:solidFill>
                <a:latin typeface="Neue Frutiger World" panose="020B0603040304020203" pitchFamily="34" charset="0"/>
                <a:cs typeface="Neue Frutiger World" panose="020B0603040304020203" pitchFamily="34" charset="0"/>
              </a:rPr>
              <a:t>colleagues</a:t>
            </a:r>
            <a:r>
              <a:rPr sz="800" spc="5" dirty="0">
                <a:solidFill>
                  <a:srgbClr val="0077CD"/>
                </a:solidFill>
                <a:latin typeface="Neue Frutiger World" panose="020B0603040304020203" pitchFamily="34" charset="0"/>
                <a:cs typeface="Neue Frutiger World" panose="020B0603040304020203" pitchFamily="34" charset="0"/>
              </a:rPr>
              <a:t> </a:t>
            </a:r>
            <a:r>
              <a:rPr lang="en-GB" sz="800" spc="-15" dirty="0">
                <a:solidFill>
                  <a:srgbClr val="0077CD"/>
                </a:solidFill>
                <a:latin typeface="Neue Frutiger World" panose="020B0603040304020203" pitchFamily="34" charset="0"/>
                <a:cs typeface="Neue Frutiger World" panose="020B0603040304020203" pitchFamily="34" charset="0"/>
              </a:rPr>
              <a:t>who</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do</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not </a:t>
            </a:r>
            <a:r>
              <a:rPr sz="800" spc="-15" dirty="0">
                <a:solidFill>
                  <a:srgbClr val="0077CD"/>
                </a:solidFill>
                <a:latin typeface="Neue Frutiger World" panose="020B0603040304020203" pitchFamily="34" charset="0"/>
                <a:cs typeface="Neue Frutiger World" panose="020B0603040304020203" pitchFamily="34" charset="0"/>
              </a:rPr>
              <a:t>extract</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devices.</a:t>
            </a:r>
            <a:r>
              <a:rPr sz="800" spc="-15" dirty="0">
                <a:solidFill>
                  <a:srgbClr val="0077CD"/>
                </a:solidFill>
                <a:latin typeface="Neue Frutiger World" panose="020B0603040304020203" pitchFamily="34" charset="0"/>
                <a:cs typeface="Neue Frutiger World" panose="020B0603040304020203" pitchFamily="34" charset="0"/>
              </a:rPr>
              <a:t> </a:t>
            </a:r>
            <a:r>
              <a:rPr lang="en-GB" sz="800" spc="5" dirty="0">
                <a:solidFill>
                  <a:srgbClr val="0077CD"/>
                </a:solidFill>
                <a:latin typeface="Neue Frutiger World" panose="020B0603040304020203" pitchFamily="34" charset="0"/>
                <a:cs typeface="Neue Frutiger World" panose="020B0603040304020203" pitchFamily="34" charset="0"/>
              </a:rPr>
              <a:t>It may be that </a:t>
            </a:r>
            <a:r>
              <a:rPr sz="800" spc="-5" dirty="0">
                <a:solidFill>
                  <a:srgbClr val="0077CD"/>
                </a:solidFill>
                <a:latin typeface="Neue Frutiger World" panose="020B0603040304020203" pitchFamily="34" charset="0"/>
                <a:cs typeface="Neue Frutiger World" panose="020B0603040304020203" pitchFamily="34" charset="0"/>
              </a:rPr>
              <a:t>some</a:t>
            </a:r>
            <a:r>
              <a:rPr sz="800" spc="1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patients</a:t>
            </a:r>
            <a:r>
              <a:rPr sz="800" spc="-15" dirty="0">
                <a:solidFill>
                  <a:srgbClr val="0077CD"/>
                </a:solidFill>
                <a:latin typeface="Neue Frutiger World" panose="020B0603040304020203" pitchFamily="34" charset="0"/>
                <a:cs typeface="Neue Frutiger World" panose="020B0603040304020203" pitchFamily="34" charset="0"/>
              </a:rPr>
              <a:t> </a:t>
            </a:r>
            <a:r>
              <a:rPr lang="en-GB" sz="800" spc="-15" dirty="0">
                <a:solidFill>
                  <a:srgbClr val="0077CD"/>
                </a:solidFill>
                <a:latin typeface="Neue Frutiger World" panose="020B0603040304020203" pitchFamily="34" charset="0"/>
                <a:cs typeface="Neue Frutiger World" panose="020B0603040304020203" pitchFamily="34" charset="0"/>
              </a:rPr>
              <a:t>are treated </a:t>
            </a:r>
            <a:r>
              <a:rPr sz="800" spc="-5" dirty="0">
                <a:solidFill>
                  <a:srgbClr val="0077CD"/>
                </a:solidFill>
                <a:latin typeface="Neue Frutiger World" panose="020B0603040304020203" pitchFamily="34" charset="0"/>
                <a:cs typeface="Neue Frutiger World" panose="020B0603040304020203" pitchFamily="34" charset="0"/>
              </a:rPr>
              <a:t>with</a:t>
            </a:r>
            <a:r>
              <a:rPr sz="800" spc="1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antibiotics</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before</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y</a:t>
            </a:r>
            <a:r>
              <a:rPr sz="800" spc="-15" dirty="0">
                <a:solidFill>
                  <a:srgbClr val="0077CD"/>
                </a:solidFill>
                <a:latin typeface="Neue Frutiger World" panose="020B0603040304020203" pitchFamily="34" charset="0"/>
                <a:cs typeface="Neue Frutiger World" panose="020B0603040304020203" pitchFamily="34" charset="0"/>
              </a:rPr>
              <a:t> </a:t>
            </a:r>
            <a:r>
              <a:rPr lang="en-GB" sz="800" spc="-5" dirty="0">
                <a:solidFill>
                  <a:srgbClr val="0077CD"/>
                </a:solidFill>
                <a:latin typeface="Neue Frutiger World" panose="020B0603040304020203" pitchFamily="34" charset="0"/>
                <a:cs typeface="Neue Frutiger World" panose="020B0603040304020203" pitchFamily="34" charset="0"/>
              </a:rPr>
              <a:t>are referred to </a:t>
            </a:r>
            <a:r>
              <a:rPr sz="800" dirty="0">
                <a:solidFill>
                  <a:srgbClr val="0077CD"/>
                </a:solidFill>
                <a:latin typeface="Neue Frutiger World" panose="020B0603040304020203" pitchFamily="34" charset="0"/>
                <a:cs typeface="Neue Frutiger World" panose="020B0603040304020203" pitchFamily="34" charset="0"/>
              </a:rPr>
              <a:t>you </a:t>
            </a:r>
            <a:r>
              <a:rPr sz="800" spc="-10" dirty="0">
                <a:solidFill>
                  <a:srgbClr val="0077CD"/>
                </a:solidFill>
                <a:latin typeface="Neue Frutiger World" panose="020B0603040304020203" pitchFamily="34" charset="0"/>
                <a:cs typeface="Neue Frutiger World" panose="020B0603040304020203" pitchFamily="34" charset="0"/>
              </a:rPr>
              <a:t>for</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an</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extraction.</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is</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information</a:t>
            </a:r>
            <a:r>
              <a:rPr sz="800" spc="10"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may</a:t>
            </a:r>
            <a:r>
              <a:rPr sz="800" spc="-15" dirty="0">
                <a:solidFill>
                  <a:srgbClr val="0077CD"/>
                </a:solidFill>
                <a:latin typeface="Neue Frutiger World" panose="020B0603040304020203" pitchFamily="34" charset="0"/>
                <a:cs typeface="Neue Frutiger World" panose="020B0603040304020203" pitchFamily="34" charset="0"/>
              </a:rPr>
              <a:t> </a:t>
            </a:r>
            <a:r>
              <a:rPr lang="en-GB" sz="800" spc="-5" dirty="0">
                <a:solidFill>
                  <a:srgbClr val="0077CD"/>
                </a:solidFill>
                <a:latin typeface="Neue Frutiger World" panose="020B0603040304020203" pitchFamily="34" charset="0"/>
                <a:cs typeface="Neue Frutiger World" panose="020B0603040304020203" pitchFamily="34" charset="0"/>
              </a:rPr>
              <a:t>persuade</a:t>
            </a:r>
            <a:r>
              <a:rPr sz="800" spc="-2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m</a:t>
            </a:r>
            <a:r>
              <a:rPr sz="800" spc="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end</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m</a:t>
            </a:r>
            <a:r>
              <a:rPr sz="800"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a:t>
            </a:r>
            <a:r>
              <a:rPr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for </a:t>
            </a:r>
            <a:r>
              <a:rPr sz="800" spc="-5" dirty="0">
                <a:solidFill>
                  <a:srgbClr val="0077CD"/>
                </a:solidFill>
                <a:latin typeface="Neue Frutiger World" panose="020B0603040304020203" pitchFamily="34" charset="0"/>
                <a:cs typeface="Neue Frutiger World" panose="020B0603040304020203" pitchFamily="34" charset="0"/>
              </a:rPr>
              <a:t>a</a:t>
            </a:r>
            <a:r>
              <a:rPr sz="800" spc="10" dirty="0">
                <a:solidFill>
                  <a:srgbClr val="0077CD"/>
                </a:solidFill>
                <a:latin typeface="Neue Frutiger World" panose="020B0603040304020203" pitchFamily="34" charset="0"/>
                <a:cs typeface="Neue Frutiger World" panose="020B0603040304020203" pitchFamily="34" charset="0"/>
              </a:rPr>
              <a:t> </a:t>
            </a:r>
            <a:r>
              <a:rPr lang="en-GB" sz="800" spc="-10" dirty="0">
                <a:solidFill>
                  <a:srgbClr val="0077CD"/>
                </a:solidFill>
                <a:latin typeface="Neue Frutiger World" panose="020B0603040304020203" pitchFamily="34" charset="0"/>
                <a:cs typeface="Neue Frutiger World" panose="020B0603040304020203" pitchFamily="34" charset="0"/>
              </a:rPr>
              <a:t>consultation</a:t>
            </a:r>
            <a:r>
              <a:rPr sz="800" spc="10" dirty="0">
                <a:solidFill>
                  <a:srgbClr val="0077CD"/>
                </a:solidFill>
                <a:latin typeface="Neue Frutiger World" panose="020B0603040304020203" pitchFamily="34" charset="0"/>
                <a:cs typeface="Neue Frutiger World" panose="020B0603040304020203" pitchFamily="34" charset="0"/>
              </a:rPr>
              <a:t> </a:t>
            </a:r>
            <a:r>
              <a:rPr lang="en-GB" sz="800" spc="-10" dirty="0">
                <a:solidFill>
                  <a:srgbClr val="0077CD"/>
                </a:solidFill>
                <a:latin typeface="Neue Frutiger World" panose="020B0603040304020203" pitchFamily="34" charset="0"/>
                <a:cs typeface="Neue Frutiger World" panose="020B0603040304020203" pitchFamily="34" charset="0"/>
              </a:rPr>
              <a:t>more promptly</a:t>
            </a:r>
            <a:r>
              <a:rPr sz="800" spc="-10" dirty="0">
                <a:solidFill>
                  <a:srgbClr val="0077CD"/>
                </a:solidFill>
                <a:latin typeface="Neue Frutiger World" panose="020B0603040304020203" pitchFamily="34" charset="0"/>
                <a:cs typeface="Neue Frutiger World" panose="020B0603040304020203" pitchFamily="34" charset="0"/>
              </a:rPr>
              <a:t>.</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Is</a:t>
            </a:r>
            <a:r>
              <a:rPr sz="800" dirty="0">
                <a:solidFill>
                  <a:srgbClr val="0077CD"/>
                </a:solidFill>
                <a:latin typeface="Neue Frutiger World" panose="020B0603040304020203" pitchFamily="34" charset="0"/>
                <a:cs typeface="Neue Frutiger World" panose="020B0603040304020203" pitchFamily="34" charset="0"/>
              </a:rPr>
              <a:t> </a:t>
            </a:r>
            <a:r>
              <a:rPr sz="800" spc="-15" dirty="0">
                <a:solidFill>
                  <a:srgbClr val="0077CD"/>
                </a:solidFill>
                <a:latin typeface="Neue Frutiger World" panose="020B0603040304020203" pitchFamily="34" charset="0"/>
                <a:cs typeface="Neue Frutiger World" panose="020B0603040304020203" pitchFamily="34" charset="0"/>
              </a:rPr>
              <a:t>that</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omething</a:t>
            </a:r>
            <a:r>
              <a:rPr sz="800" spc="-20"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a:t>
            </a:r>
            <a:r>
              <a:rPr sz="800" spc="-2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ould</a:t>
            </a:r>
            <a:r>
              <a:rPr sz="800" spc="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be</a:t>
            </a:r>
            <a:r>
              <a:rPr sz="800" spc="5" dirty="0">
                <a:solidFill>
                  <a:srgbClr val="0077CD"/>
                </a:solidFill>
                <a:latin typeface="Neue Frutiger World" panose="020B0603040304020203" pitchFamily="34" charset="0"/>
                <a:cs typeface="Neue Frutiger World" panose="020B0603040304020203" pitchFamily="34" charset="0"/>
              </a:rPr>
              <a:t> </a:t>
            </a:r>
            <a:r>
              <a:rPr sz="800" spc="-15" dirty="0">
                <a:solidFill>
                  <a:srgbClr val="0077CD"/>
                </a:solidFill>
                <a:latin typeface="Neue Frutiger World" panose="020B0603040304020203" pitchFamily="34" charset="0"/>
                <a:cs typeface="Neue Frutiger World" panose="020B0603040304020203" pitchFamily="34" charset="0"/>
              </a:rPr>
              <a:t>interested</a:t>
            </a:r>
            <a:r>
              <a:rPr sz="800" spc="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in?</a:t>
            </a:r>
            <a:endParaRPr lang="en-GB" sz="800" dirty="0">
              <a:latin typeface="Neue Frutiger World" panose="020B0603040304020203" pitchFamily="34" charset="0"/>
              <a:cs typeface="Neue Frutiger World" panose="020B0603040304020203" pitchFamily="34" charset="0"/>
            </a:endParaRPr>
          </a:p>
          <a:p>
            <a:pPr marL="63495"/>
            <a:endParaRPr lang="en-GB" sz="1300" dirty="0">
              <a:latin typeface="Neue Frutiger World" panose="020B0603040304020203" pitchFamily="34" charset="0"/>
              <a:cs typeface="Neue Frutiger World" panose="020B0603040304020203" pitchFamily="34" charset="0"/>
            </a:endParaRPr>
          </a:p>
          <a:p>
            <a:pPr marL="69209" marR="276837" indent="-44446">
              <a:lnSpc>
                <a:spcPct val="109400"/>
              </a:lnSpc>
              <a:spcBef>
                <a:spcPts val="204"/>
              </a:spcBef>
            </a:pPr>
            <a:endParaRPr sz="800" dirty="0">
              <a:latin typeface="Neue Frutiger World" panose="020B0603040304020203" pitchFamily="34" charset="0"/>
              <a:cs typeface="Neue Frutiger World" panose="020B0603040304020203" pitchFamily="34" charset="0"/>
            </a:endParaRPr>
          </a:p>
        </p:txBody>
      </p:sp>
      <p:sp>
        <p:nvSpPr>
          <p:cNvPr id="8" name="object 6">
            <a:extLst>
              <a:ext uri="{FF2B5EF4-FFF2-40B4-BE49-F238E27FC236}">
                <a16:creationId xmlns:a16="http://schemas.microsoft.com/office/drawing/2014/main" id="{3CC313C7-9F36-48A9-97DA-C5239BD0B55D}"/>
              </a:ext>
            </a:extLst>
          </p:cNvPr>
          <p:cNvSpPr/>
          <p:nvPr/>
        </p:nvSpPr>
        <p:spPr>
          <a:xfrm>
            <a:off x="7951033" y="4039835"/>
            <a:ext cx="653415" cy="1052195"/>
          </a:xfrm>
          <a:custGeom>
            <a:avLst/>
            <a:gdLst/>
            <a:ahLst/>
            <a:cxnLst/>
            <a:rect l="l" t="t" r="r" b="b"/>
            <a:pathLst>
              <a:path w="653414" h="1052195">
                <a:moveTo>
                  <a:pt x="326455" y="0"/>
                </a:moveTo>
                <a:lnTo>
                  <a:pt x="6173" y="554621"/>
                </a:lnTo>
                <a:lnTo>
                  <a:pt x="1544" y="565835"/>
                </a:lnTo>
                <a:lnTo>
                  <a:pt x="0" y="577670"/>
                </a:lnTo>
                <a:lnTo>
                  <a:pt x="1539" y="589502"/>
                </a:lnTo>
                <a:lnTo>
                  <a:pt x="34048" y="622151"/>
                </a:lnTo>
                <a:lnTo>
                  <a:pt x="46077" y="623747"/>
                </a:lnTo>
                <a:lnTo>
                  <a:pt x="252401" y="623747"/>
                </a:lnTo>
                <a:lnTo>
                  <a:pt x="252401" y="978128"/>
                </a:lnTo>
                <a:lnTo>
                  <a:pt x="258217" y="1006940"/>
                </a:lnTo>
                <a:lnTo>
                  <a:pt x="274078" y="1030466"/>
                </a:lnTo>
                <a:lnTo>
                  <a:pt x="297605" y="1046328"/>
                </a:lnTo>
                <a:lnTo>
                  <a:pt x="326416" y="1052144"/>
                </a:lnTo>
                <a:lnTo>
                  <a:pt x="355228" y="1046328"/>
                </a:lnTo>
                <a:lnTo>
                  <a:pt x="378755" y="1030466"/>
                </a:lnTo>
                <a:lnTo>
                  <a:pt x="394616" y="1006940"/>
                </a:lnTo>
                <a:lnTo>
                  <a:pt x="400432" y="978128"/>
                </a:lnTo>
                <a:lnTo>
                  <a:pt x="400432" y="623747"/>
                </a:lnTo>
                <a:lnTo>
                  <a:pt x="606756" y="623747"/>
                </a:lnTo>
                <a:lnTo>
                  <a:pt x="646672" y="600710"/>
                </a:lnTo>
                <a:lnTo>
                  <a:pt x="652845" y="577676"/>
                </a:lnTo>
                <a:lnTo>
                  <a:pt x="651302" y="565846"/>
                </a:lnTo>
                <a:lnTo>
                  <a:pt x="646672" y="554634"/>
                </a:lnTo>
                <a:lnTo>
                  <a:pt x="326455" y="0"/>
                </a:lnTo>
                <a:close/>
              </a:path>
            </a:pathLst>
          </a:custGeom>
          <a:solidFill>
            <a:srgbClr val="5CB9BB"/>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9" name="object 7">
            <a:extLst>
              <a:ext uri="{FF2B5EF4-FFF2-40B4-BE49-F238E27FC236}">
                <a16:creationId xmlns:a16="http://schemas.microsoft.com/office/drawing/2014/main" id="{C44BC3A7-CC0B-4536-8637-373400CC71F3}"/>
              </a:ext>
            </a:extLst>
          </p:cNvPr>
          <p:cNvSpPr txBox="1"/>
          <p:nvPr/>
        </p:nvSpPr>
        <p:spPr>
          <a:xfrm>
            <a:off x="6863627" y="4478816"/>
            <a:ext cx="1491615" cy="505267"/>
          </a:xfrm>
          <a:prstGeom prst="rect">
            <a:avLst/>
          </a:prstGeom>
        </p:spPr>
        <p:txBody>
          <a:bodyPr vert="horz" wrap="square" lIns="0" tIns="12700" rIns="0" bIns="0" rtlCol="0">
            <a:spAutoFit/>
          </a:bodyPr>
          <a:lstStyle/>
          <a:p>
            <a:pPr marL="40002">
              <a:lnSpc>
                <a:spcPts val="2355"/>
              </a:lnSpc>
              <a:spcBef>
                <a:spcPts val="100"/>
              </a:spcBef>
            </a:pPr>
            <a:r>
              <a:rPr sz="2100" b="1" spc="45" dirty="0">
                <a:solidFill>
                  <a:srgbClr val="00325D"/>
                </a:solidFill>
                <a:latin typeface="Neue Frutiger World" panose="020B0603040304020203" pitchFamily="34" charset="0"/>
                <a:cs typeface="Neue Frutiger World" panose="020B0603040304020203" pitchFamily="34" charset="0"/>
              </a:rPr>
              <a:t>50%-100%</a:t>
            </a:r>
            <a:endParaRPr sz="2100" dirty="0">
              <a:latin typeface="Neue Frutiger World" panose="020B0603040304020203" pitchFamily="34" charset="0"/>
              <a:cs typeface="Neue Frutiger World" panose="020B0603040304020203" pitchFamily="34" charset="0"/>
            </a:endParaRPr>
          </a:p>
          <a:p>
            <a:pPr marL="38097">
              <a:lnSpc>
                <a:spcPts val="1395"/>
              </a:lnSpc>
            </a:pPr>
            <a:r>
              <a:rPr sz="1300" spc="-10" dirty="0">
                <a:solidFill>
                  <a:srgbClr val="00325D"/>
                </a:solidFill>
                <a:latin typeface="Neue Frutiger World" panose="020B0603040304020203" pitchFamily="34" charset="0"/>
                <a:cs typeface="Neue Frutiger World" panose="020B0603040304020203" pitchFamily="34" charset="0"/>
              </a:rPr>
              <a:t>relapse</a:t>
            </a:r>
            <a:r>
              <a:rPr sz="1300" spc="-15" dirty="0">
                <a:solidFill>
                  <a:srgbClr val="00325D"/>
                </a:solidFill>
                <a:latin typeface="Neue Frutiger World" panose="020B0603040304020203" pitchFamily="34" charset="0"/>
                <a:cs typeface="Neue Frutiger World" panose="020B0603040304020203" pitchFamily="34" charset="0"/>
              </a:rPr>
              <a:t> </a:t>
            </a:r>
            <a:r>
              <a:rPr sz="1300" spc="-5" dirty="0">
                <a:solidFill>
                  <a:srgbClr val="00325D"/>
                </a:solidFill>
                <a:latin typeface="Neue Frutiger World" panose="020B0603040304020203" pitchFamily="34" charset="0"/>
                <a:cs typeface="Neue Frutiger World" panose="020B0603040304020203" pitchFamily="34" charset="0"/>
              </a:rPr>
              <a:t>rate.</a:t>
            </a:r>
            <a:r>
              <a:rPr sz="1125" spc="-7" baseline="33333" dirty="0">
                <a:solidFill>
                  <a:srgbClr val="00325D"/>
                </a:solidFill>
                <a:latin typeface="Neue Frutiger World" panose="020B0603040304020203" pitchFamily="34" charset="0"/>
                <a:cs typeface="Neue Frutiger World" panose="020B0603040304020203" pitchFamily="34" charset="0"/>
              </a:rPr>
              <a:t>5-9</a:t>
            </a:r>
            <a:endParaRPr sz="1125" baseline="33333" dirty="0">
              <a:latin typeface="Neue Frutiger World" panose="020B0603040304020203" pitchFamily="34" charset="0"/>
              <a:cs typeface="Neue Frutiger World" panose="020B0603040304020203" pitchFamily="34" charset="0"/>
            </a:endParaRPr>
          </a:p>
        </p:txBody>
      </p:sp>
      <p:sp>
        <p:nvSpPr>
          <p:cNvPr id="10" name="object 8">
            <a:extLst>
              <a:ext uri="{FF2B5EF4-FFF2-40B4-BE49-F238E27FC236}">
                <a16:creationId xmlns:a16="http://schemas.microsoft.com/office/drawing/2014/main" id="{52EDFD76-36EA-42E3-AA83-E0A0D36C460B}"/>
              </a:ext>
            </a:extLst>
          </p:cNvPr>
          <p:cNvSpPr/>
          <p:nvPr/>
        </p:nvSpPr>
        <p:spPr>
          <a:xfrm>
            <a:off x="5627118" y="3178133"/>
            <a:ext cx="698500" cy="1125220"/>
          </a:xfrm>
          <a:custGeom>
            <a:avLst/>
            <a:gdLst/>
            <a:ahLst/>
            <a:cxnLst/>
            <a:rect l="l" t="t" r="r" b="b"/>
            <a:pathLst>
              <a:path w="698500" h="1125220">
                <a:moveTo>
                  <a:pt x="349070" y="0"/>
                </a:moveTo>
                <a:lnTo>
                  <a:pt x="6602" y="593051"/>
                </a:lnTo>
                <a:lnTo>
                  <a:pt x="1651" y="605037"/>
                </a:lnTo>
                <a:lnTo>
                  <a:pt x="0" y="617689"/>
                </a:lnTo>
                <a:lnTo>
                  <a:pt x="1646" y="630342"/>
                </a:lnTo>
                <a:lnTo>
                  <a:pt x="36411" y="665259"/>
                </a:lnTo>
                <a:lnTo>
                  <a:pt x="49274" y="666965"/>
                </a:lnTo>
                <a:lnTo>
                  <a:pt x="269886" y="666965"/>
                </a:lnTo>
                <a:lnTo>
                  <a:pt x="269886" y="1045895"/>
                </a:lnTo>
                <a:lnTo>
                  <a:pt x="276105" y="1076696"/>
                </a:lnTo>
                <a:lnTo>
                  <a:pt x="293066" y="1101850"/>
                </a:lnTo>
                <a:lnTo>
                  <a:pt x="318224" y="1118810"/>
                </a:lnTo>
                <a:lnTo>
                  <a:pt x="349032" y="1125029"/>
                </a:lnTo>
                <a:lnTo>
                  <a:pt x="379840" y="1118810"/>
                </a:lnTo>
                <a:lnTo>
                  <a:pt x="404998" y="1101850"/>
                </a:lnTo>
                <a:lnTo>
                  <a:pt x="421959" y="1076696"/>
                </a:lnTo>
                <a:lnTo>
                  <a:pt x="428178" y="1045895"/>
                </a:lnTo>
                <a:lnTo>
                  <a:pt x="428178" y="666965"/>
                </a:lnTo>
                <a:lnTo>
                  <a:pt x="648803" y="666965"/>
                </a:lnTo>
                <a:lnTo>
                  <a:pt x="691462" y="642327"/>
                </a:lnTo>
                <a:lnTo>
                  <a:pt x="698072" y="617696"/>
                </a:lnTo>
                <a:lnTo>
                  <a:pt x="696420" y="605048"/>
                </a:lnTo>
                <a:lnTo>
                  <a:pt x="691462" y="593064"/>
                </a:lnTo>
                <a:lnTo>
                  <a:pt x="349070" y="0"/>
                </a:lnTo>
                <a:close/>
              </a:path>
            </a:pathLst>
          </a:custGeom>
          <a:solidFill>
            <a:srgbClr val="5CB9BB"/>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1" name="object 9">
            <a:extLst>
              <a:ext uri="{FF2B5EF4-FFF2-40B4-BE49-F238E27FC236}">
                <a16:creationId xmlns:a16="http://schemas.microsoft.com/office/drawing/2014/main" id="{04852CD6-11AE-4204-A09C-C04A44B3397A}"/>
              </a:ext>
            </a:extLst>
          </p:cNvPr>
          <p:cNvSpPr txBox="1"/>
          <p:nvPr/>
        </p:nvSpPr>
        <p:spPr>
          <a:xfrm>
            <a:off x="6435680" y="3631416"/>
            <a:ext cx="866775" cy="212879"/>
          </a:xfrm>
          <a:prstGeom prst="rect">
            <a:avLst/>
          </a:prstGeom>
        </p:spPr>
        <p:txBody>
          <a:bodyPr vert="horz" wrap="square" lIns="0" tIns="12700" rIns="0" bIns="0" rtlCol="0">
            <a:spAutoFit/>
          </a:bodyPr>
          <a:lstStyle/>
          <a:p>
            <a:pPr marL="12699">
              <a:spcBef>
                <a:spcPts val="100"/>
              </a:spcBef>
            </a:pPr>
            <a:r>
              <a:rPr sz="1300" spc="-10" dirty="0">
                <a:solidFill>
                  <a:srgbClr val="00325D"/>
                </a:solidFill>
                <a:latin typeface="Neue Frutiger World" panose="020B0603040304020203" pitchFamily="34" charset="0"/>
                <a:cs typeface="Neue Frutiger World" panose="020B0603040304020203" pitchFamily="34" charset="0"/>
              </a:rPr>
              <a:t>increase</a:t>
            </a:r>
            <a:r>
              <a:rPr sz="1300" spc="-35" dirty="0">
                <a:solidFill>
                  <a:srgbClr val="00325D"/>
                </a:solidFill>
                <a:latin typeface="Neue Frutiger World" panose="020B0603040304020203" pitchFamily="34" charset="0"/>
                <a:cs typeface="Neue Frutiger World" panose="020B0603040304020203" pitchFamily="34" charset="0"/>
              </a:rPr>
              <a:t> </a:t>
            </a:r>
            <a:r>
              <a:rPr sz="1300" spc="-10" dirty="0">
                <a:solidFill>
                  <a:srgbClr val="00325D"/>
                </a:solidFill>
                <a:latin typeface="Neue Frutiger World" panose="020B0603040304020203" pitchFamily="34" charset="0"/>
                <a:cs typeface="Neue Frutiger World" panose="020B0603040304020203" pitchFamily="34" charset="0"/>
              </a:rPr>
              <a:t>in</a:t>
            </a:r>
            <a:endParaRPr sz="1300" dirty="0">
              <a:latin typeface="Neue Frutiger World" panose="020B0603040304020203" pitchFamily="34" charset="0"/>
              <a:cs typeface="Neue Frutiger World" panose="020B0603040304020203" pitchFamily="34" charset="0"/>
            </a:endParaRPr>
          </a:p>
        </p:txBody>
      </p:sp>
      <p:sp>
        <p:nvSpPr>
          <p:cNvPr id="12" name="object 10">
            <a:extLst>
              <a:ext uri="{FF2B5EF4-FFF2-40B4-BE49-F238E27FC236}">
                <a16:creationId xmlns:a16="http://schemas.microsoft.com/office/drawing/2014/main" id="{599C750C-AF55-4A43-B542-B884FF1DD9D3}"/>
              </a:ext>
            </a:extLst>
          </p:cNvPr>
          <p:cNvSpPr txBox="1"/>
          <p:nvPr/>
        </p:nvSpPr>
        <p:spPr>
          <a:xfrm>
            <a:off x="5894082" y="3562832"/>
            <a:ext cx="2045335" cy="536044"/>
          </a:xfrm>
          <a:prstGeom prst="rect">
            <a:avLst/>
          </a:prstGeom>
        </p:spPr>
        <p:txBody>
          <a:bodyPr vert="horz" wrap="square" lIns="0" tIns="12700" rIns="0" bIns="0" rtlCol="0">
            <a:spAutoFit/>
          </a:bodyPr>
          <a:lstStyle/>
          <a:p>
            <a:pPr marL="38097">
              <a:spcBef>
                <a:spcPts val="100"/>
              </a:spcBef>
            </a:pPr>
            <a:r>
              <a:rPr sz="3400" b="1" spc="80" dirty="0">
                <a:solidFill>
                  <a:srgbClr val="00325D"/>
                </a:solidFill>
                <a:latin typeface="Neue Frutiger World" panose="020B0603040304020203" pitchFamily="34" charset="0"/>
                <a:cs typeface="Neue Frutiger World" panose="020B0603040304020203" pitchFamily="34" charset="0"/>
              </a:rPr>
              <a:t>7x</a:t>
            </a:r>
            <a:r>
              <a:rPr sz="3400" b="1" spc="-550" dirty="0">
                <a:solidFill>
                  <a:srgbClr val="00325D"/>
                </a:solidFill>
                <a:latin typeface="Neue Frutiger World" panose="020B0603040304020203" pitchFamily="34" charset="0"/>
                <a:cs typeface="Neue Frutiger World" panose="020B0603040304020203" pitchFamily="34" charset="0"/>
              </a:rPr>
              <a:t> </a:t>
            </a:r>
            <a:r>
              <a:rPr sz="1300" spc="5" dirty="0">
                <a:solidFill>
                  <a:srgbClr val="00325D"/>
                </a:solidFill>
                <a:latin typeface="Neue Frutiger World" panose="020B0603040304020203" pitchFamily="34" charset="0"/>
                <a:cs typeface="Neue Frutiger World" panose="020B0603040304020203" pitchFamily="34" charset="0"/>
              </a:rPr>
              <a:t>30-d</a:t>
            </a:r>
            <a:r>
              <a:rPr sz="1300" spc="-40" dirty="0">
                <a:solidFill>
                  <a:srgbClr val="00325D"/>
                </a:solidFill>
                <a:latin typeface="Neue Frutiger World" panose="020B0603040304020203" pitchFamily="34" charset="0"/>
                <a:cs typeface="Neue Frutiger World" panose="020B0603040304020203" pitchFamily="34" charset="0"/>
              </a:rPr>
              <a:t>a</a:t>
            </a:r>
            <a:r>
              <a:rPr sz="1300" spc="55" dirty="0">
                <a:solidFill>
                  <a:srgbClr val="00325D"/>
                </a:solidFill>
                <a:latin typeface="Neue Frutiger World" panose="020B0603040304020203" pitchFamily="34" charset="0"/>
                <a:cs typeface="Neue Frutiger World" panose="020B0603040304020203" pitchFamily="34" charset="0"/>
              </a:rPr>
              <a:t>y</a:t>
            </a:r>
            <a:r>
              <a:rPr sz="1300" spc="-30" dirty="0">
                <a:solidFill>
                  <a:srgbClr val="00325D"/>
                </a:solidFill>
                <a:latin typeface="Neue Frutiger World" panose="020B0603040304020203" pitchFamily="34" charset="0"/>
                <a:cs typeface="Neue Frutiger World" panose="020B0603040304020203" pitchFamily="34" charset="0"/>
              </a:rPr>
              <a:t> </a:t>
            </a:r>
            <a:r>
              <a:rPr sz="1300" spc="-5" dirty="0">
                <a:solidFill>
                  <a:srgbClr val="00325D"/>
                </a:solidFill>
                <a:latin typeface="Neue Frutiger World" panose="020B0603040304020203" pitchFamily="34" charset="0"/>
                <a:cs typeface="Neue Frutiger World" panose="020B0603040304020203" pitchFamily="34" charset="0"/>
              </a:rPr>
              <a:t>mo</a:t>
            </a:r>
            <a:r>
              <a:rPr sz="1300" dirty="0">
                <a:solidFill>
                  <a:srgbClr val="00325D"/>
                </a:solidFill>
                <a:latin typeface="Neue Frutiger World" panose="020B0603040304020203" pitchFamily="34" charset="0"/>
                <a:cs typeface="Neue Frutiger World" panose="020B0603040304020203" pitchFamily="34" charset="0"/>
              </a:rPr>
              <a:t>r</a:t>
            </a:r>
            <a:r>
              <a:rPr sz="1300" spc="-40" dirty="0">
                <a:solidFill>
                  <a:srgbClr val="00325D"/>
                </a:solidFill>
                <a:latin typeface="Neue Frutiger World" panose="020B0603040304020203" pitchFamily="34" charset="0"/>
                <a:cs typeface="Neue Frutiger World" panose="020B0603040304020203" pitchFamily="34" charset="0"/>
              </a:rPr>
              <a:t>t</a:t>
            </a:r>
            <a:r>
              <a:rPr sz="1300" spc="-15" dirty="0">
                <a:solidFill>
                  <a:srgbClr val="00325D"/>
                </a:solidFill>
                <a:latin typeface="Neue Frutiger World" panose="020B0603040304020203" pitchFamily="34" charset="0"/>
                <a:cs typeface="Neue Frutiger World" panose="020B0603040304020203" pitchFamily="34" charset="0"/>
              </a:rPr>
              <a:t>a</a:t>
            </a:r>
            <a:r>
              <a:rPr sz="1300" spc="-10" dirty="0">
                <a:solidFill>
                  <a:srgbClr val="00325D"/>
                </a:solidFill>
                <a:latin typeface="Neue Frutiger World" panose="020B0603040304020203" pitchFamily="34" charset="0"/>
                <a:cs typeface="Neue Frutiger World" panose="020B0603040304020203" pitchFamily="34" charset="0"/>
              </a:rPr>
              <a:t>l</a:t>
            </a:r>
            <a:r>
              <a:rPr sz="1300" dirty="0">
                <a:solidFill>
                  <a:srgbClr val="00325D"/>
                </a:solidFill>
                <a:latin typeface="Neue Frutiger World" panose="020B0603040304020203" pitchFamily="34" charset="0"/>
                <a:cs typeface="Neue Frutiger World" panose="020B0603040304020203" pitchFamily="34" charset="0"/>
              </a:rPr>
              <a:t>it</a:t>
            </a:r>
            <a:r>
              <a:rPr sz="1300" spc="-75" dirty="0">
                <a:solidFill>
                  <a:srgbClr val="00325D"/>
                </a:solidFill>
                <a:latin typeface="Neue Frutiger World" panose="020B0603040304020203" pitchFamily="34" charset="0"/>
                <a:cs typeface="Neue Frutiger World" panose="020B0603040304020203" pitchFamily="34" charset="0"/>
              </a:rPr>
              <a:t>y</a:t>
            </a:r>
            <a:r>
              <a:rPr sz="1300" spc="-45" dirty="0">
                <a:solidFill>
                  <a:srgbClr val="00325D"/>
                </a:solidFill>
                <a:latin typeface="Neue Frutiger World" panose="020B0603040304020203" pitchFamily="34" charset="0"/>
                <a:cs typeface="Neue Frutiger World" panose="020B0603040304020203" pitchFamily="34" charset="0"/>
              </a:rPr>
              <a:t>.</a:t>
            </a:r>
            <a:r>
              <a:rPr sz="1125" spc="7" baseline="33333" dirty="0">
                <a:solidFill>
                  <a:srgbClr val="00325D"/>
                </a:solidFill>
                <a:latin typeface="Neue Frutiger World" panose="020B0603040304020203" pitchFamily="34" charset="0"/>
                <a:cs typeface="Neue Frutiger World" panose="020B0603040304020203" pitchFamily="34" charset="0"/>
              </a:rPr>
              <a:t>10</a:t>
            </a:r>
            <a:endParaRPr sz="1125" baseline="33333" dirty="0">
              <a:latin typeface="Neue Frutiger World" panose="020B0603040304020203" pitchFamily="34" charset="0"/>
              <a:cs typeface="Neue Frutiger World" panose="020B0603040304020203" pitchFamily="34" charset="0"/>
            </a:endParaRPr>
          </a:p>
        </p:txBody>
      </p:sp>
      <p:sp>
        <p:nvSpPr>
          <p:cNvPr id="13" name="TextBox 12">
            <a:extLst>
              <a:ext uri="{FF2B5EF4-FFF2-40B4-BE49-F238E27FC236}">
                <a16:creationId xmlns:a16="http://schemas.microsoft.com/office/drawing/2014/main" id="{839F3E92-7705-417F-9C06-272331F97C04}"/>
              </a:ext>
            </a:extLst>
          </p:cNvPr>
          <p:cNvSpPr txBox="1"/>
          <p:nvPr/>
        </p:nvSpPr>
        <p:spPr>
          <a:xfrm>
            <a:off x="1413083" y="2238162"/>
            <a:ext cx="3844037" cy="2660024"/>
          </a:xfrm>
          <a:prstGeom prst="rect">
            <a:avLst/>
          </a:prstGeom>
          <a:noFill/>
        </p:spPr>
        <p:txBody>
          <a:bodyPr wrap="square" rtlCol="0">
            <a:spAutoFit/>
          </a:bodyPr>
          <a:lstStyle/>
          <a:p>
            <a:pPr marL="69209" marR="276837" indent="-44446">
              <a:lnSpc>
                <a:spcPct val="109400"/>
              </a:lnSpc>
              <a:spcBef>
                <a:spcPts val="204"/>
              </a:spcBef>
            </a:pPr>
            <a:r>
              <a:rPr lang="en-US" sz="1100" spc="10" dirty="0">
                <a:solidFill>
                  <a:srgbClr val="0077CD"/>
                </a:solidFill>
                <a:latin typeface="Neue Frutiger World" panose="020B0603040304020203" pitchFamily="34" charset="0"/>
                <a:cs typeface="Neue Frutiger World" panose="020B0603040304020203" pitchFamily="34" charset="0"/>
              </a:rPr>
              <a:t>"Case 3 [of 3 different patients presented] included an image of device erosion in a clinically stable afebrile patient. Guideline directed management would be a full system extraction…</a:t>
            </a:r>
          </a:p>
          <a:p>
            <a:pPr marL="69209" marR="276837" indent="-44446">
              <a:lnSpc>
                <a:spcPct val="109400"/>
              </a:lnSpc>
              <a:spcBef>
                <a:spcPts val="204"/>
              </a:spcBef>
            </a:pPr>
            <a:r>
              <a:rPr lang="en-US" sz="1100" spc="10" dirty="0">
                <a:solidFill>
                  <a:srgbClr val="0077CD"/>
                </a:solidFill>
                <a:latin typeface="Neue Frutiger World" panose="020B0603040304020203" pitchFamily="34" charset="0"/>
                <a:cs typeface="Neue Frutiger World" panose="020B0603040304020203" pitchFamily="34" charset="0"/>
              </a:rPr>
              <a:t>		…There was a divergence in the responses here with the majority of extractors and cardiologists opting for complete system extraction (95% and 85%, respectively). There were a significantly higher number of extractors offering extraction in this setting then non-extractors (P&lt; 0.05) but still 15% of non-extracting cardiologists would offer either revision or partial removal (generator only).”</a:t>
            </a:r>
            <a:r>
              <a:rPr lang="en-US" sz="1100" spc="10" baseline="30000" dirty="0">
                <a:solidFill>
                  <a:srgbClr val="0077CD"/>
                </a:solidFill>
                <a:latin typeface="Neue Frutiger World" panose="020B0603040304020203" pitchFamily="34" charset="0"/>
                <a:cs typeface="Neue Frutiger World" panose="020B0603040304020203" pitchFamily="34" charset="0"/>
              </a:rPr>
              <a:t>16</a:t>
            </a:r>
            <a:endParaRPr lang="en-US" sz="1100" spc="10" dirty="0">
              <a:solidFill>
                <a:srgbClr val="0077CD"/>
              </a:solidFill>
              <a:latin typeface="Neue Frutiger World" panose="020B0603040304020203" pitchFamily="34" charset="0"/>
              <a:cs typeface="Neue Frutiger World" panose="020B0603040304020203" pitchFamily="34" charset="0"/>
            </a:endParaRPr>
          </a:p>
          <a:p>
            <a:pPr marL="69209" marR="276837" indent="-44446">
              <a:lnSpc>
                <a:spcPct val="109400"/>
              </a:lnSpc>
              <a:spcBef>
                <a:spcPts val="204"/>
              </a:spcBef>
            </a:pPr>
            <a:r>
              <a:rPr lang="en-US" sz="700" spc="10" dirty="0">
                <a:solidFill>
                  <a:srgbClr val="0077CD"/>
                </a:solidFill>
                <a:latin typeface="Neue Frutiger World" panose="020B0603040304020203" pitchFamily="34" charset="0"/>
                <a:cs typeface="Neue Frutiger World" panose="020B0603040304020203" pitchFamily="34" charset="0"/>
              </a:rPr>
              <a:t>		</a:t>
            </a:r>
            <a:endParaRPr lang="en-GB" sz="1600" dirty="0">
              <a:latin typeface="Neue Frutiger World" panose="020B0603040304020203" pitchFamily="34" charset="0"/>
              <a:cs typeface="Neue Frutiger World" panose="020B0603040304020203" pitchFamily="34" charset="0"/>
            </a:endParaRPr>
          </a:p>
        </p:txBody>
      </p:sp>
      <p:sp>
        <p:nvSpPr>
          <p:cNvPr id="14" name="TextBox 13">
            <a:extLst>
              <a:ext uri="{FF2B5EF4-FFF2-40B4-BE49-F238E27FC236}">
                <a16:creationId xmlns:a16="http://schemas.microsoft.com/office/drawing/2014/main" id="{B50CE75A-F170-4063-8B01-93A85537E97E}"/>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2" action="ppaction://hlinksldjump"/>
            <a:extLst>
              <a:ext uri="{FF2B5EF4-FFF2-40B4-BE49-F238E27FC236}">
                <a16:creationId xmlns:a16="http://schemas.microsoft.com/office/drawing/2014/main" id="{FBC630DF-64EF-4E51-A457-AAC727C4AEE7}"/>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3" action="ppaction://hlinksldjump"/>
            <a:extLst>
              <a:ext uri="{FF2B5EF4-FFF2-40B4-BE49-F238E27FC236}">
                <a16:creationId xmlns:a16="http://schemas.microsoft.com/office/drawing/2014/main" id="{ED677D65-4BB3-4F1A-BE5A-B9A0DB721C8B}"/>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4" action="ppaction://hlinksldjump"/>
            <a:extLst>
              <a:ext uri="{FF2B5EF4-FFF2-40B4-BE49-F238E27FC236}">
                <a16:creationId xmlns:a16="http://schemas.microsoft.com/office/drawing/2014/main" id="{E7385005-07EA-412E-ABB2-27333BCBB8C8}"/>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5" action="ppaction://hlinksldjump"/>
            <a:extLst>
              <a:ext uri="{FF2B5EF4-FFF2-40B4-BE49-F238E27FC236}">
                <a16:creationId xmlns:a16="http://schemas.microsoft.com/office/drawing/2014/main" id="{9F78FC05-295D-485E-A1F5-EAFDEF87990C}"/>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6" action="ppaction://hlinksldjump"/>
            <a:extLst>
              <a:ext uri="{FF2B5EF4-FFF2-40B4-BE49-F238E27FC236}">
                <a16:creationId xmlns:a16="http://schemas.microsoft.com/office/drawing/2014/main" id="{713EA00C-5A5F-4839-9569-032AAEAFB308}"/>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7" action="ppaction://hlinksldjump"/>
            <a:extLst>
              <a:ext uri="{FF2B5EF4-FFF2-40B4-BE49-F238E27FC236}">
                <a16:creationId xmlns:a16="http://schemas.microsoft.com/office/drawing/2014/main" id="{52180259-3E79-4E60-A5EE-29C45A608F5F}"/>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8" action="ppaction://hlinksldjump"/>
            <a:extLst>
              <a:ext uri="{FF2B5EF4-FFF2-40B4-BE49-F238E27FC236}">
                <a16:creationId xmlns:a16="http://schemas.microsoft.com/office/drawing/2014/main" id="{4A6D7CB7-41DC-43D9-B91C-E603435DEBAC}"/>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9" action="ppaction://hlinksldjump"/>
            <a:extLst>
              <a:ext uri="{FF2B5EF4-FFF2-40B4-BE49-F238E27FC236}">
                <a16:creationId xmlns:a16="http://schemas.microsoft.com/office/drawing/2014/main" id="{50F2D1F1-238D-454B-8CAE-1629434D6138}"/>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extLst>
              <a:ext uri="{FF2B5EF4-FFF2-40B4-BE49-F238E27FC236}">
                <a16:creationId xmlns:a16="http://schemas.microsoft.com/office/drawing/2014/main" id="{29160048-EB53-49BF-82EA-9FBD14D45F15}"/>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0" action="ppaction://hlinksldjump"/>
            <a:extLst>
              <a:ext uri="{FF2B5EF4-FFF2-40B4-BE49-F238E27FC236}">
                <a16:creationId xmlns:a16="http://schemas.microsoft.com/office/drawing/2014/main" id="{59164A10-020D-4542-BCBA-DA167E438C82}"/>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1" action="ppaction://hlinksldjump"/>
            <a:extLst>
              <a:ext uri="{FF2B5EF4-FFF2-40B4-BE49-F238E27FC236}">
                <a16:creationId xmlns:a16="http://schemas.microsoft.com/office/drawing/2014/main" id="{1A1BD27F-B1DC-46F5-AC37-804B829E2733}"/>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2" action="ppaction://hlinksldjump"/>
            <a:extLst>
              <a:ext uri="{FF2B5EF4-FFF2-40B4-BE49-F238E27FC236}">
                <a16:creationId xmlns:a16="http://schemas.microsoft.com/office/drawing/2014/main" id="{54F3BE5A-8FB6-4C3D-9B73-54E4C06759A7}"/>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3" action="ppaction://hlinksldjump"/>
            <a:extLst>
              <a:ext uri="{FF2B5EF4-FFF2-40B4-BE49-F238E27FC236}">
                <a16:creationId xmlns:a16="http://schemas.microsoft.com/office/drawing/2014/main" id="{671D34E2-1128-4A1E-9C04-B547EFBD27B6}"/>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4" action="ppaction://hlinksldjump"/>
            <a:extLst>
              <a:ext uri="{FF2B5EF4-FFF2-40B4-BE49-F238E27FC236}">
                <a16:creationId xmlns:a16="http://schemas.microsoft.com/office/drawing/2014/main" id="{0490CB67-5E5D-4560-9E01-86585A7BA405}"/>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15" action="ppaction://hlinksldjump"/>
            <a:extLst>
              <a:ext uri="{FF2B5EF4-FFF2-40B4-BE49-F238E27FC236}">
                <a16:creationId xmlns:a16="http://schemas.microsoft.com/office/drawing/2014/main" id="{9098FD0C-D878-4EB4-B54C-975BB22AC03B}"/>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16" action="ppaction://hlinksldjump"/>
            <a:extLst>
              <a:ext uri="{FF2B5EF4-FFF2-40B4-BE49-F238E27FC236}">
                <a16:creationId xmlns:a16="http://schemas.microsoft.com/office/drawing/2014/main" id="{F681F442-4428-4442-AA69-DB2325F2CC4F}"/>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17" action="ppaction://hlinksldjump"/>
            <a:extLst>
              <a:ext uri="{FF2B5EF4-FFF2-40B4-BE49-F238E27FC236}">
                <a16:creationId xmlns:a16="http://schemas.microsoft.com/office/drawing/2014/main" id="{3FB79A38-68AC-4857-AFE5-A657B540476A}"/>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18" action="ppaction://hlinksldjump"/>
            <a:extLst>
              <a:ext uri="{FF2B5EF4-FFF2-40B4-BE49-F238E27FC236}">
                <a16:creationId xmlns:a16="http://schemas.microsoft.com/office/drawing/2014/main" id="{CE8FED6F-39E9-4282-BB40-0C81903CDD4F}"/>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19" action="ppaction://hlinksldjump"/>
            <a:extLst>
              <a:ext uri="{FF2B5EF4-FFF2-40B4-BE49-F238E27FC236}">
                <a16:creationId xmlns:a16="http://schemas.microsoft.com/office/drawing/2014/main" id="{3385DB02-AA16-4467-8FFE-D199D9434184}"/>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0" action="ppaction://hlinksldjump"/>
            <a:extLst>
              <a:ext uri="{FF2B5EF4-FFF2-40B4-BE49-F238E27FC236}">
                <a16:creationId xmlns:a16="http://schemas.microsoft.com/office/drawing/2014/main" id="{D1B1B6BE-C30B-4961-AF5A-2B14E6CE8E7F}"/>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21" action="ppaction://hlinksldjump"/>
            <a:extLst>
              <a:ext uri="{FF2B5EF4-FFF2-40B4-BE49-F238E27FC236}">
                <a16:creationId xmlns:a16="http://schemas.microsoft.com/office/drawing/2014/main" id="{9290BF69-EE36-4F9C-86DD-366ED8EB4BD0}"/>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22" action="ppaction://hlinksldjump"/>
            <a:extLst>
              <a:ext uri="{FF2B5EF4-FFF2-40B4-BE49-F238E27FC236}">
                <a16:creationId xmlns:a16="http://schemas.microsoft.com/office/drawing/2014/main" id="{ECCD2851-FC57-490E-81F2-DFDD1888605C}"/>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extLst>
              <a:ext uri="{FF2B5EF4-FFF2-40B4-BE49-F238E27FC236}">
                <a16:creationId xmlns:a16="http://schemas.microsoft.com/office/drawing/2014/main" id="{4F5EA239-35CC-4622-AC6E-73295C01651D}"/>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23" action="ppaction://hlinksldjump"/>
            <a:extLst>
              <a:ext uri="{FF2B5EF4-FFF2-40B4-BE49-F238E27FC236}">
                <a16:creationId xmlns:a16="http://schemas.microsoft.com/office/drawing/2014/main" id="{259D097F-9ECD-48B4-BBC9-4B212232A6A2}"/>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24" action="ppaction://hlinksldjump"/>
            <a:extLst>
              <a:ext uri="{FF2B5EF4-FFF2-40B4-BE49-F238E27FC236}">
                <a16:creationId xmlns:a16="http://schemas.microsoft.com/office/drawing/2014/main" id="{3B21B4C5-2479-493F-949C-88AF41111550}"/>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25" action="ppaction://hlinksldjump"/>
            <a:extLst>
              <a:ext uri="{FF2B5EF4-FFF2-40B4-BE49-F238E27FC236}">
                <a16:creationId xmlns:a16="http://schemas.microsoft.com/office/drawing/2014/main" id="{AF045928-FBEF-47ED-869E-2ED4D5B3646A}"/>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extLst>
              <a:ext uri="{FF2B5EF4-FFF2-40B4-BE49-F238E27FC236}">
                <a16:creationId xmlns:a16="http://schemas.microsoft.com/office/drawing/2014/main" id="{7902EDD0-2FC0-414C-889A-6A6F7E35922B}"/>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42" name="Table 41">
            <a:extLst>
              <a:ext uri="{FF2B5EF4-FFF2-40B4-BE49-F238E27FC236}">
                <a16:creationId xmlns:a16="http://schemas.microsoft.com/office/drawing/2014/main" id="{AD3BB45B-85D5-4F04-BB78-E9A2E46F12B7}"/>
              </a:ext>
            </a:extLst>
          </p:cNvPr>
          <p:cNvGraphicFramePr>
            <a:graphicFrameLocks noGrp="1"/>
          </p:cNvGraphicFramePr>
          <p:nvPr>
            <p:extLst>
              <p:ext uri="{D42A27DB-BD31-4B8C-83A1-F6EECF244321}">
                <p14:modId xmlns:p14="http://schemas.microsoft.com/office/powerpoint/2010/main" val="2157876484"/>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43" name="Rectangle 42">
            <a:hlinkClick r:id="rId2" action="ppaction://hlinksldjump"/>
            <a:extLst>
              <a:ext uri="{FF2B5EF4-FFF2-40B4-BE49-F238E27FC236}">
                <a16:creationId xmlns:a16="http://schemas.microsoft.com/office/drawing/2014/main" id="{17B563AE-54FA-4D04-BAA4-A46D1E50BCA4}"/>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3" action="ppaction://hlinksldjump"/>
            <a:extLst>
              <a:ext uri="{FF2B5EF4-FFF2-40B4-BE49-F238E27FC236}">
                <a16:creationId xmlns:a16="http://schemas.microsoft.com/office/drawing/2014/main" id="{3E9C0EF2-5BF4-4D30-96B4-53B6649C0A0B}"/>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4" action="ppaction://hlinksldjump"/>
            <a:extLst>
              <a:ext uri="{FF2B5EF4-FFF2-40B4-BE49-F238E27FC236}">
                <a16:creationId xmlns:a16="http://schemas.microsoft.com/office/drawing/2014/main" id="{38285E70-DBF5-4CBF-931F-C4F7A27A8825}"/>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5" action="ppaction://hlinksldjump"/>
            <a:extLst>
              <a:ext uri="{FF2B5EF4-FFF2-40B4-BE49-F238E27FC236}">
                <a16:creationId xmlns:a16="http://schemas.microsoft.com/office/drawing/2014/main" id="{F271CB75-9E92-4DC6-AA08-FDE78B3C0D34}"/>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6" action="ppaction://hlinksldjump"/>
            <a:extLst>
              <a:ext uri="{FF2B5EF4-FFF2-40B4-BE49-F238E27FC236}">
                <a16:creationId xmlns:a16="http://schemas.microsoft.com/office/drawing/2014/main" id="{B797CF7C-7C28-484C-99D7-8F8788F45236}"/>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7" action="ppaction://hlinksldjump"/>
            <a:extLst>
              <a:ext uri="{FF2B5EF4-FFF2-40B4-BE49-F238E27FC236}">
                <a16:creationId xmlns:a16="http://schemas.microsoft.com/office/drawing/2014/main" id="{46EA1161-0AEE-4485-9AD7-FA591830593B}"/>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8" action="ppaction://hlinksldjump"/>
            <a:extLst>
              <a:ext uri="{FF2B5EF4-FFF2-40B4-BE49-F238E27FC236}">
                <a16:creationId xmlns:a16="http://schemas.microsoft.com/office/drawing/2014/main" id="{9871F179-564B-4B4F-B582-1CAC22FBB6CA}"/>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9" action="ppaction://hlinksldjump"/>
            <a:extLst>
              <a:ext uri="{FF2B5EF4-FFF2-40B4-BE49-F238E27FC236}">
                <a16:creationId xmlns:a16="http://schemas.microsoft.com/office/drawing/2014/main" id="{4DB5CA60-651C-47A6-B319-E9C5553D8CCA}"/>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extLst>
              <a:ext uri="{FF2B5EF4-FFF2-40B4-BE49-F238E27FC236}">
                <a16:creationId xmlns:a16="http://schemas.microsoft.com/office/drawing/2014/main" id="{1D331D24-323C-48B7-85B9-1150181E473A}"/>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0" action="ppaction://hlinksldjump"/>
            <a:extLst>
              <a:ext uri="{FF2B5EF4-FFF2-40B4-BE49-F238E27FC236}">
                <a16:creationId xmlns:a16="http://schemas.microsoft.com/office/drawing/2014/main" id="{F853799C-F75D-473B-8746-3C1B71BCC73B}"/>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1" action="ppaction://hlinksldjump"/>
            <a:extLst>
              <a:ext uri="{FF2B5EF4-FFF2-40B4-BE49-F238E27FC236}">
                <a16:creationId xmlns:a16="http://schemas.microsoft.com/office/drawing/2014/main" id="{D043680A-B352-44D6-8095-26623BE2567D}"/>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2" action="ppaction://hlinksldjump"/>
            <a:extLst>
              <a:ext uri="{FF2B5EF4-FFF2-40B4-BE49-F238E27FC236}">
                <a16:creationId xmlns:a16="http://schemas.microsoft.com/office/drawing/2014/main" id="{DB2FE1C8-2760-4156-8EBD-66285A0A23B8}"/>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3" action="ppaction://hlinksldjump"/>
            <a:extLst>
              <a:ext uri="{FF2B5EF4-FFF2-40B4-BE49-F238E27FC236}">
                <a16:creationId xmlns:a16="http://schemas.microsoft.com/office/drawing/2014/main" id="{6CE00203-5830-4E83-B020-F9DD963ACFB1}"/>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4" action="ppaction://hlinksldjump"/>
            <a:extLst>
              <a:ext uri="{FF2B5EF4-FFF2-40B4-BE49-F238E27FC236}">
                <a16:creationId xmlns:a16="http://schemas.microsoft.com/office/drawing/2014/main" id="{8B3F9D62-1794-4BE2-9977-926DD3F9DFDC}"/>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5" action="ppaction://hlinksldjump"/>
            <a:extLst>
              <a:ext uri="{FF2B5EF4-FFF2-40B4-BE49-F238E27FC236}">
                <a16:creationId xmlns:a16="http://schemas.microsoft.com/office/drawing/2014/main" id="{B920D9E7-BD4B-49F4-81C2-4BE1686F74C7}"/>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16" action="ppaction://hlinksldjump"/>
            <a:extLst>
              <a:ext uri="{FF2B5EF4-FFF2-40B4-BE49-F238E27FC236}">
                <a16:creationId xmlns:a16="http://schemas.microsoft.com/office/drawing/2014/main" id="{C203688C-44BF-4FAF-8097-361CCB8884D3}"/>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17" action="ppaction://hlinksldjump"/>
            <a:extLst>
              <a:ext uri="{FF2B5EF4-FFF2-40B4-BE49-F238E27FC236}">
                <a16:creationId xmlns:a16="http://schemas.microsoft.com/office/drawing/2014/main" id="{86994603-8C4E-4B6F-B887-B73DD84FF00B}"/>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18" action="ppaction://hlinksldjump"/>
            <a:extLst>
              <a:ext uri="{FF2B5EF4-FFF2-40B4-BE49-F238E27FC236}">
                <a16:creationId xmlns:a16="http://schemas.microsoft.com/office/drawing/2014/main" id="{FECAD2D8-187C-4E28-9A32-F3252CD8FF5C}"/>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19" action="ppaction://hlinksldjump"/>
            <a:extLst>
              <a:ext uri="{FF2B5EF4-FFF2-40B4-BE49-F238E27FC236}">
                <a16:creationId xmlns:a16="http://schemas.microsoft.com/office/drawing/2014/main" id="{BB106B2E-2528-4A3B-B570-54E64E5EA693}"/>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0" action="ppaction://hlinksldjump"/>
            <a:extLst>
              <a:ext uri="{FF2B5EF4-FFF2-40B4-BE49-F238E27FC236}">
                <a16:creationId xmlns:a16="http://schemas.microsoft.com/office/drawing/2014/main" id="{47FB6B32-3FC1-49DC-90DF-DB72D2339A5B}"/>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21" action="ppaction://hlinksldjump"/>
            <a:extLst>
              <a:ext uri="{FF2B5EF4-FFF2-40B4-BE49-F238E27FC236}">
                <a16:creationId xmlns:a16="http://schemas.microsoft.com/office/drawing/2014/main" id="{EC17E2EF-A0D8-48CA-A50D-5791BC2865B6}"/>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22" action="ppaction://hlinksldjump"/>
            <a:extLst>
              <a:ext uri="{FF2B5EF4-FFF2-40B4-BE49-F238E27FC236}">
                <a16:creationId xmlns:a16="http://schemas.microsoft.com/office/drawing/2014/main" id="{40A736DB-2602-4A90-8C2E-D426DD09E1B1}"/>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extLst>
              <a:ext uri="{FF2B5EF4-FFF2-40B4-BE49-F238E27FC236}">
                <a16:creationId xmlns:a16="http://schemas.microsoft.com/office/drawing/2014/main" id="{676FD340-017C-4DED-9897-C75C2D984E39}"/>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23" action="ppaction://hlinksldjump"/>
            <a:extLst>
              <a:ext uri="{FF2B5EF4-FFF2-40B4-BE49-F238E27FC236}">
                <a16:creationId xmlns:a16="http://schemas.microsoft.com/office/drawing/2014/main" id="{42B4CB29-5FBC-49E1-93BB-2B5B8523741E}"/>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24" action="ppaction://hlinksldjump"/>
            <a:extLst>
              <a:ext uri="{FF2B5EF4-FFF2-40B4-BE49-F238E27FC236}">
                <a16:creationId xmlns:a16="http://schemas.microsoft.com/office/drawing/2014/main" id="{A86FE6F5-4CDC-48ED-9B7E-ADF70DE6293F}"/>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8" name="Rectangle 67">
            <a:hlinkClick r:id="rId25" action="ppaction://hlinksldjump"/>
            <a:extLst>
              <a:ext uri="{FF2B5EF4-FFF2-40B4-BE49-F238E27FC236}">
                <a16:creationId xmlns:a16="http://schemas.microsoft.com/office/drawing/2014/main" id="{9F5BA443-ACC4-4285-9EBA-83967AA8F7E3}"/>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121305278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5B0B85-E8EE-4EA8-A1CF-1D08CABDDF9F}"/>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Lead</a:t>
            </a:r>
            <a:r>
              <a:rPr lang="en-GB" spc="35" noProof="0" dirty="0">
                <a:latin typeface="Neue Frutiger World" panose="020B0603040304020203" pitchFamily="34" charset="0"/>
                <a:cs typeface="Neue Frutiger World" panose="020B0603040304020203" pitchFamily="34" charset="0"/>
              </a:rPr>
              <a:t> </a:t>
            </a:r>
            <a:r>
              <a:rPr lang="en-GB" spc="-15" noProof="0" dirty="0">
                <a:latin typeface="Neue Frutiger World" panose="020B0603040304020203" pitchFamily="34" charset="0"/>
                <a:cs typeface="Neue Frutiger World" panose="020B0603040304020203" pitchFamily="34" charset="0"/>
              </a:rPr>
              <a:t>involvement</a:t>
            </a:r>
            <a:r>
              <a:rPr lang="en-GB" spc="40" noProof="0" dirty="0">
                <a:latin typeface="Neue Frutiger World" panose="020B0603040304020203" pitchFamily="34" charset="0"/>
                <a:cs typeface="Neue Frutiger World" panose="020B0603040304020203" pitchFamily="34" charset="0"/>
              </a:rPr>
              <a:t> </a:t>
            </a:r>
            <a:r>
              <a:rPr lang="en-GB" spc="229" noProof="0" dirty="0">
                <a:latin typeface="Neue Frutiger World" panose="020B0603040304020203" pitchFamily="34" charset="0"/>
                <a:cs typeface="Neue Frutiger World" panose="020B0603040304020203" pitchFamily="34" charset="0"/>
              </a:rPr>
              <a:t>–</a:t>
            </a:r>
            <a:r>
              <a:rPr lang="en-GB" spc="40" noProof="0" dirty="0">
                <a:latin typeface="Neue Frutiger World" panose="020B0603040304020203" pitchFamily="34" charset="0"/>
                <a:cs typeface="Neue Frutiger World" panose="020B0603040304020203" pitchFamily="34" charset="0"/>
              </a:rPr>
              <a:t> </a:t>
            </a:r>
            <a:r>
              <a:rPr lang="en-GB" spc="-10" noProof="0" dirty="0">
                <a:latin typeface="Neue Frutiger World" panose="020B0603040304020203" pitchFamily="34" charset="0"/>
                <a:cs typeface="Neue Frutiger World" panose="020B0603040304020203" pitchFamily="34" charset="0"/>
              </a:rPr>
              <a:t>conversation</a:t>
            </a:r>
            <a:r>
              <a:rPr lang="en-GB" spc="40" noProof="0" dirty="0">
                <a:latin typeface="Neue Frutiger World" panose="020B0603040304020203" pitchFamily="34" charset="0"/>
                <a:cs typeface="Neue Frutiger World" panose="020B0603040304020203" pitchFamily="34" charset="0"/>
              </a:rPr>
              <a:t> </a:t>
            </a:r>
            <a:r>
              <a:rPr lang="en-GB" spc="-15" noProof="0" dirty="0">
                <a:latin typeface="Neue Frutiger World" panose="020B0603040304020203" pitchFamily="34" charset="0"/>
                <a:cs typeface="Neue Frutiger World" panose="020B0603040304020203" pitchFamily="34" charset="0"/>
              </a:rPr>
              <a:t>starter</a:t>
            </a:r>
            <a:r>
              <a:rPr lang="en-GB" noProof="0" dirty="0">
                <a:latin typeface="Neue Frutiger World" panose="020B0603040304020203" pitchFamily="34" charset="0"/>
                <a:cs typeface="Neue Frutiger World" panose="020B0603040304020203" pitchFamily="34" charset="0"/>
              </a:rPr>
              <a:t> </a:t>
            </a:r>
            <a:r>
              <a:rPr lang="en-GB" spc="-20" noProof="0" dirty="0">
                <a:latin typeface="Neue Frutiger World" panose="020B0603040304020203" pitchFamily="34" charset="0"/>
                <a:cs typeface="Neue Frutiger World" panose="020B0603040304020203" pitchFamily="34" charset="0"/>
              </a:rPr>
              <a:t>5</a:t>
            </a:r>
            <a:endParaRPr lang="en-GB" noProof="0" dirty="0">
              <a:latin typeface="Neue Frutiger World" panose="020B0603040304020203" pitchFamily="34" charset="0"/>
              <a:cs typeface="Neue Frutiger World" panose="020B0603040304020203" pitchFamily="34" charset="0"/>
            </a:endParaRPr>
          </a:p>
        </p:txBody>
      </p:sp>
      <p:sp>
        <p:nvSpPr>
          <p:cNvPr id="3" name="Footer Placeholder 2">
            <a:extLst>
              <a:ext uri="{FF2B5EF4-FFF2-40B4-BE49-F238E27FC236}">
                <a16:creationId xmlns:a16="http://schemas.microsoft.com/office/drawing/2014/main" id="{74BC0BAA-5CBB-4E79-8508-DA65323D793D}"/>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FE4C38B5-BA6C-4444-9E97-3C8676DB393B}"/>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16</a:t>
            </a:fld>
            <a:endParaRPr lang="en-US" noProof="0" dirty="0">
              <a:latin typeface="Neue Frutiger World" panose="020B0603040304020203" pitchFamily="34" charset="0"/>
              <a:cs typeface="Neue Frutiger World" panose="020B0603040304020203" pitchFamily="34" charset="0"/>
            </a:endParaRPr>
          </a:p>
        </p:txBody>
      </p:sp>
      <p:sp>
        <p:nvSpPr>
          <p:cNvPr id="6" name="object 4">
            <a:extLst>
              <a:ext uri="{FF2B5EF4-FFF2-40B4-BE49-F238E27FC236}">
                <a16:creationId xmlns:a16="http://schemas.microsoft.com/office/drawing/2014/main" id="{00F3A074-D9EC-4122-A289-52D38B1268E9}"/>
              </a:ext>
            </a:extLst>
          </p:cNvPr>
          <p:cNvSpPr txBox="1"/>
          <p:nvPr/>
        </p:nvSpPr>
        <p:spPr>
          <a:xfrm>
            <a:off x="1583137" y="771550"/>
            <a:ext cx="4401820" cy="468077"/>
          </a:xfrm>
          <a:prstGeom prst="rect">
            <a:avLst/>
          </a:prstGeom>
        </p:spPr>
        <p:txBody>
          <a:bodyPr vert="horz" wrap="square" lIns="0" tIns="92710" rIns="0" bIns="0" rtlCol="0">
            <a:spAutoFit/>
          </a:bodyPr>
          <a:lstStyle/>
          <a:p>
            <a:pPr marL="12699">
              <a:spcBef>
                <a:spcPts val="730"/>
              </a:spcBef>
            </a:pPr>
            <a:r>
              <a:rPr sz="1300" b="1" dirty="0">
                <a:solidFill>
                  <a:srgbClr val="231F20"/>
                </a:solidFill>
                <a:latin typeface="Neue Frutiger World" panose="020B0603040304020203" pitchFamily="34" charset="0"/>
                <a:cs typeface="Neue Frutiger World" panose="020B0603040304020203" pitchFamily="34" charset="0"/>
              </a:rPr>
              <a:t>Open ended</a:t>
            </a:r>
            <a:r>
              <a:rPr sz="1300" b="1" spc="5"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question:</a:t>
            </a:r>
            <a:endParaRPr sz="1300" dirty="0">
              <a:latin typeface="Neue Frutiger World" panose="020B0603040304020203" pitchFamily="34" charset="0"/>
              <a:cs typeface="Neue Frutiger World" panose="020B0603040304020203" pitchFamily="34" charset="0"/>
            </a:endParaRPr>
          </a:p>
          <a:p>
            <a:pPr marL="12699">
              <a:spcBef>
                <a:spcPts val="390"/>
              </a:spcBef>
            </a:pPr>
            <a:r>
              <a:rPr sz="800" spc="-5" dirty="0">
                <a:solidFill>
                  <a:srgbClr val="231F20"/>
                </a:solidFill>
                <a:latin typeface="Neue Frutiger World" panose="020B0603040304020203" pitchFamily="34" charset="0"/>
                <a:cs typeface="Neue Frutiger World" panose="020B0603040304020203" pitchFamily="34" charset="0"/>
              </a:rPr>
              <a:t>How</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often</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o</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ink</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ad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lso</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ed </a:t>
            </a:r>
            <a:r>
              <a:rPr sz="800" dirty="0">
                <a:solidFill>
                  <a:srgbClr val="231F20"/>
                </a:solidFill>
                <a:latin typeface="Neue Frutiger World" panose="020B0603040304020203" pitchFamily="34" charset="0"/>
                <a:cs typeface="Neue Frutiger World" panose="020B0603040304020203" pitchFamily="34" charset="0"/>
              </a:rPr>
              <a:t>when</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ncounter </a:t>
            </a:r>
            <a:r>
              <a:rPr sz="800" spc="-5" dirty="0">
                <a:solidFill>
                  <a:srgbClr val="231F20"/>
                </a:solidFill>
                <a:latin typeface="Neue Frutiger World" panose="020B0603040304020203" pitchFamily="34" charset="0"/>
                <a:cs typeface="Neue Frutiger World" panose="020B0603040304020203" pitchFamily="34" charset="0"/>
              </a:rPr>
              <a:t>a</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fection?</a:t>
            </a:r>
            <a:endParaRPr sz="800" dirty="0">
              <a:latin typeface="Neue Frutiger World" panose="020B0603040304020203" pitchFamily="34" charset="0"/>
              <a:cs typeface="Neue Frutiger World" panose="020B0603040304020203" pitchFamily="34" charset="0"/>
            </a:endParaRPr>
          </a:p>
        </p:txBody>
      </p:sp>
      <p:sp>
        <p:nvSpPr>
          <p:cNvPr id="7" name="object 5">
            <a:extLst>
              <a:ext uri="{FF2B5EF4-FFF2-40B4-BE49-F238E27FC236}">
                <a16:creationId xmlns:a16="http://schemas.microsoft.com/office/drawing/2014/main" id="{8B8CAACA-9FA8-401F-B9B5-262990ECD2ED}"/>
              </a:ext>
            </a:extLst>
          </p:cNvPr>
          <p:cNvSpPr txBox="1"/>
          <p:nvPr/>
        </p:nvSpPr>
        <p:spPr>
          <a:xfrm>
            <a:off x="1545040" y="1439570"/>
            <a:ext cx="4401821" cy="2484270"/>
          </a:xfrm>
          <a:prstGeom prst="rect">
            <a:avLst/>
          </a:prstGeom>
        </p:spPr>
        <p:txBody>
          <a:bodyPr vert="horz" wrap="square" lIns="0" tIns="92710" rIns="0" bIns="0" rtlCol="0">
            <a:spAutoFit/>
          </a:bodyPr>
          <a:lstStyle/>
          <a:p>
            <a:pPr marL="50796">
              <a:spcBef>
                <a:spcPts val="730"/>
              </a:spcBef>
            </a:pPr>
            <a:r>
              <a:rPr sz="1300" b="1" spc="-15" dirty="0">
                <a:solidFill>
                  <a:srgbClr val="231F20"/>
                </a:solidFill>
                <a:latin typeface="Neue Frutiger World" panose="020B0603040304020203" pitchFamily="34" charset="0"/>
                <a:cs typeface="Neue Frutiger World" panose="020B0603040304020203" pitchFamily="34" charset="0"/>
              </a:rPr>
              <a:t>Potential</a:t>
            </a:r>
            <a:r>
              <a:rPr sz="1300" b="1" spc="25" dirty="0">
                <a:solidFill>
                  <a:srgbClr val="231F20"/>
                </a:solidFill>
                <a:latin typeface="Neue Frutiger World" panose="020B0603040304020203" pitchFamily="34" charset="0"/>
                <a:cs typeface="Neue Frutiger World" panose="020B0603040304020203" pitchFamily="34" charset="0"/>
              </a:rPr>
              <a:t> </a:t>
            </a:r>
            <a:r>
              <a:rPr sz="1300" b="1" dirty="0">
                <a:solidFill>
                  <a:srgbClr val="231F20"/>
                </a:solidFill>
                <a:latin typeface="Neue Frutiger World" panose="020B0603040304020203" pitchFamily="34" charset="0"/>
                <a:cs typeface="Neue Frutiger World" panose="020B0603040304020203" pitchFamily="34" charset="0"/>
              </a:rPr>
              <a:t>physician</a:t>
            </a:r>
            <a:r>
              <a:rPr sz="1300" b="1" spc="30"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50796" marR="366364">
              <a:lnSpc>
                <a:spcPct val="104200"/>
              </a:lnSpc>
              <a:spcBef>
                <a:spcPts val="350"/>
              </a:spcBef>
            </a:pPr>
            <a:r>
              <a:rPr sz="800" dirty="0">
                <a:solidFill>
                  <a:srgbClr val="231F20"/>
                </a:solidFill>
                <a:latin typeface="Neue Frutiger World" panose="020B0603040304020203" pitchFamily="34" charset="0"/>
                <a:cs typeface="Neue Frutiger World" panose="020B0603040304020203" pitchFamily="34" charset="0"/>
              </a:rPr>
              <a:t>When</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I</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e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ook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uperficial</a:t>
            </a:r>
            <a:r>
              <a:rPr lang="nl-BE" sz="800" spc="-10" dirty="0">
                <a:solidFill>
                  <a:srgbClr val="231F20"/>
                </a:solidFill>
                <a:latin typeface="Neue Frutiger World" panose="020B0603040304020203" pitchFamily="34" charset="0"/>
                <a:cs typeface="Neue Frutiger World" panose="020B0603040304020203" pitchFamily="34" charset="0"/>
              </a:rPr>
              <a:t>,</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I</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don’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usuall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sum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ads</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e</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ed</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ell,</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but</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I</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ill</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blood</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cultures</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done</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n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sz="80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ule</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ut.</a:t>
            </a:r>
            <a:endParaRPr sz="800" dirty="0">
              <a:latin typeface="Neue Frutiger World" panose="020B0603040304020203" pitchFamily="34" charset="0"/>
              <a:cs typeface="Neue Frutiger World" panose="020B0603040304020203" pitchFamily="34" charset="0"/>
            </a:endParaRPr>
          </a:p>
          <a:p>
            <a:pPr>
              <a:lnSpc>
                <a:spcPct val="100000"/>
              </a:lnSpc>
            </a:pPr>
            <a:endParaRPr sz="900" dirty="0">
              <a:latin typeface="Neue Frutiger World" panose="020B0603040304020203" pitchFamily="34" charset="0"/>
              <a:cs typeface="Neue Frutiger World" panose="020B0603040304020203" pitchFamily="34" charset="0"/>
            </a:endParaRPr>
          </a:p>
          <a:p>
            <a:pPr>
              <a:spcBef>
                <a:spcPts val="10"/>
              </a:spcBef>
            </a:pPr>
            <a:endParaRPr sz="1050" dirty="0">
              <a:latin typeface="Neue Frutiger World" panose="020B0603040304020203" pitchFamily="34" charset="0"/>
              <a:cs typeface="Neue Frutiger World" panose="020B0603040304020203" pitchFamily="34" charset="0"/>
            </a:endParaRPr>
          </a:p>
          <a:p>
            <a:pPr marL="50796"/>
            <a:r>
              <a:rPr sz="1300" b="1" spc="-5" dirty="0">
                <a:solidFill>
                  <a:srgbClr val="231F20"/>
                </a:solidFill>
                <a:latin typeface="Neue Frutiger World" panose="020B0603040304020203" pitchFamily="34" charset="0"/>
                <a:cs typeface="Neue Frutiger World" panose="020B0603040304020203" pitchFamily="34" charset="0"/>
              </a:rPr>
              <a:t>Rep</a:t>
            </a:r>
            <a:r>
              <a:rPr sz="1300" b="1"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50796" marR="115561">
              <a:lnSpc>
                <a:spcPct val="104200"/>
              </a:lnSpc>
              <a:spcBef>
                <a:spcPts val="350"/>
              </a:spcBef>
            </a:pP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may</a:t>
            </a:r>
            <a:r>
              <a:rPr sz="800" spc="-10" dirty="0">
                <a:solidFill>
                  <a:srgbClr val="231F20"/>
                </a:solidFill>
                <a:latin typeface="Neue Frutiger World" panose="020B0603040304020203" pitchFamily="34" charset="0"/>
                <a:cs typeface="Neue Frutiger World" panose="020B0603040304020203" pitchFamily="34" charset="0"/>
              </a:rPr>
              <a:t> surprise</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ear </a:t>
            </a:r>
            <a:r>
              <a:rPr sz="800" spc="-10" dirty="0">
                <a:solidFill>
                  <a:srgbClr val="231F20"/>
                </a:solidFill>
                <a:latin typeface="Neue Frutiger World" panose="020B0603040304020203" pitchFamily="34" charset="0"/>
                <a:cs typeface="Neue Frutiger World" panose="020B0603040304020203" pitchFamily="34" charset="0"/>
              </a:rPr>
              <a:t>this</a:t>
            </a:r>
            <a:r>
              <a:rPr lang="en-GB" sz="800" spc="10" dirty="0">
                <a:solidFill>
                  <a:srgbClr val="231F20"/>
                </a:solidFill>
                <a:latin typeface="Neue Frutiger World" panose="020B0603040304020203" pitchFamily="34" charset="0"/>
                <a:cs typeface="Neue Frutiger World" panose="020B0603040304020203" pitchFamily="34" charset="0"/>
              </a:rPr>
              <a:t>...</a:t>
            </a:r>
            <a:r>
              <a:rPr sz="800" spc="1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Even </a:t>
            </a:r>
            <a:r>
              <a:rPr sz="800" dirty="0">
                <a:solidFill>
                  <a:srgbClr val="231F20"/>
                </a:solidFill>
                <a:latin typeface="Neue Frutiger World" panose="020B0603040304020203" pitchFamily="34" charset="0"/>
                <a:cs typeface="Neue Frutiger World" panose="020B0603040304020203" pitchFamily="34" charset="0"/>
              </a:rPr>
              <a:t>when</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mptoms</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e</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limited</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ocket</a:t>
            </a:r>
            <a:r>
              <a:rPr lang="en-US" sz="800" spc="-5" dirty="0">
                <a:solidFill>
                  <a:srgbClr val="231F20"/>
                </a:solidFill>
                <a:latin typeface="Neue Frutiger World" panose="020B0603040304020203" pitchFamily="34" charset="0"/>
                <a:cs typeface="Neue Frutiger World" panose="020B0603040304020203" pitchFamily="34" charset="0"/>
              </a:rPr>
              <a:t>, it has been shown 72% of patients may have positive blood cultures on the </a:t>
            </a:r>
            <a:r>
              <a:rPr sz="800" spc="-10" dirty="0">
                <a:solidFill>
                  <a:srgbClr val="231F20"/>
                </a:solidFill>
                <a:latin typeface="Neue Frutiger World" panose="020B0603040304020203" pitchFamily="34" charset="0"/>
                <a:cs typeface="Neue Frutiger World" panose="020B0603040304020203" pitchFamily="34" charset="0"/>
              </a:rPr>
              <a:t>intravascular </a:t>
            </a:r>
            <a:r>
              <a:rPr sz="800" spc="-5" dirty="0">
                <a:solidFill>
                  <a:srgbClr val="231F20"/>
                </a:solidFill>
                <a:latin typeface="Neue Frutiger World" panose="020B0603040304020203" pitchFamily="34" charset="0"/>
                <a:cs typeface="Neue Frutiger World" panose="020B0603040304020203" pitchFamily="34" charset="0"/>
              </a:rPr>
              <a:t>segments</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th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ads</a:t>
            </a:r>
            <a:r>
              <a:rPr lang="en-GB" sz="800" spc="-5" dirty="0">
                <a:solidFill>
                  <a:srgbClr val="231F20"/>
                </a:solidFill>
                <a:latin typeface="Neue Frutiger World" panose="020B0603040304020203" pitchFamily="34" charset="0"/>
                <a:cs typeface="Neue Frutiger World" panose="020B0603040304020203" pitchFamily="34" charset="0"/>
              </a:rPr>
              <a:t>.</a:t>
            </a:r>
            <a:r>
              <a:rPr sz="800" spc="-7" baseline="30864" dirty="0">
                <a:solidFill>
                  <a:srgbClr val="231F20"/>
                </a:solidFill>
                <a:latin typeface="Neue Frutiger World" panose="020B0603040304020203" pitchFamily="34" charset="0"/>
                <a:cs typeface="Neue Frutiger World" panose="020B0603040304020203" pitchFamily="34" charset="0"/>
              </a:rPr>
              <a:t>6</a:t>
            </a:r>
            <a:r>
              <a:rPr lang="en-GB" sz="800" spc="-7" baseline="30864"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is</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 </a:t>
            </a:r>
            <a:r>
              <a:rPr sz="800" spc="5" dirty="0">
                <a:solidFill>
                  <a:srgbClr val="231F20"/>
                </a:solidFill>
                <a:latin typeface="Neue Frutiger World" panose="020B0603040304020203" pitchFamily="34" charset="0"/>
                <a:cs typeface="Neue Frutiger World" panose="020B0603040304020203" pitchFamily="34" charset="0"/>
              </a:rPr>
              <a:t>why</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lang="en-GB" sz="800" spc="-15" dirty="0">
                <a:solidFill>
                  <a:srgbClr val="231F20"/>
                </a:solidFill>
                <a:latin typeface="Neue Frutiger World" panose="020B0603040304020203" pitchFamily="34" charset="0"/>
                <a:cs typeface="Neue Frutiger World" panose="020B0603040304020203" pitchFamily="34" charset="0"/>
              </a:rPr>
              <a:t>'</a:t>
            </a:r>
            <a:r>
              <a:rPr sz="800" spc="-15" dirty="0">
                <a:solidFill>
                  <a:srgbClr val="231F20"/>
                </a:solidFill>
                <a:latin typeface="Neue Frutiger World" panose="020B0603040304020203" pitchFamily="34" charset="0"/>
                <a:cs typeface="Neue Frutiger World" panose="020B0603040304020203" pitchFamily="34" charset="0"/>
              </a:rPr>
              <a:t>s</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mportant</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quickly</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agnos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d</a:t>
            </a:r>
            <a:r>
              <a:rPr sz="800" spc="1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extrac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ll</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rdware.</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year</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mortality</a:t>
            </a:r>
            <a:r>
              <a:rPr sz="800" spc="-2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rate</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about</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2%,</a:t>
            </a:r>
            <a:r>
              <a:rPr sz="800" baseline="30864" dirty="0">
                <a:solidFill>
                  <a:srgbClr val="231F20"/>
                </a:solidFill>
                <a:latin typeface="Neue Frutiger World" panose="020B0603040304020203" pitchFamily="34" charset="0"/>
                <a:cs typeface="Neue Frutiger World" panose="020B0603040304020203" pitchFamily="34" charset="0"/>
              </a:rPr>
              <a:t>12</a:t>
            </a:r>
            <a:r>
              <a:rPr sz="800" spc="150" baseline="30864"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owever </a:t>
            </a:r>
            <a:r>
              <a:rPr sz="800" spc="-5" dirty="0">
                <a:solidFill>
                  <a:srgbClr val="231F20"/>
                </a:solidFill>
                <a:latin typeface="Neue Frutiger World" panose="020B0603040304020203" pitchFamily="34" charset="0"/>
                <a:cs typeface="Neue Frutiger World" panose="020B0603040304020203" pitchFamily="34" charset="0"/>
              </a:rPr>
              <a:t>if</a:t>
            </a:r>
            <a:r>
              <a:rPr sz="800" spc="-15" dirty="0">
                <a:solidFill>
                  <a:srgbClr val="231F20"/>
                </a:solidFill>
                <a:latin typeface="Neue Frutiger World" panose="020B0603040304020203" pitchFamily="34" charset="0"/>
                <a:cs typeface="Neue Frutiger World" panose="020B0603040304020203" pitchFamily="34" charset="0"/>
              </a:rPr>
              <a:t> tha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rogresses</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lang="en-GB"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ic</a:t>
            </a:r>
            <a:r>
              <a:rPr sz="800" spc="4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40" dirty="0">
                <a:solidFill>
                  <a:srgbClr val="231F20"/>
                </a:solidFill>
                <a:latin typeface="Neue Frutiger World" panose="020B0603040304020203" pitchFamily="34" charset="0"/>
                <a:cs typeface="Neue Frutiger World" panose="020B0603040304020203" pitchFamily="34" charset="0"/>
              </a:rPr>
              <a:t> </a:t>
            </a:r>
            <a:r>
              <a:rPr lang="en-GB" sz="800" spc="-15" dirty="0">
                <a:solidFill>
                  <a:srgbClr val="231F20"/>
                </a:solidFill>
                <a:latin typeface="Neue Frutiger World" panose="020B0603040304020203" pitchFamily="34" charset="0"/>
                <a:cs typeface="Neue Frutiger World" panose="020B0603040304020203" pitchFamily="34" charset="0"/>
              </a:rPr>
              <a:t>the</a:t>
            </a:r>
            <a:r>
              <a:rPr sz="800" spc="4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number</a:t>
            </a:r>
            <a:r>
              <a:rPr sz="800" spc="2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creases</a:t>
            </a:r>
            <a:r>
              <a:rPr sz="800" spc="4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dramatically.</a:t>
            </a:r>
            <a:r>
              <a:rPr sz="800" spc="50" dirty="0">
                <a:solidFill>
                  <a:srgbClr val="231F20"/>
                </a:solidFill>
                <a:latin typeface="Neue Frutiger World" panose="020B0603040304020203" pitchFamily="34" charset="0"/>
                <a:cs typeface="Neue Frutiger World" panose="020B0603040304020203" pitchFamily="34" charset="0"/>
              </a:rPr>
              <a:t> </a:t>
            </a:r>
            <a:endParaRPr lang="en-GB" sz="800" spc="50" dirty="0">
              <a:solidFill>
                <a:srgbClr val="231F20"/>
              </a:solidFill>
              <a:latin typeface="Neue Frutiger World" panose="020B0603040304020203" pitchFamily="34" charset="0"/>
              <a:cs typeface="Neue Frutiger World" panose="020B0603040304020203" pitchFamily="34" charset="0"/>
            </a:endParaRPr>
          </a:p>
          <a:p>
            <a:pPr marL="50796" marR="115561">
              <a:lnSpc>
                <a:spcPct val="104200"/>
              </a:lnSpc>
              <a:spcBef>
                <a:spcPts val="350"/>
              </a:spcBef>
            </a:pPr>
            <a:r>
              <a:rPr sz="800" spc="-5" dirty="0">
                <a:solidFill>
                  <a:srgbClr val="231F20"/>
                </a:solidFill>
                <a:latin typeface="Neue Frutiger World" panose="020B0603040304020203" pitchFamily="34" charset="0"/>
                <a:cs typeface="Neue Frutiger World" panose="020B0603040304020203" pitchFamily="34" charset="0"/>
              </a:rPr>
              <a:t>Systemic</a:t>
            </a:r>
            <a:r>
              <a:rPr sz="800" spc="4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4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4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en</a:t>
            </a:r>
            <a:r>
              <a:rPr sz="800" spc="4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hown</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year</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mortality</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31%</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d</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ndocarditi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ve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igher</a:t>
            </a:r>
            <a:r>
              <a:rPr sz="800" spc="-10" dirty="0">
                <a:solidFill>
                  <a:srgbClr val="231F20"/>
                </a:solidFill>
                <a:latin typeface="Neue Frutiger World" panose="020B0603040304020203" pitchFamily="34" charset="0"/>
                <a:cs typeface="Neue Frutiger World" panose="020B0603040304020203" pitchFamily="34" charset="0"/>
              </a:rPr>
              <a:t> than</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at.</a:t>
            </a:r>
            <a:r>
              <a:rPr sz="800" spc="-15" baseline="30864" dirty="0">
                <a:solidFill>
                  <a:srgbClr val="231F20"/>
                </a:solidFill>
                <a:latin typeface="Neue Frutiger World" panose="020B0603040304020203" pitchFamily="34" charset="0"/>
                <a:cs typeface="Neue Frutiger World" panose="020B0603040304020203" pitchFamily="34" charset="0"/>
              </a:rPr>
              <a:t>12</a:t>
            </a:r>
            <a:r>
              <a:rPr sz="800" spc="7" baseline="30864"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mportant</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lang="en-GB"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quickly</a:t>
            </a:r>
            <a:r>
              <a:rPr sz="800" spc="-20" dirty="0">
                <a:solidFill>
                  <a:srgbClr val="231F20"/>
                </a:solidFill>
                <a:latin typeface="Neue Frutiger World" panose="020B0603040304020203" pitchFamily="34" charset="0"/>
                <a:cs typeface="Neue Frutiger World" panose="020B0603040304020203" pitchFamily="34" charset="0"/>
              </a:rPr>
              <a:t> trea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o</a:t>
            </a:r>
            <a:r>
              <a:rPr lang="en-GB" sz="800" spc="-5" dirty="0">
                <a:solidFill>
                  <a:srgbClr val="231F20"/>
                </a:solidFill>
                <a:latin typeface="Neue Frutiger World" panose="020B0603040304020203" pitchFamily="34" charset="0"/>
                <a:cs typeface="Neue Frutiger World" panose="020B0603040304020203" pitchFamily="34" charset="0"/>
              </a:rPr>
              <a: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f</a:t>
            </a:r>
            <a:r>
              <a:rPr sz="800" spc="-10" dirty="0">
                <a:solidFill>
                  <a:srgbClr val="231F20"/>
                </a:solidFill>
                <a:latin typeface="Neue Frutiger World" panose="020B0603040304020203" pitchFamily="34" charset="0"/>
                <a:cs typeface="Neue Frutiger World" panose="020B0603040304020203" pitchFamily="34" charset="0"/>
              </a:rPr>
              <a:t> th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ad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e</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ed</a:t>
            </a:r>
            <a:r>
              <a:rPr sz="800" spc="1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at</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itial</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agnosis,</a:t>
            </a:r>
            <a:r>
              <a:rPr sz="800" spc="15" dirty="0">
                <a:solidFill>
                  <a:srgbClr val="231F20"/>
                </a:solidFill>
                <a:latin typeface="Neue Frutiger World" panose="020B0603040304020203" pitchFamily="34" charset="0"/>
                <a:cs typeface="Neue Frutiger World" panose="020B0603040304020203" pitchFamily="34" charset="0"/>
              </a:rPr>
              <a:t> </a:t>
            </a:r>
            <a:r>
              <a:rPr lang="en-GB" sz="800" spc="-15" dirty="0">
                <a:solidFill>
                  <a:srgbClr val="231F20"/>
                </a:solidFill>
                <a:latin typeface="Neue Frutiger World" panose="020B0603040304020203" pitchFamily="34" charset="0"/>
                <a:cs typeface="Neue Frutiger World" panose="020B0603040304020203" pitchFamily="34" charset="0"/>
              </a:rPr>
              <a:t>the pocket 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oes</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pportunity</a:t>
            </a:r>
            <a:r>
              <a:rPr sz="800" spc="-20" dirty="0">
                <a:solidFill>
                  <a:srgbClr val="231F20"/>
                </a:solidFill>
                <a:latin typeface="Neue Frutiger World" panose="020B0603040304020203" pitchFamily="34" charset="0"/>
                <a:cs typeface="Neue Frutiger World" panose="020B0603040304020203" pitchFamily="34" charset="0"/>
              </a:rPr>
              <a:t> to</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rogress</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ic</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fection.</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ntibiotic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conservative</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hoice</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s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elapse</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rat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n</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50-100%.</a:t>
            </a:r>
            <a:r>
              <a:rPr sz="800" spc="15" baseline="30864" dirty="0">
                <a:solidFill>
                  <a:srgbClr val="231F20"/>
                </a:solidFill>
                <a:latin typeface="Neue Frutiger World" panose="020B0603040304020203" pitchFamily="34" charset="0"/>
                <a:cs typeface="Neue Frutiger World" panose="020B0603040304020203" pitchFamily="34" charset="0"/>
              </a:rPr>
              <a:t>5-9</a:t>
            </a:r>
            <a:endParaRPr sz="800" baseline="30864" dirty="0">
              <a:latin typeface="Neue Frutiger World" panose="020B0603040304020203" pitchFamily="34" charset="0"/>
              <a:cs typeface="Neue Frutiger World" panose="020B0603040304020203" pitchFamily="34" charset="0"/>
            </a:endParaRPr>
          </a:p>
        </p:txBody>
      </p:sp>
      <p:sp>
        <p:nvSpPr>
          <p:cNvPr id="8" name="object 6">
            <a:extLst>
              <a:ext uri="{FF2B5EF4-FFF2-40B4-BE49-F238E27FC236}">
                <a16:creationId xmlns:a16="http://schemas.microsoft.com/office/drawing/2014/main" id="{1C48A4CF-9B4F-4145-AD56-6EE2A4539195}"/>
              </a:ext>
            </a:extLst>
          </p:cNvPr>
          <p:cNvSpPr txBox="1"/>
          <p:nvPr/>
        </p:nvSpPr>
        <p:spPr>
          <a:xfrm>
            <a:off x="1583142" y="3947027"/>
            <a:ext cx="4363720" cy="515013"/>
          </a:xfrm>
          <a:prstGeom prst="rect">
            <a:avLst/>
          </a:prstGeom>
        </p:spPr>
        <p:txBody>
          <a:bodyPr vert="horz" wrap="square" lIns="0" tIns="7620" rIns="0" bIns="0" rtlCol="0">
            <a:spAutoFit/>
          </a:bodyPr>
          <a:lstStyle/>
          <a:p>
            <a:pPr marL="12699" marR="5079">
              <a:lnSpc>
                <a:spcPct val="104200"/>
              </a:lnSpc>
              <a:spcBef>
                <a:spcPts val="60"/>
              </a:spcBef>
            </a:pPr>
            <a:r>
              <a:rPr sz="800" dirty="0">
                <a:solidFill>
                  <a:srgbClr val="0077CD"/>
                </a:solidFill>
                <a:latin typeface="Neue Frutiger World" panose="020B0603040304020203" pitchFamily="34" charset="0"/>
                <a:cs typeface="Neue Frutiger World" panose="020B0603040304020203" pitchFamily="34" charset="0"/>
              </a:rPr>
              <a:t>I</a:t>
            </a:r>
            <a:r>
              <a:rPr sz="800" spc="-2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ould</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love</a:t>
            </a:r>
            <a:r>
              <a:rPr sz="800" spc="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 </a:t>
            </a:r>
            <a:r>
              <a:rPr sz="800" spc="-10" dirty="0">
                <a:solidFill>
                  <a:srgbClr val="0077CD"/>
                </a:solidFill>
                <a:latin typeface="Neue Frutiger World" panose="020B0603040304020203" pitchFamily="34" charset="0"/>
                <a:cs typeface="Neue Frutiger World" panose="020B0603040304020203" pitchFamily="34" charset="0"/>
              </a:rPr>
              <a:t>work</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ith</a:t>
            </a:r>
            <a:r>
              <a:rPr sz="800" spc="-20"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a:t>
            </a:r>
            <a:r>
              <a:rPr sz="800" spc="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set</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up</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ome</a:t>
            </a:r>
            <a:r>
              <a:rPr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time</a:t>
            </a:r>
            <a:r>
              <a:rPr sz="800" spc="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peak</a:t>
            </a:r>
            <a:r>
              <a:rPr sz="800" spc="-2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ith</a:t>
            </a:r>
            <a:r>
              <a:rPr sz="800" spc="-1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r</a:t>
            </a:r>
            <a:r>
              <a:rPr sz="800" spc="-1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partners</a:t>
            </a:r>
            <a:r>
              <a:rPr sz="800" spc="5" dirty="0">
                <a:solidFill>
                  <a:srgbClr val="0077CD"/>
                </a:solidFill>
                <a:latin typeface="Neue Frutiger World" panose="020B0603040304020203" pitchFamily="34" charset="0"/>
                <a:cs typeface="Neue Frutiger World" panose="020B0603040304020203" pitchFamily="34" charset="0"/>
              </a:rPr>
              <a:t> </a:t>
            </a:r>
            <a:r>
              <a:rPr sz="800" spc="-15" dirty="0">
                <a:solidFill>
                  <a:srgbClr val="0077CD"/>
                </a:solidFill>
                <a:latin typeface="Neue Frutiger World" panose="020B0603040304020203" pitchFamily="34" charset="0"/>
                <a:cs typeface="Neue Frutiger World" panose="020B0603040304020203" pitchFamily="34" charset="0"/>
              </a:rPr>
              <a:t>that</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do</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not</a:t>
            </a:r>
            <a:r>
              <a:rPr sz="800" spc="-5" dirty="0">
                <a:solidFill>
                  <a:srgbClr val="0077CD"/>
                </a:solidFill>
                <a:latin typeface="Neue Frutiger World" panose="020B0603040304020203" pitchFamily="34" charset="0"/>
                <a:cs typeface="Neue Frutiger World" panose="020B0603040304020203" pitchFamily="34" charset="0"/>
              </a:rPr>
              <a:t> </a:t>
            </a:r>
            <a:r>
              <a:rPr sz="800" spc="-15" dirty="0">
                <a:solidFill>
                  <a:srgbClr val="0077CD"/>
                </a:solidFill>
                <a:latin typeface="Neue Frutiger World" panose="020B0603040304020203" pitchFamily="34" charset="0"/>
                <a:cs typeface="Neue Frutiger World" panose="020B0603040304020203" pitchFamily="34" charset="0"/>
              </a:rPr>
              <a:t>extract</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devices.</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y</a:t>
            </a:r>
            <a:r>
              <a:rPr sz="800" spc="-1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may</a:t>
            </a:r>
            <a:r>
              <a:rPr sz="800" spc="-1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reat</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ome</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patients </a:t>
            </a:r>
            <a:r>
              <a:rPr sz="800" spc="-5" dirty="0">
                <a:solidFill>
                  <a:srgbClr val="0077CD"/>
                </a:solidFill>
                <a:latin typeface="Neue Frutiger World" panose="020B0603040304020203" pitchFamily="34" charset="0"/>
                <a:cs typeface="Neue Frutiger World" panose="020B0603040304020203" pitchFamily="34" charset="0"/>
              </a:rPr>
              <a:t>with</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antibiotics</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before</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y</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end</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m</a:t>
            </a:r>
            <a:r>
              <a:rPr sz="800" spc="10"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a:t>
            </a:r>
            <a:r>
              <a:rPr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for</a:t>
            </a:r>
            <a:r>
              <a:rPr lang="en-GB"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an</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extraction.</a:t>
            </a:r>
            <a:r>
              <a:rPr sz="800" spc="-2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is</a:t>
            </a:r>
            <a:r>
              <a:rPr sz="800" spc="1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information</a:t>
            </a:r>
            <a:r>
              <a:rPr sz="800" spc="10"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may</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way</a:t>
            </a:r>
            <a:r>
              <a:rPr sz="800" spc="-2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m</a:t>
            </a:r>
            <a:r>
              <a:rPr sz="800" spc="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end</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m</a:t>
            </a:r>
            <a:r>
              <a:rPr sz="800" spc="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a:t>
            </a:r>
            <a:r>
              <a:rPr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for </a:t>
            </a:r>
            <a:r>
              <a:rPr sz="800" spc="-5" dirty="0">
                <a:solidFill>
                  <a:srgbClr val="0077CD"/>
                </a:solidFill>
                <a:latin typeface="Neue Frutiger World" panose="020B0603040304020203" pitchFamily="34" charset="0"/>
                <a:cs typeface="Neue Frutiger World" panose="020B0603040304020203" pitchFamily="34" charset="0"/>
              </a:rPr>
              <a:t>a</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consult</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right</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away.</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Is</a:t>
            </a:r>
            <a:r>
              <a:rPr lang="en-GB" sz="800" spc="-5" dirty="0">
                <a:solidFill>
                  <a:srgbClr val="0077CD"/>
                </a:solidFill>
                <a:latin typeface="Neue Frutiger World" panose="020B0603040304020203" pitchFamily="34" charset="0"/>
                <a:cs typeface="Neue Frutiger World" panose="020B0603040304020203" pitchFamily="34" charset="0"/>
              </a:rPr>
              <a:t> </a:t>
            </a:r>
            <a:r>
              <a:rPr sz="800" spc="-15" dirty="0">
                <a:solidFill>
                  <a:srgbClr val="0077CD"/>
                </a:solidFill>
                <a:latin typeface="Neue Frutiger World" panose="020B0603040304020203" pitchFamily="34" charset="0"/>
                <a:cs typeface="Neue Frutiger World" panose="020B0603040304020203" pitchFamily="34" charset="0"/>
              </a:rPr>
              <a:t>that</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omething</a:t>
            </a:r>
            <a:r>
              <a:rPr sz="800" spc="-20"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a:t>
            </a:r>
            <a:r>
              <a:rPr sz="800" spc="-2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ould</a:t>
            </a:r>
            <a:r>
              <a:rPr sz="800" spc="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be </a:t>
            </a:r>
            <a:r>
              <a:rPr sz="800" spc="-15" dirty="0">
                <a:solidFill>
                  <a:srgbClr val="0077CD"/>
                </a:solidFill>
                <a:latin typeface="Neue Frutiger World" panose="020B0603040304020203" pitchFamily="34" charset="0"/>
                <a:cs typeface="Neue Frutiger World" panose="020B0603040304020203" pitchFamily="34" charset="0"/>
              </a:rPr>
              <a:t>interested</a:t>
            </a:r>
            <a:r>
              <a:rPr sz="800" spc="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in?</a:t>
            </a:r>
            <a:endParaRPr sz="800" dirty="0">
              <a:latin typeface="Neue Frutiger World" panose="020B0603040304020203" pitchFamily="34" charset="0"/>
              <a:cs typeface="Neue Frutiger World" panose="020B0603040304020203" pitchFamily="34" charset="0"/>
            </a:endParaRPr>
          </a:p>
        </p:txBody>
      </p:sp>
      <p:pic>
        <p:nvPicPr>
          <p:cNvPr id="9" name="object 7">
            <a:extLst>
              <a:ext uri="{FF2B5EF4-FFF2-40B4-BE49-F238E27FC236}">
                <a16:creationId xmlns:a16="http://schemas.microsoft.com/office/drawing/2014/main" id="{302317BE-9511-484C-933C-FF7EB153E2FF}"/>
              </a:ext>
            </a:extLst>
          </p:cNvPr>
          <p:cNvPicPr>
            <a:picLocks noChangeAspect="1"/>
          </p:cNvPicPr>
          <p:nvPr/>
        </p:nvPicPr>
        <p:blipFill>
          <a:blip r:embed="rId2" cstate="print"/>
          <a:stretch>
            <a:fillRect/>
          </a:stretch>
        </p:blipFill>
        <p:spPr>
          <a:xfrm>
            <a:off x="6372200" y="807368"/>
            <a:ext cx="1991946" cy="3836426"/>
          </a:xfrm>
          <a:prstGeom prst="rect">
            <a:avLst/>
          </a:prstGeom>
        </p:spPr>
      </p:pic>
      <p:sp>
        <p:nvSpPr>
          <p:cNvPr id="10" name="object 8">
            <a:extLst>
              <a:ext uri="{FF2B5EF4-FFF2-40B4-BE49-F238E27FC236}">
                <a16:creationId xmlns:a16="http://schemas.microsoft.com/office/drawing/2014/main" id="{0FF9E6AE-4D5B-492D-B7A2-90ECF1DEDB76}"/>
              </a:ext>
            </a:extLst>
          </p:cNvPr>
          <p:cNvSpPr txBox="1">
            <a:spLocks noChangeAspect="1"/>
          </p:cNvSpPr>
          <p:nvPr/>
        </p:nvSpPr>
        <p:spPr>
          <a:xfrm>
            <a:off x="8106910" y="1092610"/>
            <a:ext cx="607287" cy="448841"/>
          </a:xfrm>
          <a:prstGeom prst="rect">
            <a:avLst/>
          </a:prstGeom>
        </p:spPr>
        <p:txBody>
          <a:bodyPr vert="horz" wrap="square" lIns="0" tIns="12700" rIns="0" bIns="0" rtlCol="0">
            <a:spAutoFit/>
          </a:bodyPr>
          <a:lstStyle/>
          <a:p>
            <a:pPr marL="12699" marR="5079">
              <a:lnSpc>
                <a:spcPct val="109000"/>
              </a:lnSpc>
              <a:spcBef>
                <a:spcPts val="100"/>
              </a:spcBef>
            </a:pPr>
            <a:r>
              <a:rPr sz="650" spc="-5" dirty="0">
                <a:solidFill>
                  <a:srgbClr val="231F20"/>
                </a:solidFill>
                <a:latin typeface="Neue Frutiger World" panose="020B0603040304020203" pitchFamily="34" charset="0"/>
                <a:cs typeface="Neue Frutiger World" panose="020B0603040304020203" pitchFamily="34" charset="0"/>
              </a:rPr>
              <a:t>Infection could</a:t>
            </a:r>
            <a:r>
              <a:rPr lang="en-GB" sz="650" spc="-5" dirty="0">
                <a:solidFill>
                  <a:srgbClr val="231F20"/>
                </a:solidFill>
                <a:latin typeface="Neue Frutiger World" panose="020B0603040304020203" pitchFamily="34" charset="0"/>
                <a:cs typeface="Neue Frutiger World" panose="020B0603040304020203" pitchFamily="34" charset="0"/>
              </a:rPr>
              <a:t> </a:t>
            </a:r>
            <a:r>
              <a:rPr sz="650" spc="-5" dirty="0">
                <a:solidFill>
                  <a:srgbClr val="231F20"/>
                </a:solidFill>
                <a:latin typeface="Neue Frutiger World" panose="020B0603040304020203" pitchFamily="34" charset="0"/>
                <a:cs typeface="Neue Frutiger World" panose="020B0603040304020203" pitchFamily="34" charset="0"/>
              </a:rPr>
              <a:t>originate from a</a:t>
            </a:r>
            <a:r>
              <a:rPr lang="en-GB" sz="650" spc="-5" dirty="0">
                <a:solidFill>
                  <a:srgbClr val="231F20"/>
                </a:solidFill>
                <a:latin typeface="Neue Frutiger World" panose="020B0603040304020203" pitchFamily="34" charset="0"/>
                <a:cs typeface="Neue Frutiger World" panose="020B0603040304020203" pitchFamily="34" charset="0"/>
              </a:rPr>
              <a:t> </a:t>
            </a:r>
            <a:r>
              <a:rPr sz="650" dirty="0">
                <a:solidFill>
                  <a:srgbClr val="231F20"/>
                </a:solidFill>
                <a:latin typeface="Neue Frutiger World" panose="020B0603040304020203" pitchFamily="34" charset="0"/>
                <a:cs typeface="Neue Frutiger World" panose="020B0603040304020203" pitchFamily="34" charset="0"/>
              </a:rPr>
              <a:t>de</a:t>
            </a:r>
            <a:r>
              <a:rPr sz="650" spc="-5" dirty="0">
                <a:solidFill>
                  <a:srgbClr val="231F20"/>
                </a:solidFill>
                <a:latin typeface="Neue Frutiger World" panose="020B0603040304020203" pitchFamily="34" charset="0"/>
                <a:cs typeface="Neue Frutiger World" panose="020B0603040304020203" pitchFamily="34" charset="0"/>
              </a:rPr>
              <a:t>n</a:t>
            </a:r>
            <a:r>
              <a:rPr sz="650" spc="-15" dirty="0">
                <a:solidFill>
                  <a:srgbClr val="231F20"/>
                </a:solidFill>
                <a:latin typeface="Neue Frutiger World" panose="020B0603040304020203" pitchFamily="34" charset="0"/>
                <a:cs typeface="Neue Frutiger World" panose="020B0603040304020203" pitchFamily="34" charset="0"/>
              </a:rPr>
              <a:t>t</a:t>
            </a:r>
            <a:r>
              <a:rPr sz="650" spc="-10" dirty="0">
                <a:solidFill>
                  <a:srgbClr val="231F20"/>
                </a:solidFill>
                <a:latin typeface="Neue Frutiger World" panose="020B0603040304020203" pitchFamily="34" charset="0"/>
                <a:cs typeface="Neue Frutiger World" panose="020B0603040304020203" pitchFamily="34" charset="0"/>
              </a:rPr>
              <a:t>a</a:t>
            </a:r>
            <a:r>
              <a:rPr sz="650" spc="5" dirty="0">
                <a:solidFill>
                  <a:srgbClr val="231F20"/>
                </a:solidFill>
                <a:latin typeface="Neue Frutiger World" panose="020B0603040304020203" pitchFamily="34" charset="0"/>
                <a:cs typeface="Neue Frutiger World" panose="020B0603040304020203" pitchFamily="34" charset="0"/>
              </a:rPr>
              <a:t>l</a:t>
            </a:r>
            <a:r>
              <a:rPr sz="650" dirty="0">
                <a:solidFill>
                  <a:srgbClr val="231F20"/>
                </a:solidFill>
                <a:latin typeface="Neue Frutiger World" panose="020B0603040304020203" pitchFamily="34" charset="0"/>
                <a:cs typeface="Neue Frutiger World" panose="020B0603040304020203" pitchFamily="34" charset="0"/>
              </a:rPr>
              <a:t> </a:t>
            </a:r>
            <a:r>
              <a:rPr sz="650" spc="-10" dirty="0">
                <a:solidFill>
                  <a:srgbClr val="231F20"/>
                </a:solidFill>
                <a:latin typeface="Neue Frutiger World" panose="020B0603040304020203" pitchFamily="34" charset="0"/>
                <a:cs typeface="Neue Frutiger World" panose="020B0603040304020203" pitchFamily="34" charset="0"/>
              </a:rPr>
              <a:t>p</a:t>
            </a:r>
            <a:r>
              <a:rPr sz="650" spc="-20" dirty="0">
                <a:solidFill>
                  <a:srgbClr val="231F20"/>
                </a:solidFill>
                <a:latin typeface="Neue Frutiger World" panose="020B0603040304020203" pitchFamily="34" charset="0"/>
                <a:cs typeface="Neue Frutiger World" panose="020B0603040304020203" pitchFamily="34" charset="0"/>
              </a:rPr>
              <a:t>r</a:t>
            </a:r>
            <a:r>
              <a:rPr sz="650" dirty="0">
                <a:solidFill>
                  <a:srgbClr val="231F20"/>
                </a:solidFill>
                <a:latin typeface="Neue Frutiger World" panose="020B0603040304020203" pitchFamily="34" charset="0"/>
                <a:cs typeface="Neue Frutiger World" panose="020B0603040304020203" pitchFamily="34" charset="0"/>
              </a:rPr>
              <a:t>o</a:t>
            </a:r>
            <a:r>
              <a:rPr sz="650" spc="-10" dirty="0">
                <a:solidFill>
                  <a:srgbClr val="231F20"/>
                </a:solidFill>
                <a:latin typeface="Neue Frutiger World" panose="020B0603040304020203" pitchFamily="34" charset="0"/>
                <a:cs typeface="Neue Frutiger World" panose="020B0603040304020203" pitchFamily="34" charset="0"/>
              </a:rPr>
              <a:t>c</a:t>
            </a:r>
            <a:r>
              <a:rPr sz="650" spc="-5" dirty="0">
                <a:solidFill>
                  <a:srgbClr val="231F20"/>
                </a:solidFill>
                <a:latin typeface="Neue Frutiger World" panose="020B0603040304020203" pitchFamily="34" charset="0"/>
                <a:cs typeface="Neue Frutiger World" panose="020B0603040304020203" pitchFamily="34" charset="0"/>
              </a:rPr>
              <a:t>edu</a:t>
            </a:r>
            <a:r>
              <a:rPr sz="650" spc="-20" dirty="0">
                <a:solidFill>
                  <a:srgbClr val="231F20"/>
                </a:solidFill>
                <a:latin typeface="Neue Frutiger World" panose="020B0603040304020203" pitchFamily="34" charset="0"/>
                <a:cs typeface="Neue Frutiger World" panose="020B0603040304020203" pitchFamily="34" charset="0"/>
              </a:rPr>
              <a:t>r</a:t>
            </a:r>
            <a:r>
              <a:rPr sz="650" spc="5" dirty="0">
                <a:solidFill>
                  <a:srgbClr val="231F20"/>
                </a:solidFill>
                <a:latin typeface="Neue Frutiger World" panose="020B0603040304020203" pitchFamily="34" charset="0"/>
                <a:cs typeface="Neue Frutiger World" panose="020B0603040304020203" pitchFamily="34" charset="0"/>
              </a:rPr>
              <a:t>e.</a:t>
            </a:r>
            <a:endParaRPr sz="650" dirty="0">
              <a:latin typeface="Neue Frutiger World" panose="020B0603040304020203" pitchFamily="34" charset="0"/>
              <a:cs typeface="Neue Frutiger World" panose="020B0603040304020203" pitchFamily="34" charset="0"/>
            </a:endParaRPr>
          </a:p>
        </p:txBody>
      </p:sp>
      <p:sp>
        <p:nvSpPr>
          <p:cNvPr id="11" name="object 9">
            <a:extLst>
              <a:ext uri="{FF2B5EF4-FFF2-40B4-BE49-F238E27FC236}">
                <a16:creationId xmlns:a16="http://schemas.microsoft.com/office/drawing/2014/main" id="{1F40B685-D82D-4235-91C5-E91BA26B42B3}"/>
              </a:ext>
            </a:extLst>
          </p:cNvPr>
          <p:cNvSpPr txBox="1">
            <a:spLocks noChangeAspect="1"/>
          </p:cNvSpPr>
          <p:nvPr/>
        </p:nvSpPr>
        <p:spPr>
          <a:xfrm>
            <a:off x="6180284" y="3725235"/>
            <a:ext cx="623964" cy="339837"/>
          </a:xfrm>
          <a:prstGeom prst="rect">
            <a:avLst/>
          </a:prstGeom>
        </p:spPr>
        <p:txBody>
          <a:bodyPr vert="horz" wrap="square" lIns="0" tIns="12700" rIns="0" bIns="0" rtlCol="0">
            <a:spAutoFit/>
          </a:bodyPr>
          <a:lstStyle/>
          <a:p>
            <a:pPr marL="12699" marR="5079">
              <a:lnSpc>
                <a:spcPct val="109000"/>
              </a:lnSpc>
              <a:spcBef>
                <a:spcPts val="100"/>
              </a:spcBef>
            </a:pPr>
            <a:r>
              <a:rPr sz="650" spc="-20" dirty="0">
                <a:solidFill>
                  <a:srgbClr val="231F20"/>
                </a:solidFill>
                <a:latin typeface="Neue Frutiger World" panose="020B0603040304020203" pitchFamily="34" charset="0"/>
                <a:cs typeface="Neue Frutiger World" panose="020B0603040304020203" pitchFamily="34" charset="0"/>
              </a:rPr>
              <a:t>Or, </a:t>
            </a:r>
            <a:r>
              <a:rPr sz="650" spc="-5" dirty="0">
                <a:solidFill>
                  <a:srgbClr val="231F20"/>
                </a:solidFill>
                <a:latin typeface="Neue Frutiger World" panose="020B0603040304020203" pitchFamily="34" charset="0"/>
                <a:cs typeface="Neue Frutiger World" panose="020B0603040304020203" pitchFamily="34" charset="0"/>
              </a:rPr>
              <a:t>from a </a:t>
            </a:r>
            <a:r>
              <a:rPr sz="650" dirty="0">
                <a:solidFill>
                  <a:srgbClr val="231F20"/>
                </a:solidFill>
                <a:latin typeface="Neue Frutiger World" panose="020B0603040304020203" pitchFamily="34" charset="0"/>
                <a:cs typeface="Neue Frutiger World" panose="020B0603040304020203" pitchFamily="34" charset="0"/>
              </a:rPr>
              <a:t>leg</a:t>
            </a:r>
            <a:r>
              <a:rPr lang="en-GB" sz="650" dirty="0">
                <a:solidFill>
                  <a:srgbClr val="231F20"/>
                </a:solidFill>
                <a:latin typeface="Neue Frutiger World" panose="020B0603040304020203" pitchFamily="34" charset="0"/>
                <a:cs typeface="Neue Frutiger World" panose="020B0603040304020203" pitchFamily="34" charset="0"/>
              </a:rPr>
              <a:t> </a:t>
            </a:r>
            <a:r>
              <a:rPr sz="650" spc="-5" dirty="0">
                <a:solidFill>
                  <a:srgbClr val="231F20"/>
                </a:solidFill>
                <a:latin typeface="Neue Frutiger World" panose="020B0603040304020203" pitchFamily="34" charset="0"/>
                <a:cs typeface="Neue Frutiger World" panose="020B0603040304020203" pitchFamily="34" charset="0"/>
              </a:rPr>
              <a:t>wound </a:t>
            </a:r>
            <a:r>
              <a:rPr sz="650" spc="-10" dirty="0">
                <a:solidFill>
                  <a:srgbClr val="231F20"/>
                </a:solidFill>
                <a:latin typeface="Neue Frutiger World" panose="020B0603040304020203" pitchFamily="34" charset="0"/>
                <a:cs typeface="Neue Frutiger World" panose="020B0603040304020203" pitchFamily="34" charset="0"/>
              </a:rPr>
              <a:t>that</a:t>
            </a:r>
            <a:r>
              <a:rPr lang="en-GB" sz="650" spc="-10" dirty="0">
                <a:solidFill>
                  <a:srgbClr val="231F20"/>
                </a:solidFill>
                <a:latin typeface="Neue Frutiger World" panose="020B0603040304020203" pitchFamily="34" charset="0"/>
                <a:cs typeface="Neue Frutiger World" panose="020B0603040304020203" pitchFamily="34" charset="0"/>
              </a:rPr>
              <a:t> </a:t>
            </a:r>
            <a:r>
              <a:rPr sz="650" spc="-10" dirty="0">
                <a:solidFill>
                  <a:srgbClr val="231F20"/>
                </a:solidFill>
                <a:latin typeface="Neue Frutiger World" panose="020B0603040304020203" pitchFamily="34" charset="0"/>
                <a:cs typeface="Neue Frutiger World" panose="020B0603040304020203" pitchFamily="34" charset="0"/>
              </a:rPr>
              <a:t>just</a:t>
            </a:r>
            <a:r>
              <a:rPr sz="650" spc="-15" dirty="0">
                <a:solidFill>
                  <a:srgbClr val="231F20"/>
                </a:solidFill>
                <a:latin typeface="Neue Frutiger World" panose="020B0603040304020203" pitchFamily="34" charset="0"/>
                <a:cs typeface="Neue Frutiger World" panose="020B0603040304020203" pitchFamily="34" charset="0"/>
              </a:rPr>
              <a:t> </a:t>
            </a:r>
            <a:r>
              <a:rPr sz="650" spc="-5" dirty="0">
                <a:solidFill>
                  <a:srgbClr val="231F20"/>
                </a:solidFill>
                <a:latin typeface="Neue Frutiger World" panose="020B0603040304020203" pitchFamily="34" charset="0"/>
                <a:cs typeface="Neue Frutiger World" panose="020B0603040304020203" pitchFamily="34" charset="0"/>
              </a:rPr>
              <a:t>w</a:t>
            </a:r>
            <a:r>
              <a:rPr sz="650" dirty="0">
                <a:solidFill>
                  <a:srgbClr val="231F20"/>
                </a:solidFill>
                <a:latin typeface="Neue Frutiger World" panose="020B0603040304020203" pitchFamily="34" charset="0"/>
                <a:cs typeface="Neue Frutiger World" panose="020B0603040304020203" pitchFamily="34" charset="0"/>
              </a:rPr>
              <a:t>o</a:t>
            </a:r>
            <a:r>
              <a:rPr sz="650" spc="-35" dirty="0">
                <a:solidFill>
                  <a:srgbClr val="231F20"/>
                </a:solidFill>
                <a:latin typeface="Neue Frutiger World" panose="020B0603040304020203" pitchFamily="34" charset="0"/>
                <a:cs typeface="Neue Frutiger World" panose="020B0603040304020203" pitchFamily="34" charset="0"/>
              </a:rPr>
              <a:t>n</a:t>
            </a:r>
            <a:r>
              <a:rPr sz="650" dirty="0">
                <a:solidFill>
                  <a:srgbClr val="231F20"/>
                </a:solidFill>
                <a:latin typeface="Neue Frutiger World" panose="020B0603040304020203" pitchFamily="34" charset="0"/>
                <a:cs typeface="Neue Frutiger World" panose="020B0603040304020203" pitchFamily="34" charset="0"/>
              </a:rPr>
              <a:t>’t he</a:t>
            </a:r>
            <a:r>
              <a:rPr sz="650" spc="-5" dirty="0">
                <a:solidFill>
                  <a:srgbClr val="231F20"/>
                </a:solidFill>
                <a:latin typeface="Neue Frutiger World" panose="020B0603040304020203" pitchFamily="34" charset="0"/>
                <a:cs typeface="Neue Frutiger World" panose="020B0603040304020203" pitchFamily="34" charset="0"/>
              </a:rPr>
              <a:t>a</a:t>
            </a:r>
            <a:r>
              <a:rPr sz="650" spc="5" dirty="0">
                <a:solidFill>
                  <a:srgbClr val="231F20"/>
                </a:solidFill>
                <a:latin typeface="Neue Frutiger World" panose="020B0603040304020203" pitchFamily="34" charset="0"/>
                <a:cs typeface="Neue Frutiger World" panose="020B0603040304020203" pitchFamily="34" charset="0"/>
              </a:rPr>
              <a:t>l.</a:t>
            </a:r>
            <a:endParaRPr sz="650" dirty="0">
              <a:latin typeface="Neue Frutiger World" panose="020B0603040304020203" pitchFamily="34" charset="0"/>
              <a:cs typeface="Neue Frutiger World" panose="020B0603040304020203" pitchFamily="34" charset="0"/>
            </a:endParaRPr>
          </a:p>
        </p:txBody>
      </p:sp>
      <p:sp>
        <p:nvSpPr>
          <p:cNvPr id="12" name="object 10">
            <a:extLst>
              <a:ext uri="{FF2B5EF4-FFF2-40B4-BE49-F238E27FC236}">
                <a16:creationId xmlns:a16="http://schemas.microsoft.com/office/drawing/2014/main" id="{6DB9E5C5-0585-42D9-A62D-F91BC3113658}"/>
              </a:ext>
            </a:extLst>
          </p:cNvPr>
          <p:cNvSpPr txBox="1">
            <a:spLocks noChangeAspect="1"/>
          </p:cNvSpPr>
          <p:nvPr/>
        </p:nvSpPr>
        <p:spPr>
          <a:xfrm>
            <a:off x="8410554" y="3838022"/>
            <a:ext cx="501930" cy="448841"/>
          </a:xfrm>
          <a:prstGeom prst="rect">
            <a:avLst/>
          </a:prstGeom>
        </p:spPr>
        <p:txBody>
          <a:bodyPr vert="horz" wrap="square" lIns="0" tIns="12700" rIns="0" bIns="0" rtlCol="0">
            <a:spAutoFit/>
          </a:bodyPr>
          <a:lstStyle/>
          <a:p>
            <a:pPr marL="12699" marR="5079">
              <a:lnSpc>
                <a:spcPct val="109000"/>
              </a:lnSpc>
              <a:spcBef>
                <a:spcPts val="100"/>
              </a:spcBef>
            </a:pPr>
            <a:r>
              <a:rPr sz="650" spc="-20" dirty="0">
                <a:solidFill>
                  <a:srgbClr val="231F20"/>
                </a:solidFill>
                <a:latin typeface="Neue Frutiger World" panose="020B0603040304020203" pitchFamily="34" charset="0"/>
                <a:cs typeface="Neue Frutiger World" panose="020B0603040304020203" pitchFamily="34" charset="0"/>
              </a:rPr>
              <a:t>Or,</a:t>
            </a:r>
            <a:r>
              <a:rPr sz="650" spc="-15" dirty="0">
                <a:solidFill>
                  <a:srgbClr val="231F20"/>
                </a:solidFill>
                <a:latin typeface="Neue Frutiger World" panose="020B0603040304020203" pitchFamily="34" charset="0"/>
                <a:cs typeface="Neue Frutiger World" panose="020B0603040304020203" pitchFamily="34" charset="0"/>
              </a:rPr>
              <a:t> </a:t>
            </a:r>
            <a:r>
              <a:rPr sz="650" spc="-5" dirty="0">
                <a:solidFill>
                  <a:srgbClr val="231F20"/>
                </a:solidFill>
                <a:latin typeface="Neue Frutiger World" panose="020B0603040304020203" pitchFamily="34" charset="0"/>
                <a:cs typeface="Neue Frutiger World" panose="020B0603040304020203" pitchFamily="34" charset="0"/>
              </a:rPr>
              <a:t>from</a:t>
            </a:r>
            <a:r>
              <a:rPr sz="650" spc="-10" dirty="0">
                <a:solidFill>
                  <a:srgbClr val="231F20"/>
                </a:solidFill>
                <a:latin typeface="Neue Frutiger World" panose="020B0603040304020203" pitchFamily="34" charset="0"/>
                <a:cs typeface="Neue Frutiger World" panose="020B0603040304020203" pitchFamily="34" charset="0"/>
              </a:rPr>
              <a:t> </a:t>
            </a:r>
            <a:r>
              <a:rPr sz="650" dirty="0">
                <a:solidFill>
                  <a:srgbClr val="231F20"/>
                </a:solidFill>
                <a:latin typeface="Neue Frutiger World" panose="020B0603040304020203" pitchFamily="34" charset="0"/>
                <a:cs typeface="Neue Frutiger World" panose="020B0603040304020203" pitchFamily="34" charset="0"/>
              </a:rPr>
              <a:t>any</a:t>
            </a:r>
            <a:r>
              <a:rPr lang="en-GB" sz="650" dirty="0">
                <a:solidFill>
                  <a:srgbClr val="231F20"/>
                </a:solidFill>
                <a:latin typeface="Neue Frutiger World" panose="020B0603040304020203" pitchFamily="34" charset="0"/>
                <a:cs typeface="Neue Frutiger World" panose="020B0603040304020203" pitchFamily="34" charset="0"/>
              </a:rPr>
              <a:t> </a:t>
            </a:r>
            <a:r>
              <a:rPr sz="650" spc="-5" dirty="0">
                <a:solidFill>
                  <a:srgbClr val="231F20"/>
                </a:solidFill>
                <a:latin typeface="Neue Frutiger World" panose="020B0603040304020203" pitchFamily="34" charset="0"/>
                <a:cs typeface="Neue Frutiger World" panose="020B0603040304020203" pitchFamily="34" charset="0"/>
              </a:rPr>
              <a:t>other</a:t>
            </a:r>
            <a:r>
              <a:rPr sz="650" spc="-10" dirty="0">
                <a:solidFill>
                  <a:srgbClr val="231F20"/>
                </a:solidFill>
                <a:latin typeface="Neue Frutiger World" panose="020B0603040304020203" pitchFamily="34" charset="0"/>
                <a:cs typeface="Neue Frutiger World" panose="020B0603040304020203" pitchFamily="34" charset="0"/>
              </a:rPr>
              <a:t> </a:t>
            </a:r>
            <a:r>
              <a:rPr sz="650" spc="-5" dirty="0">
                <a:solidFill>
                  <a:srgbClr val="231F20"/>
                </a:solidFill>
                <a:latin typeface="Neue Frutiger World" panose="020B0603040304020203" pitchFamily="34" charset="0"/>
                <a:cs typeface="Neue Frutiger World" panose="020B0603040304020203" pitchFamily="34" charset="0"/>
              </a:rPr>
              <a:t>in</a:t>
            </a:r>
            <a:r>
              <a:rPr sz="650" spc="-20" dirty="0">
                <a:solidFill>
                  <a:srgbClr val="231F20"/>
                </a:solidFill>
                <a:latin typeface="Neue Frutiger World" panose="020B0603040304020203" pitchFamily="34" charset="0"/>
                <a:cs typeface="Neue Frutiger World" panose="020B0603040304020203" pitchFamily="34" charset="0"/>
              </a:rPr>
              <a:t>f</a:t>
            </a:r>
            <a:r>
              <a:rPr sz="650" spc="-5" dirty="0">
                <a:solidFill>
                  <a:srgbClr val="231F20"/>
                </a:solidFill>
                <a:latin typeface="Neue Frutiger World" panose="020B0603040304020203" pitchFamily="34" charset="0"/>
                <a:cs typeface="Neue Frutiger World" panose="020B0603040304020203" pitchFamily="34" charset="0"/>
              </a:rPr>
              <a:t>ection</a:t>
            </a:r>
            <a:r>
              <a:rPr lang="en-GB" sz="650" spc="-5" dirty="0">
                <a:solidFill>
                  <a:srgbClr val="231F20"/>
                </a:solidFill>
                <a:latin typeface="Neue Frutiger World" panose="020B0603040304020203" pitchFamily="34" charset="0"/>
                <a:cs typeface="Neue Frutiger World" panose="020B0603040304020203" pitchFamily="34" charset="0"/>
              </a:rPr>
              <a:t> </a:t>
            </a:r>
            <a:r>
              <a:rPr sz="650" spc="-5" dirty="0">
                <a:solidFill>
                  <a:srgbClr val="231F20"/>
                </a:solidFill>
                <a:latin typeface="Neue Frutiger World" panose="020B0603040304020203" pitchFamily="34" charset="0"/>
                <a:cs typeface="Neue Frutiger World" panose="020B0603040304020203" pitchFamily="34" charset="0"/>
              </a:rPr>
              <a:t>in</a:t>
            </a:r>
            <a:r>
              <a:rPr sz="650" spc="-15" dirty="0">
                <a:solidFill>
                  <a:srgbClr val="231F20"/>
                </a:solidFill>
                <a:latin typeface="Neue Frutiger World" panose="020B0603040304020203" pitchFamily="34" charset="0"/>
                <a:cs typeface="Neue Frutiger World" panose="020B0603040304020203" pitchFamily="34" charset="0"/>
              </a:rPr>
              <a:t> </a:t>
            </a:r>
            <a:r>
              <a:rPr sz="650" spc="-5" dirty="0">
                <a:solidFill>
                  <a:srgbClr val="231F20"/>
                </a:solidFill>
                <a:latin typeface="Neue Frutiger World" panose="020B0603040304020203" pitchFamily="34" charset="0"/>
                <a:cs typeface="Neue Frutiger World" panose="020B0603040304020203" pitchFamily="34" charset="0"/>
              </a:rPr>
              <a:t>the</a:t>
            </a:r>
            <a:r>
              <a:rPr sz="650" spc="-10" dirty="0">
                <a:solidFill>
                  <a:srgbClr val="231F20"/>
                </a:solidFill>
                <a:latin typeface="Neue Frutiger World" panose="020B0603040304020203" pitchFamily="34" charset="0"/>
                <a:cs typeface="Neue Frutiger World" panose="020B0603040304020203" pitchFamily="34" charset="0"/>
              </a:rPr>
              <a:t> </a:t>
            </a:r>
            <a:r>
              <a:rPr sz="650" spc="-5" dirty="0">
                <a:solidFill>
                  <a:srgbClr val="231F20"/>
                </a:solidFill>
                <a:latin typeface="Neue Frutiger World" panose="020B0603040304020203" pitchFamily="34" charset="0"/>
                <a:cs typeface="Neue Frutiger World" panose="020B0603040304020203" pitchFamily="34" charset="0"/>
              </a:rPr>
              <a:t>body.</a:t>
            </a:r>
            <a:endParaRPr sz="650" dirty="0">
              <a:latin typeface="Neue Frutiger World" panose="020B0603040304020203" pitchFamily="34" charset="0"/>
              <a:cs typeface="Neue Frutiger World" panose="020B0603040304020203" pitchFamily="34" charset="0"/>
            </a:endParaRPr>
          </a:p>
        </p:txBody>
      </p:sp>
      <p:sp>
        <p:nvSpPr>
          <p:cNvPr id="13" name="TextBox 12">
            <a:extLst>
              <a:ext uri="{FF2B5EF4-FFF2-40B4-BE49-F238E27FC236}">
                <a16:creationId xmlns:a16="http://schemas.microsoft.com/office/drawing/2014/main" id="{673F626A-B04A-4702-A80C-A0BBE24FFCA9}"/>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3" action="ppaction://hlinksldjump"/>
            <a:extLst>
              <a:ext uri="{FF2B5EF4-FFF2-40B4-BE49-F238E27FC236}">
                <a16:creationId xmlns:a16="http://schemas.microsoft.com/office/drawing/2014/main" id="{94330F75-F15F-41CA-9C04-6C3484C0C023}"/>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4" action="ppaction://hlinksldjump"/>
            <a:extLst>
              <a:ext uri="{FF2B5EF4-FFF2-40B4-BE49-F238E27FC236}">
                <a16:creationId xmlns:a16="http://schemas.microsoft.com/office/drawing/2014/main" id="{C58A2E40-3E2B-499F-BAF0-52D626364229}"/>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5" action="ppaction://hlinksldjump"/>
            <a:extLst>
              <a:ext uri="{FF2B5EF4-FFF2-40B4-BE49-F238E27FC236}">
                <a16:creationId xmlns:a16="http://schemas.microsoft.com/office/drawing/2014/main" id="{4EBFEBAB-7F90-4A64-940B-D531C80CA42B}"/>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6" action="ppaction://hlinksldjump"/>
            <a:extLst>
              <a:ext uri="{FF2B5EF4-FFF2-40B4-BE49-F238E27FC236}">
                <a16:creationId xmlns:a16="http://schemas.microsoft.com/office/drawing/2014/main" id="{5F567D36-B501-40D0-8ED3-F33FDF78F6D2}"/>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7" action="ppaction://hlinksldjump"/>
            <a:extLst>
              <a:ext uri="{FF2B5EF4-FFF2-40B4-BE49-F238E27FC236}">
                <a16:creationId xmlns:a16="http://schemas.microsoft.com/office/drawing/2014/main" id="{D06B243A-DC4D-4605-A4C0-9B10F449E7F6}"/>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8" action="ppaction://hlinksldjump"/>
            <a:extLst>
              <a:ext uri="{FF2B5EF4-FFF2-40B4-BE49-F238E27FC236}">
                <a16:creationId xmlns:a16="http://schemas.microsoft.com/office/drawing/2014/main" id="{7748F512-2935-4B95-ABE1-8E42867927D6}"/>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9" action="ppaction://hlinksldjump"/>
            <a:extLst>
              <a:ext uri="{FF2B5EF4-FFF2-40B4-BE49-F238E27FC236}">
                <a16:creationId xmlns:a16="http://schemas.microsoft.com/office/drawing/2014/main" id="{AFC4B0BE-2615-4733-804A-81D68BB8AF50}"/>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0" action="ppaction://hlinksldjump"/>
            <a:extLst>
              <a:ext uri="{FF2B5EF4-FFF2-40B4-BE49-F238E27FC236}">
                <a16:creationId xmlns:a16="http://schemas.microsoft.com/office/drawing/2014/main" id="{EF38D368-F1CF-41B9-9788-CBD9F7F74D9C}"/>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extLst>
              <a:ext uri="{FF2B5EF4-FFF2-40B4-BE49-F238E27FC236}">
                <a16:creationId xmlns:a16="http://schemas.microsoft.com/office/drawing/2014/main" id="{A3EDB7BA-579B-416A-B35E-A43275B51B04}"/>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1" action="ppaction://hlinksldjump"/>
            <a:extLst>
              <a:ext uri="{FF2B5EF4-FFF2-40B4-BE49-F238E27FC236}">
                <a16:creationId xmlns:a16="http://schemas.microsoft.com/office/drawing/2014/main" id="{EEFB800A-7ADF-4C83-B334-B42181ECBB92}"/>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2" action="ppaction://hlinksldjump"/>
            <a:extLst>
              <a:ext uri="{FF2B5EF4-FFF2-40B4-BE49-F238E27FC236}">
                <a16:creationId xmlns:a16="http://schemas.microsoft.com/office/drawing/2014/main" id="{2B201DDE-04F9-4994-8A37-DB171CF346B3}"/>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3" action="ppaction://hlinksldjump"/>
            <a:extLst>
              <a:ext uri="{FF2B5EF4-FFF2-40B4-BE49-F238E27FC236}">
                <a16:creationId xmlns:a16="http://schemas.microsoft.com/office/drawing/2014/main" id="{8185FE56-A01D-4CF3-9DD7-45C4C9D7BD7F}"/>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4" action="ppaction://hlinksldjump"/>
            <a:extLst>
              <a:ext uri="{FF2B5EF4-FFF2-40B4-BE49-F238E27FC236}">
                <a16:creationId xmlns:a16="http://schemas.microsoft.com/office/drawing/2014/main" id="{9ED9A493-C782-4592-ACC0-25EC01BAC188}"/>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5" action="ppaction://hlinksldjump"/>
            <a:extLst>
              <a:ext uri="{FF2B5EF4-FFF2-40B4-BE49-F238E27FC236}">
                <a16:creationId xmlns:a16="http://schemas.microsoft.com/office/drawing/2014/main" id="{C8B446B3-095C-4032-BC91-386A943AC289}"/>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6" action="ppaction://hlinksldjump"/>
            <a:extLst>
              <a:ext uri="{FF2B5EF4-FFF2-40B4-BE49-F238E27FC236}">
                <a16:creationId xmlns:a16="http://schemas.microsoft.com/office/drawing/2014/main" id="{4A62BFAE-D018-4328-91BD-2C9B61A13504}"/>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17" action="ppaction://hlinksldjump"/>
            <a:extLst>
              <a:ext uri="{FF2B5EF4-FFF2-40B4-BE49-F238E27FC236}">
                <a16:creationId xmlns:a16="http://schemas.microsoft.com/office/drawing/2014/main" id="{D3F32DB9-D38E-42A1-A19F-66B084201B03}"/>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18" action="ppaction://hlinksldjump"/>
            <a:extLst>
              <a:ext uri="{FF2B5EF4-FFF2-40B4-BE49-F238E27FC236}">
                <a16:creationId xmlns:a16="http://schemas.microsoft.com/office/drawing/2014/main" id="{90C19DB0-3494-45C9-89EA-EE51D0DBFC7C}"/>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19" action="ppaction://hlinksldjump"/>
            <a:extLst>
              <a:ext uri="{FF2B5EF4-FFF2-40B4-BE49-F238E27FC236}">
                <a16:creationId xmlns:a16="http://schemas.microsoft.com/office/drawing/2014/main" id="{0EE6F071-58C3-4144-A07A-B89F2CDFB126}"/>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20" action="ppaction://hlinksldjump"/>
            <a:extLst>
              <a:ext uri="{FF2B5EF4-FFF2-40B4-BE49-F238E27FC236}">
                <a16:creationId xmlns:a16="http://schemas.microsoft.com/office/drawing/2014/main" id="{BF34D43E-19FE-4636-80C4-C6357378A634}"/>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1" action="ppaction://hlinksldjump"/>
            <a:extLst>
              <a:ext uri="{FF2B5EF4-FFF2-40B4-BE49-F238E27FC236}">
                <a16:creationId xmlns:a16="http://schemas.microsoft.com/office/drawing/2014/main" id="{2513A696-B2EA-4813-B1C1-6CC105196310}"/>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2" action="ppaction://hlinksldjump"/>
            <a:extLst>
              <a:ext uri="{FF2B5EF4-FFF2-40B4-BE49-F238E27FC236}">
                <a16:creationId xmlns:a16="http://schemas.microsoft.com/office/drawing/2014/main" id="{CE7CBFB5-0A1C-4FBD-8A61-E9C2F8930CB6}"/>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23" action="ppaction://hlinksldjump"/>
            <a:extLst>
              <a:ext uri="{FF2B5EF4-FFF2-40B4-BE49-F238E27FC236}">
                <a16:creationId xmlns:a16="http://schemas.microsoft.com/office/drawing/2014/main" id="{60AE4422-DFCF-4138-986A-E87787691D56}"/>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extLst>
              <a:ext uri="{FF2B5EF4-FFF2-40B4-BE49-F238E27FC236}">
                <a16:creationId xmlns:a16="http://schemas.microsoft.com/office/drawing/2014/main" id="{45ACA930-7988-4852-9E6F-F77585AAA316}"/>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24" action="ppaction://hlinksldjump"/>
            <a:extLst>
              <a:ext uri="{FF2B5EF4-FFF2-40B4-BE49-F238E27FC236}">
                <a16:creationId xmlns:a16="http://schemas.microsoft.com/office/drawing/2014/main" id="{13D0DB50-7A5C-4F35-B150-F3F0028FA05F}"/>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25" action="ppaction://hlinksldjump"/>
            <a:extLst>
              <a:ext uri="{FF2B5EF4-FFF2-40B4-BE49-F238E27FC236}">
                <a16:creationId xmlns:a16="http://schemas.microsoft.com/office/drawing/2014/main" id="{215EBA47-46CB-432E-927A-B58A6CB13D83}"/>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26" action="ppaction://hlinksldjump"/>
            <a:extLst>
              <a:ext uri="{FF2B5EF4-FFF2-40B4-BE49-F238E27FC236}">
                <a16:creationId xmlns:a16="http://schemas.microsoft.com/office/drawing/2014/main" id="{269C60A7-FEC5-40C8-A096-42EA1AF7849B}"/>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extLst>
              <a:ext uri="{FF2B5EF4-FFF2-40B4-BE49-F238E27FC236}">
                <a16:creationId xmlns:a16="http://schemas.microsoft.com/office/drawing/2014/main" id="{79B2749C-9815-43B4-A95D-52893AAE5574}"/>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41" name="Table 40">
            <a:extLst>
              <a:ext uri="{FF2B5EF4-FFF2-40B4-BE49-F238E27FC236}">
                <a16:creationId xmlns:a16="http://schemas.microsoft.com/office/drawing/2014/main" id="{BFD06CA8-E4C7-4996-84DF-37C63BB10195}"/>
              </a:ext>
            </a:extLst>
          </p:cNvPr>
          <p:cNvGraphicFramePr>
            <a:graphicFrameLocks noGrp="1"/>
          </p:cNvGraphicFramePr>
          <p:nvPr>
            <p:extLst>
              <p:ext uri="{D42A27DB-BD31-4B8C-83A1-F6EECF244321}">
                <p14:modId xmlns:p14="http://schemas.microsoft.com/office/powerpoint/2010/main" val="932766349"/>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42" name="Rectangle 41">
            <a:hlinkClick r:id="rId3" action="ppaction://hlinksldjump"/>
            <a:extLst>
              <a:ext uri="{FF2B5EF4-FFF2-40B4-BE49-F238E27FC236}">
                <a16:creationId xmlns:a16="http://schemas.microsoft.com/office/drawing/2014/main" id="{3CD8E0C1-D2B1-4353-A3DA-B5274C59299F}"/>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4" action="ppaction://hlinksldjump"/>
            <a:extLst>
              <a:ext uri="{FF2B5EF4-FFF2-40B4-BE49-F238E27FC236}">
                <a16:creationId xmlns:a16="http://schemas.microsoft.com/office/drawing/2014/main" id="{4CA5B499-4DCB-4499-A6A6-824B35C92EAE}"/>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5" action="ppaction://hlinksldjump"/>
            <a:extLst>
              <a:ext uri="{FF2B5EF4-FFF2-40B4-BE49-F238E27FC236}">
                <a16:creationId xmlns:a16="http://schemas.microsoft.com/office/drawing/2014/main" id="{95261B18-CBF6-43B7-B500-2A3B02D35F8E}"/>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6" action="ppaction://hlinksldjump"/>
            <a:extLst>
              <a:ext uri="{FF2B5EF4-FFF2-40B4-BE49-F238E27FC236}">
                <a16:creationId xmlns:a16="http://schemas.microsoft.com/office/drawing/2014/main" id="{CEAEB3C0-F94D-4B5E-B59A-4D070FA9307D}"/>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7" action="ppaction://hlinksldjump"/>
            <a:extLst>
              <a:ext uri="{FF2B5EF4-FFF2-40B4-BE49-F238E27FC236}">
                <a16:creationId xmlns:a16="http://schemas.microsoft.com/office/drawing/2014/main" id="{52D341C5-DCE8-45B0-9013-F7F788843DAA}"/>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8" action="ppaction://hlinksldjump"/>
            <a:extLst>
              <a:ext uri="{FF2B5EF4-FFF2-40B4-BE49-F238E27FC236}">
                <a16:creationId xmlns:a16="http://schemas.microsoft.com/office/drawing/2014/main" id="{7CC620C2-4F67-4899-B640-B06AA5808C2A}"/>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9" action="ppaction://hlinksldjump"/>
            <a:extLst>
              <a:ext uri="{FF2B5EF4-FFF2-40B4-BE49-F238E27FC236}">
                <a16:creationId xmlns:a16="http://schemas.microsoft.com/office/drawing/2014/main" id="{F7597CE2-00B4-493B-BF5B-FCA102CB5486}"/>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0" action="ppaction://hlinksldjump"/>
            <a:extLst>
              <a:ext uri="{FF2B5EF4-FFF2-40B4-BE49-F238E27FC236}">
                <a16:creationId xmlns:a16="http://schemas.microsoft.com/office/drawing/2014/main" id="{0885C618-B81F-45DB-88AB-BC95C8E3C9E4}"/>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extLst>
              <a:ext uri="{FF2B5EF4-FFF2-40B4-BE49-F238E27FC236}">
                <a16:creationId xmlns:a16="http://schemas.microsoft.com/office/drawing/2014/main" id="{BF616E45-DA4F-47BD-91D0-0BFC2D035958}"/>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1" action="ppaction://hlinksldjump"/>
            <a:extLst>
              <a:ext uri="{FF2B5EF4-FFF2-40B4-BE49-F238E27FC236}">
                <a16:creationId xmlns:a16="http://schemas.microsoft.com/office/drawing/2014/main" id="{B4539DF4-E957-4710-ADCE-C63979669C3A}"/>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2" action="ppaction://hlinksldjump"/>
            <a:extLst>
              <a:ext uri="{FF2B5EF4-FFF2-40B4-BE49-F238E27FC236}">
                <a16:creationId xmlns:a16="http://schemas.microsoft.com/office/drawing/2014/main" id="{81AD2CC4-FEF8-4E28-BE67-02C8BFE5C379}"/>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3" action="ppaction://hlinksldjump"/>
            <a:extLst>
              <a:ext uri="{FF2B5EF4-FFF2-40B4-BE49-F238E27FC236}">
                <a16:creationId xmlns:a16="http://schemas.microsoft.com/office/drawing/2014/main" id="{3C63CD36-C989-4135-8A89-5DA2343ECBCE}"/>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4" action="ppaction://hlinksldjump"/>
            <a:extLst>
              <a:ext uri="{FF2B5EF4-FFF2-40B4-BE49-F238E27FC236}">
                <a16:creationId xmlns:a16="http://schemas.microsoft.com/office/drawing/2014/main" id="{F26B18E9-F744-4FDA-BCB8-AFAEAABC2004}"/>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5" action="ppaction://hlinksldjump"/>
            <a:extLst>
              <a:ext uri="{FF2B5EF4-FFF2-40B4-BE49-F238E27FC236}">
                <a16:creationId xmlns:a16="http://schemas.microsoft.com/office/drawing/2014/main" id="{27C34EFF-0047-4A26-A59F-83EC64B4E694}"/>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6" action="ppaction://hlinksldjump"/>
            <a:extLst>
              <a:ext uri="{FF2B5EF4-FFF2-40B4-BE49-F238E27FC236}">
                <a16:creationId xmlns:a16="http://schemas.microsoft.com/office/drawing/2014/main" id="{3AAB9959-D942-4760-A9BD-F52162E19600}"/>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7" action="ppaction://hlinksldjump"/>
            <a:extLst>
              <a:ext uri="{FF2B5EF4-FFF2-40B4-BE49-F238E27FC236}">
                <a16:creationId xmlns:a16="http://schemas.microsoft.com/office/drawing/2014/main" id="{5539222D-7E35-42F8-9A76-F52E0570D756}"/>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18" action="ppaction://hlinksldjump"/>
            <a:extLst>
              <a:ext uri="{FF2B5EF4-FFF2-40B4-BE49-F238E27FC236}">
                <a16:creationId xmlns:a16="http://schemas.microsoft.com/office/drawing/2014/main" id="{4C239EC2-497E-4013-94A4-86E5D0A64F4D}"/>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19" action="ppaction://hlinksldjump"/>
            <a:extLst>
              <a:ext uri="{FF2B5EF4-FFF2-40B4-BE49-F238E27FC236}">
                <a16:creationId xmlns:a16="http://schemas.microsoft.com/office/drawing/2014/main" id="{5D73CA26-C2B9-46EF-AF2F-A7BDEE1BB23F}"/>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20" action="ppaction://hlinksldjump"/>
            <a:extLst>
              <a:ext uri="{FF2B5EF4-FFF2-40B4-BE49-F238E27FC236}">
                <a16:creationId xmlns:a16="http://schemas.microsoft.com/office/drawing/2014/main" id="{33E094CB-E89D-47F9-857B-35BE45215A71}"/>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1" action="ppaction://hlinksldjump"/>
            <a:extLst>
              <a:ext uri="{FF2B5EF4-FFF2-40B4-BE49-F238E27FC236}">
                <a16:creationId xmlns:a16="http://schemas.microsoft.com/office/drawing/2014/main" id="{A8B0AA6E-E0BE-4D5F-8B48-8F8559C4072D}"/>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2" action="ppaction://hlinksldjump"/>
            <a:extLst>
              <a:ext uri="{FF2B5EF4-FFF2-40B4-BE49-F238E27FC236}">
                <a16:creationId xmlns:a16="http://schemas.microsoft.com/office/drawing/2014/main" id="{8A9EA3B8-E4C9-4508-B47F-E4EECB1BC350}"/>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23" action="ppaction://hlinksldjump"/>
            <a:extLst>
              <a:ext uri="{FF2B5EF4-FFF2-40B4-BE49-F238E27FC236}">
                <a16:creationId xmlns:a16="http://schemas.microsoft.com/office/drawing/2014/main" id="{0DA1C76B-7A4D-4A30-8C39-88AB1D9CA6AC}"/>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extLst>
              <a:ext uri="{FF2B5EF4-FFF2-40B4-BE49-F238E27FC236}">
                <a16:creationId xmlns:a16="http://schemas.microsoft.com/office/drawing/2014/main" id="{10FB84AB-0202-4FBC-A45E-1D4F90F8E7CE}"/>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hlinkClick r:id="rId24" action="ppaction://hlinksldjump"/>
            <a:extLst>
              <a:ext uri="{FF2B5EF4-FFF2-40B4-BE49-F238E27FC236}">
                <a16:creationId xmlns:a16="http://schemas.microsoft.com/office/drawing/2014/main" id="{74B46A02-F179-42C8-B4B1-DA442C15EC73}"/>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25" action="ppaction://hlinksldjump"/>
            <a:extLst>
              <a:ext uri="{FF2B5EF4-FFF2-40B4-BE49-F238E27FC236}">
                <a16:creationId xmlns:a16="http://schemas.microsoft.com/office/drawing/2014/main" id="{E1602130-0582-41BA-9288-54E43A886014}"/>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26" action="ppaction://hlinksldjump"/>
            <a:extLst>
              <a:ext uri="{FF2B5EF4-FFF2-40B4-BE49-F238E27FC236}">
                <a16:creationId xmlns:a16="http://schemas.microsoft.com/office/drawing/2014/main" id="{4E98F8F5-A401-4172-9C15-12ECA765A9C9}"/>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19189957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83364-C340-4E2A-BD66-11124C5A4054}"/>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Abandoned leads and delayed </a:t>
            </a:r>
            <a:r>
              <a:rPr lang="en-GB" dirty="0">
                <a:latin typeface="Neue Frutiger World" panose="020B0603040304020203" pitchFamily="34" charset="0"/>
                <a:cs typeface="Neue Frutiger World" panose="020B0603040304020203" pitchFamily="34" charset="0"/>
              </a:rPr>
              <a:t>e</a:t>
            </a:r>
            <a:r>
              <a:rPr lang="en-GB" noProof="0" dirty="0" err="1">
                <a:latin typeface="Neue Frutiger World" panose="020B0603040304020203" pitchFamily="34" charset="0"/>
                <a:cs typeface="Neue Frutiger World" panose="020B0603040304020203" pitchFamily="34" charset="0"/>
              </a:rPr>
              <a:t>xtraction</a:t>
            </a:r>
            <a:endParaRPr lang="en-GB" noProof="0" dirty="0">
              <a:latin typeface="Neue Frutiger World" panose="020B0603040304020203" pitchFamily="34" charset="0"/>
              <a:cs typeface="Neue Frutiger World" panose="020B0603040304020203" pitchFamily="34" charset="0"/>
            </a:endParaRPr>
          </a:p>
        </p:txBody>
      </p:sp>
      <p:sp>
        <p:nvSpPr>
          <p:cNvPr id="3" name="Footer Placeholder 2">
            <a:extLst>
              <a:ext uri="{FF2B5EF4-FFF2-40B4-BE49-F238E27FC236}">
                <a16:creationId xmlns:a16="http://schemas.microsoft.com/office/drawing/2014/main" id="{F9C356EC-ECB2-4EB8-B7ED-75325993BBC1}"/>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BDFBF521-8131-49B3-9EFF-8AB51ED009EF}"/>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17</a:t>
            </a:fld>
            <a:endParaRPr lang="en-US" noProof="0" dirty="0">
              <a:latin typeface="Neue Frutiger World" panose="020B0603040304020203" pitchFamily="34" charset="0"/>
              <a:cs typeface="Neue Frutiger World" panose="020B0603040304020203" pitchFamily="34" charset="0"/>
            </a:endParaRPr>
          </a:p>
        </p:txBody>
      </p:sp>
      <p:sp>
        <p:nvSpPr>
          <p:cNvPr id="5" name="Text Placeholder 4">
            <a:extLst>
              <a:ext uri="{FF2B5EF4-FFF2-40B4-BE49-F238E27FC236}">
                <a16:creationId xmlns:a16="http://schemas.microsoft.com/office/drawing/2014/main" id="{74C8C2AF-93B2-45D5-9C17-54DB9CEE5796}"/>
              </a:ext>
            </a:extLst>
          </p:cNvPr>
          <p:cNvSpPr>
            <a:spLocks noGrp="1"/>
          </p:cNvSpPr>
          <p:nvPr>
            <p:ph type="body" sz="quarter" idx="14"/>
          </p:nvPr>
        </p:nvSpPr>
        <p:spPr>
          <a:xfrm>
            <a:off x="1547664" y="843558"/>
            <a:ext cx="5256584" cy="3852505"/>
          </a:xfrm>
        </p:spPr>
        <p:txBody>
          <a:bodyPr/>
          <a:lstStyle/>
          <a:p>
            <a:pPr marL="0" indent="0">
              <a:spcBef>
                <a:spcPts val="590"/>
              </a:spcBef>
              <a:buNone/>
              <a:defRPr/>
            </a:pPr>
            <a:r>
              <a:rPr lang="en-GB" sz="900" spc="-15" noProof="0" dirty="0">
                <a:latin typeface="Neue Frutiger World" panose="020B0603040304020203" pitchFamily="34" charset="0"/>
                <a:cs typeface="Neue Frutiger World" panose="020B0603040304020203" pitchFamily="34" charset="0"/>
              </a:rPr>
              <a:t>The decision to abandon or extract a lead can be complex and must be made on an individual basis weighing all known risks and benefits. The increased risk of infection, and increased risk of extraction if an infection occurs, must be considered in this decision.</a:t>
            </a:r>
          </a:p>
          <a:p>
            <a:pPr marL="0" indent="0">
              <a:spcBef>
                <a:spcPts val="590"/>
              </a:spcBef>
              <a:buNone/>
              <a:defRPr/>
            </a:pPr>
            <a:r>
              <a:rPr lang="en-GB" sz="900" spc="-15" noProof="0" dirty="0">
                <a:latin typeface="Neue Frutiger World" panose="020B0603040304020203" pitchFamily="34" charset="0"/>
                <a:cs typeface="Neue Frutiger World" panose="020B0603040304020203" pitchFamily="34" charset="0"/>
              </a:rPr>
              <a:t>Delayed, inappropriate, or incomplete therapy can result in significant morbidity and mortality for patients with CIED infection.</a:t>
            </a:r>
            <a:r>
              <a:rPr lang="en-GB" sz="900" spc="-15" baseline="30000" noProof="0" dirty="0">
                <a:latin typeface="Neue Frutiger World" panose="020B0603040304020203" pitchFamily="34" charset="0"/>
                <a:cs typeface="Neue Frutiger World" panose="020B0603040304020203" pitchFamily="34" charset="0"/>
              </a:rPr>
              <a:t>28</a:t>
            </a:r>
            <a:r>
              <a:rPr lang="en-GB" sz="900" spc="-15" noProof="0" dirty="0">
                <a:latin typeface="Neue Frutiger World" panose="020B0603040304020203" pitchFamily="34" charset="0"/>
                <a:cs typeface="Neue Frutiger World" panose="020B0603040304020203" pitchFamily="34" charset="0"/>
              </a:rPr>
              <a:t> </a:t>
            </a:r>
            <a:endParaRPr lang="en-GB" sz="900" spc="-15" noProof="0" dirty="0">
              <a:solidFill>
                <a:srgbClr val="FF0000"/>
              </a:solidFill>
              <a:latin typeface="Neue Frutiger World" panose="020B0603040304020203" pitchFamily="34" charset="0"/>
              <a:cs typeface="Neue Frutiger World" panose="020B0603040304020203" pitchFamily="34" charset="0"/>
            </a:endParaRPr>
          </a:p>
          <a:p>
            <a:pPr marL="0" indent="0">
              <a:spcBef>
                <a:spcPts val="590"/>
              </a:spcBef>
              <a:buNone/>
              <a:defRPr/>
            </a:pPr>
            <a:r>
              <a:rPr lang="en-GB" sz="900" spc="-15" noProof="0" dirty="0">
                <a:latin typeface="Neue Frutiger World" panose="020B0603040304020203" pitchFamily="34" charset="0"/>
                <a:cs typeface="Neue Frutiger World" panose="020B0603040304020203" pitchFamily="34" charset="0"/>
              </a:rPr>
              <a:t>Mortality associated with a delay in device removal is significantly higher [than fatalities due to extraction]. Therefore, early and complete device removal was associated with improved outcomes.</a:t>
            </a:r>
            <a:r>
              <a:rPr lang="en-GB" sz="900" spc="-15" baseline="30000" noProof="0" dirty="0">
                <a:latin typeface="Neue Frutiger World" panose="020B0603040304020203" pitchFamily="34" charset="0"/>
                <a:cs typeface="Neue Frutiger World" panose="020B0603040304020203" pitchFamily="34" charset="0"/>
              </a:rPr>
              <a:t>17</a:t>
            </a:r>
            <a:endParaRPr lang="en-GB" sz="900" spc="-15" noProof="0" dirty="0">
              <a:latin typeface="Neue Frutiger World" panose="020B0603040304020203" pitchFamily="34" charset="0"/>
              <a:cs typeface="Neue Frutiger World" panose="020B0603040304020203" pitchFamily="34" charset="0"/>
            </a:endParaRPr>
          </a:p>
          <a:p>
            <a:pPr marL="38097">
              <a:spcBef>
                <a:spcPts val="590"/>
              </a:spcBef>
              <a:defRPr/>
            </a:pPr>
            <a:endParaRPr lang="en-GB" sz="900" spc="-15" noProof="0" dirty="0">
              <a:latin typeface="Neue Frutiger World" panose="020B0603040304020203" pitchFamily="34" charset="0"/>
              <a:cs typeface="Neue Frutiger World" panose="020B0603040304020203" pitchFamily="34" charset="0"/>
            </a:endParaRPr>
          </a:p>
          <a:p>
            <a:pPr marL="209533" indent="-171436">
              <a:spcBef>
                <a:spcPts val="590"/>
              </a:spcBef>
              <a:buFont typeface="Arial" panose="020B0604020202020204" pitchFamily="34" charset="0"/>
              <a:buChar char="•"/>
              <a:defRPr/>
            </a:pPr>
            <a:r>
              <a:rPr lang="en-GB" sz="900" spc="-15" noProof="0" dirty="0">
                <a:latin typeface="Neue Frutiger World" panose="020B0603040304020203" pitchFamily="34" charset="0"/>
                <a:cs typeface="Neue Frutiger World" panose="020B0603040304020203" pitchFamily="34" charset="0"/>
              </a:rPr>
              <a:t>In one study, in multivariate analysis, antimicrobial therapy without device removal was associated with a 7-fold increase in 30-day mortality.</a:t>
            </a:r>
            <a:r>
              <a:rPr lang="en-GB" sz="900" spc="-15" baseline="30000" noProof="0" dirty="0">
                <a:latin typeface="Neue Frutiger World" panose="020B0603040304020203" pitchFamily="34" charset="0"/>
                <a:cs typeface="Neue Frutiger World" panose="020B0603040304020203" pitchFamily="34" charset="0"/>
              </a:rPr>
              <a:t>27</a:t>
            </a:r>
            <a:endParaRPr lang="en-GB" sz="900" spc="-15" noProof="0" dirty="0">
              <a:latin typeface="Neue Frutiger World" panose="020B0603040304020203" pitchFamily="34" charset="0"/>
              <a:cs typeface="Neue Frutiger World" panose="020B0603040304020203" pitchFamily="34" charset="0"/>
            </a:endParaRPr>
          </a:p>
          <a:p>
            <a:pPr marL="209533" indent="-171436">
              <a:spcBef>
                <a:spcPts val="590"/>
              </a:spcBef>
              <a:buFont typeface="Arial" panose="020B0604020202020204" pitchFamily="34" charset="0"/>
              <a:buChar char="•"/>
              <a:defRPr/>
            </a:pPr>
            <a:r>
              <a:rPr lang="en-GB" sz="900" spc="-15" noProof="0" dirty="0">
                <a:latin typeface="Neue Frutiger World" panose="020B0603040304020203" pitchFamily="34" charset="0"/>
                <a:cs typeface="Neue Frutiger World" panose="020B0603040304020203" pitchFamily="34" charset="0"/>
              </a:rPr>
              <a:t>Although device removal complications were associated with increased mortality at 30 days (HR 4.33, 95% CI 1.47 to 12.70) and at 1 year (HR 3.77, 95% CI 1.88 to 7.55), immediate device removal, when compared to delay in device removal in favour of initial conservative therapy with antimicrobials alone, and no device removal, was associated with a 3-fold decrease in 1-year mortality (HR 0.35, 95% CI 0.16 to 0.75).</a:t>
            </a:r>
          </a:p>
          <a:p>
            <a:pPr marL="0" indent="0">
              <a:buNone/>
            </a:pPr>
            <a:endParaRPr lang="en-GB" sz="900" noProof="0" dirty="0">
              <a:latin typeface="Neue Frutiger World" panose="020B0603040304020203" pitchFamily="34" charset="0"/>
              <a:cs typeface="Neue Frutiger World" panose="020B0603040304020203" pitchFamily="34" charset="0"/>
            </a:endParaRPr>
          </a:p>
        </p:txBody>
      </p:sp>
      <p:sp>
        <p:nvSpPr>
          <p:cNvPr id="6" name="TextBox 5">
            <a:extLst>
              <a:ext uri="{FF2B5EF4-FFF2-40B4-BE49-F238E27FC236}">
                <a16:creationId xmlns:a16="http://schemas.microsoft.com/office/drawing/2014/main" id="{D215976B-B8C7-48BA-9F83-C1037AFFB43B}"/>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7" name="Rectangle 6">
            <a:hlinkClick r:id="rId2" action="ppaction://hlinksldjump"/>
            <a:extLst>
              <a:ext uri="{FF2B5EF4-FFF2-40B4-BE49-F238E27FC236}">
                <a16:creationId xmlns:a16="http://schemas.microsoft.com/office/drawing/2014/main" id="{CB7054E5-4EB4-4153-BD6D-C911A20F1A3E}"/>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 name="Rectangle 7">
            <a:hlinkClick r:id="rId3" action="ppaction://hlinksldjump"/>
            <a:extLst>
              <a:ext uri="{FF2B5EF4-FFF2-40B4-BE49-F238E27FC236}">
                <a16:creationId xmlns:a16="http://schemas.microsoft.com/office/drawing/2014/main" id="{6658F412-753E-4F80-A8BD-BDE3D15BF24C}"/>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 name="Rectangle 8">
            <a:hlinkClick r:id="rId4" action="ppaction://hlinksldjump"/>
            <a:extLst>
              <a:ext uri="{FF2B5EF4-FFF2-40B4-BE49-F238E27FC236}">
                <a16:creationId xmlns:a16="http://schemas.microsoft.com/office/drawing/2014/main" id="{0299467D-35F0-44B5-B38F-071BD9B6D6F4}"/>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0" name="Rectangle 9">
            <a:hlinkClick r:id="rId5" action="ppaction://hlinksldjump"/>
            <a:extLst>
              <a:ext uri="{FF2B5EF4-FFF2-40B4-BE49-F238E27FC236}">
                <a16:creationId xmlns:a16="http://schemas.microsoft.com/office/drawing/2014/main" id="{263BD292-C659-448F-8B8B-06157670B82F}"/>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1" name="Rectangle 10">
            <a:hlinkClick r:id="rId6" action="ppaction://hlinksldjump"/>
            <a:extLst>
              <a:ext uri="{FF2B5EF4-FFF2-40B4-BE49-F238E27FC236}">
                <a16:creationId xmlns:a16="http://schemas.microsoft.com/office/drawing/2014/main" id="{35ACE06E-94AA-477E-B359-7439615B4F9F}"/>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2" name="Rectangle 11">
            <a:hlinkClick r:id="rId7" action="ppaction://hlinksldjump"/>
            <a:extLst>
              <a:ext uri="{FF2B5EF4-FFF2-40B4-BE49-F238E27FC236}">
                <a16:creationId xmlns:a16="http://schemas.microsoft.com/office/drawing/2014/main" id="{638C6D12-9FAF-4D3A-9B81-BCE449055D3D}"/>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3" name="Rectangle 12">
            <a:hlinkClick r:id="rId8" action="ppaction://hlinksldjump"/>
            <a:extLst>
              <a:ext uri="{FF2B5EF4-FFF2-40B4-BE49-F238E27FC236}">
                <a16:creationId xmlns:a16="http://schemas.microsoft.com/office/drawing/2014/main" id="{30CCA295-32EB-480C-BB6E-BF6D10FC172F}"/>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9" action="ppaction://hlinksldjump"/>
            <a:extLst>
              <a:ext uri="{FF2B5EF4-FFF2-40B4-BE49-F238E27FC236}">
                <a16:creationId xmlns:a16="http://schemas.microsoft.com/office/drawing/2014/main" id="{79F20088-51AD-45EC-99DF-022D068687E5}"/>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extLst>
              <a:ext uri="{FF2B5EF4-FFF2-40B4-BE49-F238E27FC236}">
                <a16:creationId xmlns:a16="http://schemas.microsoft.com/office/drawing/2014/main" id="{BC747EE7-39C9-480C-B4F6-CDC04D4B8F29}"/>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10" action="ppaction://hlinksldjump"/>
            <a:extLst>
              <a:ext uri="{FF2B5EF4-FFF2-40B4-BE49-F238E27FC236}">
                <a16:creationId xmlns:a16="http://schemas.microsoft.com/office/drawing/2014/main" id="{C178733D-9DDE-42E6-9DA1-0B778D87144A}"/>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11" action="ppaction://hlinksldjump"/>
            <a:extLst>
              <a:ext uri="{FF2B5EF4-FFF2-40B4-BE49-F238E27FC236}">
                <a16:creationId xmlns:a16="http://schemas.microsoft.com/office/drawing/2014/main" id="{0F3ADC66-A6A5-4CFA-B10F-F0834461FB37}"/>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12" action="ppaction://hlinksldjump"/>
            <a:extLst>
              <a:ext uri="{FF2B5EF4-FFF2-40B4-BE49-F238E27FC236}">
                <a16:creationId xmlns:a16="http://schemas.microsoft.com/office/drawing/2014/main" id="{9BE9C161-02E4-4BE7-9FFF-8D4657BF82F0}"/>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13" action="ppaction://hlinksldjump"/>
            <a:extLst>
              <a:ext uri="{FF2B5EF4-FFF2-40B4-BE49-F238E27FC236}">
                <a16:creationId xmlns:a16="http://schemas.microsoft.com/office/drawing/2014/main" id="{DDD9F33E-2E51-48DA-816D-C2BB728C0789}"/>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14" action="ppaction://hlinksldjump"/>
            <a:extLst>
              <a:ext uri="{FF2B5EF4-FFF2-40B4-BE49-F238E27FC236}">
                <a16:creationId xmlns:a16="http://schemas.microsoft.com/office/drawing/2014/main" id="{EBA4F21F-2253-4660-943E-E35AB3E10B00}"/>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5" action="ppaction://hlinksldjump"/>
            <a:extLst>
              <a:ext uri="{FF2B5EF4-FFF2-40B4-BE49-F238E27FC236}">
                <a16:creationId xmlns:a16="http://schemas.microsoft.com/office/drawing/2014/main" id="{B382A994-A237-4DC6-9B44-3202CF2EF0AF}"/>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6" action="ppaction://hlinksldjump"/>
            <a:extLst>
              <a:ext uri="{FF2B5EF4-FFF2-40B4-BE49-F238E27FC236}">
                <a16:creationId xmlns:a16="http://schemas.microsoft.com/office/drawing/2014/main" id="{1276B92F-A56E-4E7D-B6FC-3F6103E47605}"/>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7" action="ppaction://hlinksldjump"/>
            <a:extLst>
              <a:ext uri="{FF2B5EF4-FFF2-40B4-BE49-F238E27FC236}">
                <a16:creationId xmlns:a16="http://schemas.microsoft.com/office/drawing/2014/main" id="{7FDD9FFF-1099-4D5C-B690-A9A26BC89381}"/>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8" action="ppaction://hlinksldjump"/>
            <a:extLst>
              <a:ext uri="{FF2B5EF4-FFF2-40B4-BE49-F238E27FC236}">
                <a16:creationId xmlns:a16="http://schemas.microsoft.com/office/drawing/2014/main" id="{7194D4DB-7DA5-45E2-BC7F-171224F197D8}"/>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9" action="ppaction://hlinksldjump"/>
            <a:extLst>
              <a:ext uri="{FF2B5EF4-FFF2-40B4-BE49-F238E27FC236}">
                <a16:creationId xmlns:a16="http://schemas.microsoft.com/office/drawing/2014/main" id="{DBFC3202-58EB-4E02-8354-E21E7EB38425}"/>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20" action="ppaction://hlinksldjump"/>
            <a:extLst>
              <a:ext uri="{FF2B5EF4-FFF2-40B4-BE49-F238E27FC236}">
                <a16:creationId xmlns:a16="http://schemas.microsoft.com/office/drawing/2014/main" id="{1FA60779-5D94-4CA6-939D-7FB46DC13361}"/>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21" action="ppaction://hlinksldjump"/>
            <a:extLst>
              <a:ext uri="{FF2B5EF4-FFF2-40B4-BE49-F238E27FC236}">
                <a16:creationId xmlns:a16="http://schemas.microsoft.com/office/drawing/2014/main" id="{A993987C-88D9-498F-9F24-2D383B0953CD}"/>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22" action="ppaction://hlinksldjump"/>
            <a:extLst>
              <a:ext uri="{FF2B5EF4-FFF2-40B4-BE49-F238E27FC236}">
                <a16:creationId xmlns:a16="http://schemas.microsoft.com/office/drawing/2014/main" id="{3B045A4E-2364-4B4C-B2B3-A9A54DFA9A0F}"/>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extLst>
              <a:ext uri="{FF2B5EF4-FFF2-40B4-BE49-F238E27FC236}">
                <a16:creationId xmlns:a16="http://schemas.microsoft.com/office/drawing/2014/main" id="{8843D377-565B-4316-9E65-C05BFCD8F3A6}"/>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23" action="ppaction://hlinksldjump"/>
            <a:extLst>
              <a:ext uri="{FF2B5EF4-FFF2-40B4-BE49-F238E27FC236}">
                <a16:creationId xmlns:a16="http://schemas.microsoft.com/office/drawing/2014/main" id="{A8D414DE-4BC6-4164-9ABA-15226A1FB903}"/>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24" action="ppaction://hlinksldjump"/>
            <a:extLst>
              <a:ext uri="{FF2B5EF4-FFF2-40B4-BE49-F238E27FC236}">
                <a16:creationId xmlns:a16="http://schemas.microsoft.com/office/drawing/2014/main" id="{0CDEE701-32FC-4F87-8CAF-0EFBBEB19FBA}"/>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25" action="ppaction://hlinksldjump"/>
            <a:extLst>
              <a:ext uri="{FF2B5EF4-FFF2-40B4-BE49-F238E27FC236}">
                <a16:creationId xmlns:a16="http://schemas.microsoft.com/office/drawing/2014/main" id="{DE26E875-14CB-4EAE-9A6B-3D23B9CAF36A}"/>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extLst>
              <a:ext uri="{FF2B5EF4-FFF2-40B4-BE49-F238E27FC236}">
                <a16:creationId xmlns:a16="http://schemas.microsoft.com/office/drawing/2014/main" id="{C4A85880-32F5-4BAC-B0A6-A87C612B0173}"/>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34" name="Table 33">
            <a:extLst>
              <a:ext uri="{FF2B5EF4-FFF2-40B4-BE49-F238E27FC236}">
                <a16:creationId xmlns:a16="http://schemas.microsoft.com/office/drawing/2014/main" id="{A07EA44A-86CD-4A9E-9629-A6194D06EBC5}"/>
              </a:ext>
            </a:extLst>
          </p:cNvPr>
          <p:cNvGraphicFramePr>
            <a:graphicFrameLocks noGrp="1"/>
          </p:cNvGraphicFramePr>
          <p:nvPr>
            <p:extLst>
              <p:ext uri="{D42A27DB-BD31-4B8C-83A1-F6EECF244321}">
                <p14:modId xmlns:p14="http://schemas.microsoft.com/office/powerpoint/2010/main" val="3878881695"/>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35" name="Rectangle 34">
            <a:hlinkClick r:id="rId2" action="ppaction://hlinksldjump"/>
            <a:extLst>
              <a:ext uri="{FF2B5EF4-FFF2-40B4-BE49-F238E27FC236}">
                <a16:creationId xmlns:a16="http://schemas.microsoft.com/office/drawing/2014/main" id="{6E5EC30F-1287-46BF-995E-7ABAB8A9FEC8}"/>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3" action="ppaction://hlinksldjump"/>
            <a:extLst>
              <a:ext uri="{FF2B5EF4-FFF2-40B4-BE49-F238E27FC236}">
                <a16:creationId xmlns:a16="http://schemas.microsoft.com/office/drawing/2014/main" id="{F9D033DE-15B8-4239-9852-55DB00745629}"/>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4" action="ppaction://hlinksldjump"/>
            <a:extLst>
              <a:ext uri="{FF2B5EF4-FFF2-40B4-BE49-F238E27FC236}">
                <a16:creationId xmlns:a16="http://schemas.microsoft.com/office/drawing/2014/main" id="{5AFC23FB-1975-44EB-B56C-D558865D79F7}"/>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5" action="ppaction://hlinksldjump"/>
            <a:extLst>
              <a:ext uri="{FF2B5EF4-FFF2-40B4-BE49-F238E27FC236}">
                <a16:creationId xmlns:a16="http://schemas.microsoft.com/office/drawing/2014/main" id="{044EEAB6-C1A1-42AD-8922-4619DB986799}"/>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6" action="ppaction://hlinksldjump"/>
            <a:extLst>
              <a:ext uri="{FF2B5EF4-FFF2-40B4-BE49-F238E27FC236}">
                <a16:creationId xmlns:a16="http://schemas.microsoft.com/office/drawing/2014/main" id="{448BFAFF-E1E0-47F1-BCFA-C9C051F8022D}"/>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7" action="ppaction://hlinksldjump"/>
            <a:extLst>
              <a:ext uri="{FF2B5EF4-FFF2-40B4-BE49-F238E27FC236}">
                <a16:creationId xmlns:a16="http://schemas.microsoft.com/office/drawing/2014/main" id="{F8B90B97-A3F6-4075-ACA3-9D8BFC831892}"/>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8" action="ppaction://hlinksldjump"/>
            <a:extLst>
              <a:ext uri="{FF2B5EF4-FFF2-40B4-BE49-F238E27FC236}">
                <a16:creationId xmlns:a16="http://schemas.microsoft.com/office/drawing/2014/main" id="{8B4F7197-E1CC-49DC-8CE6-C2B32AB52A32}"/>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9" action="ppaction://hlinksldjump"/>
            <a:extLst>
              <a:ext uri="{FF2B5EF4-FFF2-40B4-BE49-F238E27FC236}">
                <a16:creationId xmlns:a16="http://schemas.microsoft.com/office/drawing/2014/main" id="{85D67543-C7D2-4E08-A277-80B23BEA8CB7}"/>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extLst>
              <a:ext uri="{FF2B5EF4-FFF2-40B4-BE49-F238E27FC236}">
                <a16:creationId xmlns:a16="http://schemas.microsoft.com/office/drawing/2014/main" id="{0ACA4EA5-CD0C-4D59-82CD-3633879B3D90}"/>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10" action="ppaction://hlinksldjump"/>
            <a:extLst>
              <a:ext uri="{FF2B5EF4-FFF2-40B4-BE49-F238E27FC236}">
                <a16:creationId xmlns:a16="http://schemas.microsoft.com/office/drawing/2014/main" id="{56323B2C-13F6-451C-84B1-A7D034ACD042}"/>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11" action="ppaction://hlinksldjump"/>
            <a:extLst>
              <a:ext uri="{FF2B5EF4-FFF2-40B4-BE49-F238E27FC236}">
                <a16:creationId xmlns:a16="http://schemas.microsoft.com/office/drawing/2014/main" id="{73FB42D0-3648-455B-A352-5F3EC9B703ED}"/>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12" action="ppaction://hlinksldjump"/>
            <a:extLst>
              <a:ext uri="{FF2B5EF4-FFF2-40B4-BE49-F238E27FC236}">
                <a16:creationId xmlns:a16="http://schemas.microsoft.com/office/drawing/2014/main" id="{953341C4-F9E3-4EAB-8A1F-67D43DDB22CF}"/>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13" action="ppaction://hlinksldjump"/>
            <a:extLst>
              <a:ext uri="{FF2B5EF4-FFF2-40B4-BE49-F238E27FC236}">
                <a16:creationId xmlns:a16="http://schemas.microsoft.com/office/drawing/2014/main" id="{F45CADF3-6E24-47FB-8516-66B01BF0B46D}"/>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14" action="ppaction://hlinksldjump"/>
            <a:extLst>
              <a:ext uri="{FF2B5EF4-FFF2-40B4-BE49-F238E27FC236}">
                <a16:creationId xmlns:a16="http://schemas.microsoft.com/office/drawing/2014/main" id="{B063401C-2F86-4A81-A063-4BD7539F67B0}"/>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5" action="ppaction://hlinksldjump"/>
            <a:extLst>
              <a:ext uri="{FF2B5EF4-FFF2-40B4-BE49-F238E27FC236}">
                <a16:creationId xmlns:a16="http://schemas.microsoft.com/office/drawing/2014/main" id="{043E6C1E-0BA6-439C-BE7D-10CF5C43C9DF}"/>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6" action="ppaction://hlinksldjump"/>
            <a:extLst>
              <a:ext uri="{FF2B5EF4-FFF2-40B4-BE49-F238E27FC236}">
                <a16:creationId xmlns:a16="http://schemas.microsoft.com/office/drawing/2014/main" id="{073BF461-97CB-41F8-AEFE-D0E21F1561BE}"/>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7" action="ppaction://hlinksldjump"/>
            <a:extLst>
              <a:ext uri="{FF2B5EF4-FFF2-40B4-BE49-F238E27FC236}">
                <a16:creationId xmlns:a16="http://schemas.microsoft.com/office/drawing/2014/main" id="{E42AE0FD-2CA6-44E9-BA0F-FEC3E595B447}"/>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8" action="ppaction://hlinksldjump"/>
            <a:extLst>
              <a:ext uri="{FF2B5EF4-FFF2-40B4-BE49-F238E27FC236}">
                <a16:creationId xmlns:a16="http://schemas.microsoft.com/office/drawing/2014/main" id="{71104198-50F4-4BEC-8A05-92E65C390B50}"/>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9" action="ppaction://hlinksldjump"/>
            <a:extLst>
              <a:ext uri="{FF2B5EF4-FFF2-40B4-BE49-F238E27FC236}">
                <a16:creationId xmlns:a16="http://schemas.microsoft.com/office/drawing/2014/main" id="{95389E8C-9387-4990-A824-59DFC9D47A28}"/>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20" action="ppaction://hlinksldjump"/>
            <a:extLst>
              <a:ext uri="{FF2B5EF4-FFF2-40B4-BE49-F238E27FC236}">
                <a16:creationId xmlns:a16="http://schemas.microsoft.com/office/drawing/2014/main" id="{6969A502-1F1F-4756-BD02-5ADEBE8AE5AB}"/>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21" action="ppaction://hlinksldjump"/>
            <a:extLst>
              <a:ext uri="{FF2B5EF4-FFF2-40B4-BE49-F238E27FC236}">
                <a16:creationId xmlns:a16="http://schemas.microsoft.com/office/drawing/2014/main" id="{7380F22C-53DB-4B46-BDBA-20F1388F9810}"/>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22" action="ppaction://hlinksldjump"/>
            <a:extLst>
              <a:ext uri="{FF2B5EF4-FFF2-40B4-BE49-F238E27FC236}">
                <a16:creationId xmlns:a16="http://schemas.microsoft.com/office/drawing/2014/main" id="{379DD36E-B91E-4697-BC72-B608E85F59F1}"/>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extLst>
              <a:ext uri="{FF2B5EF4-FFF2-40B4-BE49-F238E27FC236}">
                <a16:creationId xmlns:a16="http://schemas.microsoft.com/office/drawing/2014/main" id="{4B2DF30F-130C-44BA-9F1A-85EAF6CAE1DA}"/>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23" action="ppaction://hlinksldjump"/>
            <a:extLst>
              <a:ext uri="{FF2B5EF4-FFF2-40B4-BE49-F238E27FC236}">
                <a16:creationId xmlns:a16="http://schemas.microsoft.com/office/drawing/2014/main" id="{6D571E02-41B6-4979-9478-05013AF2D23A}"/>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24" action="ppaction://hlinksldjump"/>
            <a:extLst>
              <a:ext uri="{FF2B5EF4-FFF2-40B4-BE49-F238E27FC236}">
                <a16:creationId xmlns:a16="http://schemas.microsoft.com/office/drawing/2014/main" id="{27229784-DE1D-471A-83DA-534717FBD0E3}"/>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25" action="ppaction://hlinksldjump"/>
            <a:extLst>
              <a:ext uri="{FF2B5EF4-FFF2-40B4-BE49-F238E27FC236}">
                <a16:creationId xmlns:a16="http://schemas.microsoft.com/office/drawing/2014/main" id="{28EA7AC6-D723-4B5C-94A2-8F597D499596}"/>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259996775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C6869-B138-4C8B-A18F-57CFCC1A9B72}"/>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Key messages</a:t>
            </a:r>
          </a:p>
        </p:txBody>
      </p:sp>
      <p:sp>
        <p:nvSpPr>
          <p:cNvPr id="3" name="Footer Placeholder 2">
            <a:extLst>
              <a:ext uri="{FF2B5EF4-FFF2-40B4-BE49-F238E27FC236}">
                <a16:creationId xmlns:a16="http://schemas.microsoft.com/office/drawing/2014/main" id="{B70E7CA4-93E1-4F71-B352-3132221B10AA}"/>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C6568B63-8790-470E-B890-FE2C4A22B40D}"/>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18</a:t>
            </a:fld>
            <a:endParaRPr lang="en-US" noProof="0" dirty="0">
              <a:latin typeface="Neue Frutiger World" panose="020B0603040304020203" pitchFamily="34" charset="0"/>
              <a:cs typeface="Neue Frutiger World" panose="020B0603040304020203" pitchFamily="34" charset="0"/>
            </a:endParaRPr>
          </a:p>
        </p:txBody>
      </p:sp>
      <p:sp>
        <p:nvSpPr>
          <p:cNvPr id="6" name="TextBox 5">
            <a:extLst>
              <a:ext uri="{FF2B5EF4-FFF2-40B4-BE49-F238E27FC236}">
                <a16:creationId xmlns:a16="http://schemas.microsoft.com/office/drawing/2014/main" id="{29638BA8-AA09-47D3-A3D6-5F1C2DE45DA2}"/>
              </a:ext>
            </a:extLst>
          </p:cNvPr>
          <p:cNvSpPr txBox="1"/>
          <p:nvPr/>
        </p:nvSpPr>
        <p:spPr>
          <a:xfrm>
            <a:off x="1475656" y="771550"/>
            <a:ext cx="3744416" cy="3944670"/>
          </a:xfrm>
          <a:prstGeom prst="rect">
            <a:avLst/>
          </a:prstGeom>
          <a:noFill/>
        </p:spPr>
        <p:txBody>
          <a:bodyPr wrap="square" rtlCol="0">
            <a:spAutoFit/>
          </a:bodyPr>
          <a:lstStyle/>
          <a:p>
            <a:pPr marL="38097">
              <a:spcBef>
                <a:spcPts val="590"/>
              </a:spcBef>
              <a:defRPr/>
            </a:pPr>
            <a:r>
              <a:rPr lang="en-GB" sz="800" b="1" spc="-15" dirty="0">
                <a:latin typeface="Neue Frutiger World" panose="020B0603040304020203" pitchFamily="34" charset="0"/>
                <a:ea typeface="Verdana" panose="020B0604030504040204" pitchFamily="34" charset="0"/>
                <a:cs typeface="Neue Frutiger World" panose="020B0603040304020203" pitchFamily="34" charset="0"/>
              </a:rPr>
              <a:t>Abandoned leads are associated with more complex extractions</a:t>
            </a:r>
            <a:endParaRPr lang="en-GB" sz="800" spc="-15" dirty="0">
              <a:latin typeface="Neue Frutiger World" panose="020B0603040304020203" pitchFamily="34" charset="0"/>
              <a:cs typeface="Neue Frutiger World" panose="020B0603040304020203" pitchFamily="34" charset="0"/>
            </a:endParaRPr>
          </a:p>
          <a:p>
            <a:pPr marL="209533" indent="-171436">
              <a:spcBef>
                <a:spcPts val="590"/>
              </a:spcBef>
              <a:buFont typeface="Arial" panose="020B0604020202020204" pitchFamily="34" charset="0"/>
              <a:buChar char="•"/>
              <a:defRPr/>
            </a:pPr>
            <a:r>
              <a:rPr lang="en-GB" sz="800" spc="-15" dirty="0">
                <a:latin typeface="Neue Frutiger World" panose="020B0603040304020203" pitchFamily="34" charset="0"/>
                <a:cs typeface="Neue Frutiger World" panose="020B0603040304020203" pitchFamily="34" charset="0"/>
              </a:rPr>
              <a:t>Procedural complications occurred more frequently in patients with previously abandoned leads 11.5% vs. 5.6%.</a:t>
            </a:r>
            <a:r>
              <a:rPr lang="en-GB" sz="800" spc="-15" baseline="30000" dirty="0">
                <a:latin typeface="Neue Frutiger World" panose="020B0603040304020203" pitchFamily="34" charset="0"/>
                <a:cs typeface="Neue Frutiger World" panose="020B0603040304020203" pitchFamily="34" charset="0"/>
              </a:rPr>
              <a:t>30</a:t>
            </a:r>
            <a:endParaRPr lang="en-GB" sz="800" spc="-15" dirty="0">
              <a:latin typeface="Neue Frutiger World" panose="020B0603040304020203" pitchFamily="34" charset="0"/>
              <a:cs typeface="Neue Frutiger World" panose="020B0603040304020203" pitchFamily="34" charset="0"/>
            </a:endParaRPr>
          </a:p>
          <a:p>
            <a:pPr marL="209533" indent="-171436">
              <a:spcBef>
                <a:spcPts val="489"/>
              </a:spcBef>
              <a:buFont typeface="Arial" panose="020B0604020202020204" pitchFamily="34" charset="0"/>
              <a:buChar char="•"/>
              <a:tabLst>
                <a:tab pos="139688" algn="l"/>
              </a:tabLst>
              <a:defRPr/>
            </a:pPr>
            <a:r>
              <a:rPr lang="en-GB" sz="800" spc="10" dirty="0">
                <a:latin typeface="Neue Frutiger World" panose="020B0603040304020203" pitchFamily="34" charset="0"/>
                <a:cs typeface="Neue Frutiger World" panose="020B0603040304020203" pitchFamily="34" charset="0"/>
              </a:rPr>
              <a:t>Extracting procedures of abandoned leads take longer, with longer fluoroscopy times and are more likely to require specialised extraction tools 94.4% vs. 81.8% or adjunctive rescue femoral workstations 14.9% vs. 2.9%.</a:t>
            </a:r>
            <a:r>
              <a:rPr lang="en-GB" sz="800" spc="10" baseline="30000" dirty="0">
                <a:latin typeface="Neue Frutiger World" panose="020B0603040304020203" pitchFamily="34" charset="0"/>
                <a:cs typeface="Neue Frutiger World" panose="020B0603040304020203" pitchFamily="34" charset="0"/>
              </a:rPr>
              <a:t>30</a:t>
            </a:r>
            <a:endParaRPr lang="en-GB" sz="800" spc="10" dirty="0">
              <a:latin typeface="Neue Frutiger World" panose="020B0603040304020203" pitchFamily="34" charset="0"/>
              <a:cs typeface="Neue Frutiger World" panose="020B0603040304020203" pitchFamily="34" charset="0"/>
            </a:endParaRPr>
          </a:p>
          <a:p>
            <a:pPr marL="38097">
              <a:spcBef>
                <a:spcPts val="489"/>
              </a:spcBef>
              <a:tabLst>
                <a:tab pos="139688" algn="l"/>
              </a:tabLst>
              <a:defRPr/>
            </a:pPr>
            <a:endParaRPr lang="en-GB" sz="800" spc="10" dirty="0">
              <a:latin typeface="Neue Frutiger World" panose="020B0603040304020203" pitchFamily="34" charset="0"/>
              <a:cs typeface="Neue Frutiger World" panose="020B0603040304020203" pitchFamily="34" charset="0"/>
            </a:endParaRPr>
          </a:p>
          <a:p>
            <a:pPr marL="38097">
              <a:spcBef>
                <a:spcPts val="489"/>
              </a:spcBef>
              <a:tabLst>
                <a:tab pos="139688" algn="l"/>
              </a:tabLst>
              <a:defRPr/>
            </a:pPr>
            <a:r>
              <a:rPr lang="en-GB" sz="800" b="1" spc="-15" dirty="0">
                <a:latin typeface="Neue Frutiger World" panose="020B0603040304020203" pitchFamily="34" charset="0"/>
                <a:cs typeface="Neue Frutiger World" panose="020B0603040304020203" pitchFamily="34" charset="0"/>
              </a:rPr>
              <a:t>Abandoned leads have a higher risk of infection, necessitating removal of the entire pacemaker system</a:t>
            </a:r>
          </a:p>
          <a:p>
            <a:pPr marL="209533" indent="-171436">
              <a:spcBef>
                <a:spcPts val="489"/>
              </a:spcBef>
              <a:buFont typeface="Arial" panose="020B0604020202020204" pitchFamily="34" charset="0"/>
              <a:buChar char="•"/>
              <a:tabLst>
                <a:tab pos="139688" algn="l"/>
              </a:tabLst>
              <a:defRPr/>
            </a:pPr>
            <a:r>
              <a:rPr lang="en-GB" sz="800" spc="-15" dirty="0">
                <a:latin typeface="Neue Frutiger World" panose="020B0603040304020203" pitchFamily="34" charset="0"/>
                <a:cs typeface="Neue Frutiger World" panose="020B0603040304020203" pitchFamily="34" charset="0"/>
              </a:rPr>
              <a:t>Abandoning a lead can place the patient at unacceptably high risk of future device related infection, amongst other complications</a:t>
            </a:r>
            <a:r>
              <a:rPr lang="en-GB" sz="800" spc="-15" baseline="30000" dirty="0">
                <a:latin typeface="Neue Frutiger World" panose="020B0603040304020203" pitchFamily="34" charset="0"/>
                <a:cs typeface="Neue Frutiger World" panose="020B0603040304020203" pitchFamily="34" charset="0"/>
              </a:rPr>
              <a:t>29</a:t>
            </a:r>
            <a:endParaRPr lang="en-GB" sz="800" spc="-15" dirty="0">
              <a:latin typeface="Neue Frutiger World" panose="020B0603040304020203" pitchFamily="34" charset="0"/>
              <a:cs typeface="Neue Frutiger World" panose="020B0603040304020203" pitchFamily="34" charset="0"/>
            </a:endParaRPr>
          </a:p>
          <a:p>
            <a:pPr marL="209533" indent="-171436">
              <a:spcBef>
                <a:spcPts val="489"/>
              </a:spcBef>
              <a:buFont typeface="Arial" panose="020B0604020202020204" pitchFamily="34" charset="0"/>
              <a:buChar char="•"/>
              <a:tabLst>
                <a:tab pos="139688" algn="l"/>
              </a:tabLst>
              <a:defRPr/>
            </a:pPr>
            <a:r>
              <a:rPr lang="en-GB" sz="800" spc="-15" dirty="0">
                <a:latin typeface="Neue Frutiger World" panose="020B0603040304020203" pitchFamily="34" charset="0"/>
                <a:cs typeface="Neue Frutiger World" panose="020B0603040304020203" pitchFamily="34" charset="0"/>
              </a:rPr>
              <a:t>Previously abandoned leads complicate the management of cardiac device infections, leading to worse clinical outcomes. Infective indications to TLE were predominant in the Abandoned Lead group (61.34% vs 43.4%; P &lt; 0.001)</a:t>
            </a:r>
            <a:r>
              <a:rPr lang="en-GB" sz="800" spc="-15" baseline="30000" dirty="0">
                <a:latin typeface="Neue Frutiger World" panose="020B0603040304020203" pitchFamily="34" charset="0"/>
                <a:cs typeface="Neue Frutiger World" panose="020B0603040304020203" pitchFamily="34" charset="0"/>
              </a:rPr>
              <a:t>11</a:t>
            </a:r>
          </a:p>
          <a:p>
            <a:pPr marL="38097">
              <a:spcBef>
                <a:spcPts val="489"/>
              </a:spcBef>
              <a:tabLst>
                <a:tab pos="139688" algn="l"/>
              </a:tabLst>
              <a:defRPr/>
            </a:pPr>
            <a:endParaRPr lang="en-GB" sz="800" spc="-15" baseline="30000" dirty="0">
              <a:latin typeface="Neue Frutiger World" panose="020B0603040304020203" pitchFamily="34" charset="0"/>
              <a:cs typeface="Neue Frutiger World" panose="020B0603040304020203" pitchFamily="34" charset="0"/>
            </a:endParaRPr>
          </a:p>
          <a:p>
            <a:pPr marL="38097">
              <a:spcBef>
                <a:spcPts val="590"/>
              </a:spcBef>
              <a:defRPr/>
            </a:pPr>
            <a:r>
              <a:rPr lang="en-GB" sz="800" b="1" spc="-15" dirty="0">
                <a:latin typeface="Neue Frutiger World" panose="020B0603040304020203" pitchFamily="34" charset="0"/>
                <a:cs typeface="Neue Frutiger World" panose="020B0603040304020203" pitchFamily="34" charset="0"/>
              </a:rPr>
              <a:t>Delaying extraction in patients with infected devices is associated with increased mortality</a:t>
            </a:r>
          </a:p>
          <a:p>
            <a:pPr marL="209533" indent="-171436">
              <a:spcBef>
                <a:spcPts val="590"/>
              </a:spcBef>
              <a:buFont typeface="Arial" panose="020B0604020202020204" pitchFamily="34" charset="0"/>
              <a:buChar char="•"/>
              <a:defRPr/>
            </a:pPr>
            <a:r>
              <a:rPr lang="en-GB" sz="800" spc="-15" dirty="0">
                <a:latin typeface="Neue Frutiger World" panose="020B0603040304020203" pitchFamily="34" charset="0"/>
                <a:cs typeface="Neue Frutiger World" panose="020B0603040304020203" pitchFamily="34" charset="0"/>
              </a:rPr>
              <a:t>In one study, in multivariate analysis, antimicrobial therapy without device removal was associated with a 7-fold increase in 30-day mortality</a:t>
            </a:r>
            <a:r>
              <a:rPr lang="en-GB" sz="800" spc="-15" baseline="30000" dirty="0">
                <a:latin typeface="Neue Frutiger World" panose="020B0603040304020203" pitchFamily="34" charset="0"/>
                <a:cs typeface="Neue Frutiger World" panose="020B0603040304020203" pitchFamily="34" charset="0"/>
              </a:rPr>
              <a:t>27</a:t>
            </a:r>
            <a:endParaRPr lang="en-GB" sz="800" spc="-15" dirty="0">
              <a:latin typeface="Neue Frutiger World" panose="020B0603040304020203" pitchFamily="34" charset="0"/>
              <a:cs typeface="Neue Frutiger World" panose="020B0603040304020203" pitchFamily="34" charset="0"/>
            </a:endParaRPr>
          </a:p>
          <a:p>
            <a:pPr marL="209533" indent="-171436">
              <a:spcBef>
                <a:spcPts val="590"/>
              </a:spcBef>
              <a:buFont typeface="Arial" panose="020B0604020202020204" pitchFamily="34" charset="0"/>
              <a:buChar char="•"/>
              <a:defRPr/>
            </a:pPr>
            <a:r>
              <a:rPr lang="en-GB" sz="800" spc="-15" dirty="0">
                <a:latin typeface="Neue Frutiger World" panose="020B0603040304020203" pitchFamily="34" charset="0"/>
                <a:cs typeface="Neue Frutiger World" panose="020B0603040304020203" pitchFamily="34" charset="0"/>
              </a:rPr>
              <a:t>Although device removal complications were associated with increased mortality at 30 days and at 1 year, immediate device removal, when compared to delay in device removal in favour of initial conservative therapy with antimicrobials alone, and no device removal, was associated with a 3-fold decrease in 1-year mortality.</a:t>
            </a:r>
            <a:r>
              <a:rPr lang="en-GB" sz="800" spc="-15" baseline="30000" dirty="0">
                <a:latin typeface="Neue Frutiger World" panose="020B0603040304020203" pitchFamily="34" charset="0"/>
                <a:cs typeface="Neue Frutiger World" panose="020B0603040304020203" pitchFamily="34" charset="0"/>
              </a:rPr>
              <a:t>27</a:t>
            </a:r>
            <a:r>
              <a:rPr lang="en-GB" sz="800" spc="-15" dirty="0">
                <a:latin typeface="Neue Frutiger World" panose="020B0603040304020203" pitchFamily="34" charset="0"/>
                <a:cs typeface="Neue Frutiger World" panose="020B0603040304020203" pitchFamily="34" charset="0"/>
              </a:rPr>
              <a:t> </a:t>
            </a:r>
            <a:endParaRPr lang="en-GB" sz="800" spc="10" dirty="0">
              <a:latin typeface="Neue Frutiger World" panose="020B0603040304020203" pitchFamily="34" charset="0"/>
              <a:cs typeface="Neue Frutiger World" panose="020B0603040304020203" pitchFamily="34" charset="0"/>
            </a:endParaRPr>
          </a:p>
        </p:txBody>
      </p:sp>
      <p:sp>
        <p:nvSpPr>
          <p:cNvPr id="8" name="TextBox 7">
            <a:extLst>
              <a:ext uri="{FF2B5EF4-FFF2-40B4-BE49-F238E27FC236}">
                <a16:creationId xmlns:a16="http://schemas.microsoft.com/office/drawing/2014/main" id="{0AEA3834-5617-48A5-AA19-E88F489598CF}"/>
              </a:ext>
            </a:extLst>
          </p:cNvPr>
          <p:cNvSpPr txBox="1"/>
          <p:nvPr/>
        </p:nvSpPr>
        <p:spPr>
          <a:xfrm>
            <a:off x="5234093" y="771550"/>
            <a:ext cx="3514371" cy="1805623"/>
          </a:xfrm>
          <a:prstGeom prst="rect">
            <a:avLst/>
          </a:prstGeom>
          <a:noFill/>
        </p:spPr>
        <p:txBody>
          <a:bodyPr wrap="square" rtlCol="0">
            <a:spAutoFit/>
          </a:bodyPr>
          <a:lstStyle/>
          <a:p>
            <a:pPr marL="38097">
              <a:spcBef>
                <a:spcPts val="590"/>
              </a:spcBef>
              <a:defRPr/>
            </a:pPr>
            <a:r>
              <a:rPr lang="en-GB" sz="800" b="1" spc="-15" dirty="0">
                <a:latin typeface="Neue Frutiger World" panose="020B0603040304020203" pitchFamily="34" charset="0"/>
                <a:ea typeface="Verdana" panose="020B0604030504040204" pitchFamily="34" charset="0"/>
                <a:cs typeface="Neue Frutiger World" panose="020B0603040304020203" pitchFamily="34" charset="0"/>
              </a:rPr>
              <a:t>If extraction is performed earlier outcomes are better</a:t>
            </a:r>
          </a:p>
          <a:p>
            <a:pPr marL="209533" indent="-171436">
              <a:spcBef>
                <a:spcPts val="590"/>
              </a:spcBef>
              <a:buFont typeface="Arial" panose="020B0604020202020204" pitchFamily="34" charset="0"/>
              <a:buChar char="•"/>
              <a:defRPr/>
            </a:pPr>
            <a:r>
              <a:rPr lang="en-GB" sz="800" spc="-15" dirty="0">
                <a:latin typeface="Neue Frutiger World" panose="020B0603040304020203" pitchFamily="34" charset="0"/>
                <a:cs typeface="Neue Frutiger World" panose="020B0603040304020203" pitchFamily="34" charset="0"/>
              </a:rPr>
              <a:t>Lead removal within three days from admission is associated with shorter hospitalisation and better survival</a:t>
            </a:r>
            <a:r>
              <a:rPr lang="en-GB" sz="800" spc="-15" baseline="30000" dirty="0">
                <a:latin typeface="Neue Frutiger World" panose="020B0603040304020203" pitchFamily="34" charset="0"/>
                <a:cs typeface="Neue Frutiger World" panose="020B0603040304020203" pitchFamily="34" charset="0"/>
              </a:rPr>
              <a:t>24</a:t>
            </a:r>
            <a:endParaRPr lang="en-GB" sz="800" spc="-15" dirty="0">
              <a:latin typeface="Neue Frutiger World" panose="020B0603040304020203" pitchFamily="34" charset="0"/>
              <a:cs typeface="Neue Frutiger World" panose="020B0603040304020203" pitchFamily="34" charset="0"/>
            </a:endParaRPr>
          </a:p>
          <a:p>
            <a:pPr marL="209533" indent="-171436">
              <a:spcBef>
                <a:spcPts val="590"/>
              </a:spcBef>
              <a:buFont typeface="Arial" panose="020B0604020202020204" pitchFamily="34" charset="0"/>
              <a:buChar char="•"/>
              <a:defRPr/>
            </a:pPr>
            <a:r>
              <a:rPr lang="en-GB" sz="800" spc="-15" dirty="0">
                <a:latin typeface="Neue Frutiger World" panose="020B0603040304020203" pitchFamily="34" charset="0"/>
                <a:cs typeface="Neue Frutiger World" panose="020B0603040304020203" pitchFamily="34" charset="0"/>
              </a:rPr>
              <a:t>The recently published EHRA consensus document recommends that the timing of an extraction procedure should be without time delay after diagnosis of CIED infection, since if performed within 3 days after hospitalisation it results in significantly lower in-hospital mortality and shorter length of stay.</a:t>
            </a:r>
            <a:r>
              <a:rPr lang="en-GB" sz="800" spc="-15" baseline="30000" dirty="0">
                <a:latin typeface="Neue Frutiger World" panose="020B0603040304020203" pitchFamily="34" charset="0"/>
                <a:cs typeface="Neue Frutiger World" panose="020B0603040304020203" pitchFamily="34" charset="0"/>
              </a:rPr>
              <a:t>28</a:t>
            </a:r>
            <a:endParaRPr lang="en-GB" sz="800" spc="-15" dirty="0">
              <a:latin typeface="Neue Frutiger World" panose="020B0603040304020203" pitchFamily="34" charset="0"/>
              <a:cs typeface="Neue Frutiger World" panose="020B0603040304020203" pitchFamily="34" charset="0"/>
            </a:endParaRPr>
          </a:p>
          <a:p>
            <a:pPr marL="209533" indent="-171436">
              <a:spcBef>
                <a:spcPts val="590"/>
              </a:spcBef>
              <a:buFont typeface="Arial" panose="020B0604020202020204" pitchFamily="34" charset="0"/>
              <a:buChar char="•"/>
              <a:defRPr/>
            </a:pPr>
            <a:endParaRPr lang="en-GB" sz="800" spc="10" dirty="0">
              <a:latin typeface="Neue Frutiger World" panose="020B0603040304020203" pitchFamily="34" charset="0"/>
              <a:cs typeface="Neue Frutiger World" panose="020B0603040304020203" pitchFamily="34" charset="0"/>
            </a:endParaRPr>
          </a:p>
          <a:p>
            <a:pPr marL="38097">
              <a:spcBef>
                <a:spcPts val="489"/>
              </a:spcBef>
              <a:tabLst>
                <a:tab pos="139688" algn="l"/>
              </a:tabLst>
              <a:defRPr/>
            </a:pPr>
            <a:endParaRPr lang="en-GB" sz="800" spc="10" dirty="0">
              <a:latin typeface="Neue Frutiger World" panose="020B0603040304020203" pitchFamily="34" charset="0"/>
              <a:cs typeface="Neue Frutiger World" panose="020B0603040304020203" pitchFamily="34" charset="0"/>
            </a:endParaRPr>
          </a:p>
          <a:p>
            <a:pPr marL="38097">
              <a:spcBef>
                <a:spcPts val="489"/>
              </a:spcBef>
              <a:tabLst>
                <a:tab pos="139688" algn="l"/>
              </a:tabLst>
              <a:defRPr/>
            </a:pPr>
            <a:endParaRPr lang="en-GB" sz="800" spc="10" dirty="0">
              <a:latin typeface="Neue Frutiger World" panose="020B0603040304020203" pitchFamily="34" charset="0"/>
              <a:cs typeface="Neue Frutiger World" panose="020B0603040304020203" pitchFamily="34" charset="0"/>
            </a:endParaRPr>
          </a:p>
        </p:txBody>
      </p:sp>
      <p:sp>
        <p:nvSpPr>
          <p:cNvPr id="9" name="TextBox 8">
            <a:extLst>
              <a:ext uri="{FF2B5EF4-FFF2-40B4-BE49-F238E27FC236}">
                <a16:creationId xmlns:a16="http://schemas.microsoft.com/office/drawing/2014/main" id="{2F151551-4D75-4611-9695-1FCE392E46DE}"/>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0" name="Rectangle 9">
            <a:hlinkClick r:id="rId2" action="ppaction://hlinksldjump"/>
            <a:extLst>
              <a:ext uri="{FF2B5EF4-FFF2-40B4-BE49-F238E27FC236}">
                <a16:creationId xmlns:a16="http://schemas.microsoft.com/office/drawing/2014/main" id="{ADCFC2D0-B9F0-4AA7-954E-BB8893369B72}"/>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1" name="Rectangle 10">
            <a:hlinkClick r:id="rId3" action="ppaction://hlinksldjump"/>
            <a:extLst>
              <a:ext uri="{FF2B5EF4-FFF2-40B4-BE49-F238E27FC236}">
                <a16:creationId xmlns:a16="http://schemas.microsoft.com/office/drawing/2014/main" id="{109212CB-6C70-451A-AED2-F6D0141FC970}"/>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2" name="Rectangle 11">
            <a:hlinkClick r:id="rId4" action="ppaction://hlinksldjump"/>
            <a:extLst>
              <a:ext uri="{FF2B5EF4-FFF2-40B4-BE49-F238E27FC236}">
                <a16:creationId xmlns:a16="http://schemas.microsoft.com/office/drawing/2014/main" id="{020E0E28-40D1-44D0-A5BB-4B123BF930B8}"/>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3" name="Rectangle 12">
            <a:hlinkClick r:id="rId5" action="ppaction://hlinksldjump"/>
            <a:extLst>
              <a:ext uri="{FF2B5EF4-FFF2-40B4-BE49-F238E27FC236}">
                <a16:creationId xmlns:a16="http://schemas.microsoft.com/office/drawing/2014/main" id="{17D86185-D6C7-43DF-BFF7-6721D7E552A7}"/>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6" action="ppaction://hlinksldjump"/>
            <a:extLst>
              <a:ext uri="{FF2B5EF4-FFF2-40B4-BE49-F238E27FC236}">
                <a16:creationId xmlns:a16="http://schemas.microsoft.com/office/drawing/2014/main" id="{CD7D7B5C-67D4-46CE-9A2E-6CFC23547B03}"/>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7" action="ppaction://hlinksldjump"/>
            <a:extLst>
              <a:ext uri="{FF2B5EF4-FFF2-40B4-BE49-F238E27FC236}">
                <a16:creationId xmlns:a16="http://schemas.microsoft.com/office/drawing/2014/main" id="{6062866E-F735-48CA-851F-9FCBF5438536}"/>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8" action="ppaction://hlinksldjump"/>
            <a:extLst>
              <a:ext uri="{FF2B5EF4-FFF2-40B4-BE49-F238E27FC236}">
                <a16:creationId xmlns:a16="http://schemas.microsoft.com/office/drawing/2014/main" id="{59305FB2-D924-4F65-BFB4-E015017E6864}"/>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9" action="ppaction://hlinksldjump"/>
            <a:extLst>
              <a:ext uri="{FF2B5EF4-FFF2-40B4-BE49-F238E27FC236}">
                <a16:creationId xmlns:a16="http://schemas.microsoft.com/office/drawing/2014/main" id="{3FADF3C9-70A8-4980-9F3C-C943FA1B6891}"/>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extLst>
              <a:ext uri="{FF2B5EF4-FFF2-40B4-BE49-F238E27FC236}">
                <a16:creationId xmlns:a16="http://schemas.microsoft.com/office/drawing/2014/main" id="{8E483A11-848C-4DFE-9488-29DD807EC8B1}"/>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10" action="ppaction://hlinksldjump"/>
            <a:extLst>
              <a:ext uri="{FF2B5EF4-FFF2-40B4-BE49-F238E27FC236}">
                <a16:creationId xmlns:a16="http://schemas.microsoft.com/office/drawing/2014/main" id="{82E6855B-26C3-4E9A-9687-57DEF02698CF}"/>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11" action="ppaction://hlinksldjump"/>
            <a:extLst>
              <a:ext uri="{FF2B5EF4-FFF2-40B4-BE49-F238E27FC236}">
                <a16:creationId xmlns:a16="http://schemas.microsoft.com/office/drawing/2014/main" id="{8A2250CA-FD24-404A-ADA7-E5308C26D62B}"/>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2" action="ppaction://hlinksldjump"/>
            <a:extLst>
              <a:ext uri="{FF2B5EF4-FFF2-40B4-BE49-F238E27FC236}">
                <a16:creationId xmlns:a16="http://schemas.microsoft.com/office/drawing/2014/main" id="{E91A71F4-F460-4844-9F41-C2C0B4CE92A3}"/>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3" action="ppaction://hlinksldjump"/>
            <a:extLst>
              <a:ext uri="{FF2B5EF4-FFF2-40B4-BE49-F238E27FC236}">
                <a16:creationId xmlns:a16="http://schemas.microsoft.com/office/drawing/2014/main" id="{62DDC521-45B1-47CF-99D4-7E01C1950B4F}"/>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4" action="ppaction://hlinksldjump"/>
            <a:extLst>
              <a:ext uri="{FF2B5EF4-FFF2-40B4-BE49-F238E27FC236}">
                <a16:creationId xmlns:a16="http://schemas.microsoft.com/office/drawing/2014/main" id="{9DE863E2-AB3F-4CE7-8A7B-C00BF495ADF5}"/>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5" action="ppaction://hlinksldjump"/>
            <a:extLst>
              <a:ext uri="{FF2B5EF4-FFF2-40B4-BE49-F238E27FC236}">
                <a16:creationId xmlns:a16="http://schemas.microsoft.com/office/drawing/2014/main" id="{672AB8EC-FC59-4192-A196-F71F2305DB56}"/>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6" action="ppaction://hlinksldjump"/>
            <a:extLst>
              <a:ext uri="{FF2B5EF4-FFF2-40B4-BE49-F238E27FC236}">
                <a16:creationId xmlns:a16="http://schemas.microsoft.com/office/drawing/2014/main" id="{72CB22DA-D92F-46B0-B977-8458C3DCC137}"/>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7" action="ppaction://hlinksldjump"/>
            <a:extLst>
              <a:ext uri="{FF2B5EF4-FFF2-40B4-BE49-F238E27FC236}">
                <a16:creationId xmlns:a16="http://schemas.microsoft.com/office/drawing/2014/main" id="{B2454C6B-9FF2-4E38-AB01-FF4466A1FB3F}"/>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8" action="ppaction://hlinksldjump"/>
            <a:extLst>
              <a:ext uri="{FF2B5EF4-FFF2-40B4-BE49-F238E27FC236}">
                <a16:creationId xmlns:a16="http://schemas.microsoft.com/office/drawing/2014/main" id="{55ED1F02-3888-4061-9AC9-E678FECC142F}"/>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9" action="ppaction://hlinksldjump"/>
            <a:extLst>
              <a:ext uri="{FF2B5EF4-FFF2-40B4-BE49-F238E27FC236}">
                <a16:creationId xmlns:a16="http://schemas.microsoft.com/office/drawing/2014/main" id="{88FE2FE5-8CA9-4763-AE99-507FAB431B9A}"/>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20" action="ppaction://hlinksldjump"/>
            <a:extLst>
              <a:ext uri="{FF2B5EF4-FFF2-40B4-BE49-F238E27FC236}">
                <a16:creationId xmlns:a16="http://schemas.microsoft.com/office/drawing/2014/main" id="{B7AACB5E-3DBC-43D6-AB11-1219AB704ABC}"/>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21" action="ppaction://hlinksldjump"/>
            <a:extLst>
              <a:ext uri="{FF2B5EF4-FFF2-40B4-BE49-F238E27FC236}">
                <a16:creationId xmlns:a16="http://schemas.microsoft.com/office/drawing/2014/main" id="{63E59388-F782-4DB7-8A16-DF90D25CD91C}"/>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22" action="ppaction://hlinksldjump"/>
            <a:extLst>
              <a:ext uri="{FF2B5EF4-FFF2-40B4-BE49-F238E27FC236}">
                <a16:creationId xmlns:a16="http://schemas.microsoft.com/office/drawing/2014/main" id="{F43DBC5B-7F10-46FD-9B56-30146CFC286F}"/>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extLst>
              <a:ext uri="{FF2B5EF4-FFF2-40B4-BE49-F238E27FC236}">
                <a16:creationId xmlns:a16="http://schemas.microsoft.com/office/drawing/2014/main" id="{64551404-1E7D-4A8B-BE71-6738C79FDD69}"/>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3" action="ppaction://hlinksldjump"/>
            <a:extLst>
              <a:ext uri="{FF2B5EF4-FFF2-40B4-BE49-F238E27FC236}">
                <a16:creationId xmlns:a16="http://schemas.microsoft.com/office/drawing/2014/main" id="{8E2A68BC-3EB6-4743-92E6-924BC1474E5C}"/>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4" action="ppaction://hlinksldjump"/>
            <a:extLst>
              <a:ext uri="{FF2B5EF4-FFF2-40B4-BE49-F238E27FC236}">
                <a16:creationId xmlns:a16="http://schemas.microsoft.com/office/drawing/2014/main" id="{B4631FAA-D2DA-4590-90D5-1F8F80D33C2A}"/>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25" action="ppaction://hlinksldjump"/>
            <a:extLst>
              <a:ext uri="{FF2B5EF4-FFF2-40B4-BE49-F238E27FC236}">
                <a16:creationId xmlns:a16="http://schemas.microsoft.com/office/drawing/2014/main" id="{BAA3B928-6292-452E-9442-774A236F3F5B}"/>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extLst>
              <a:ext uri="{FF2B5EF4-FFF2-40B4-BE49-F238E27FC236}">
                <a16:creationId xmlns:a16="http://schemas.microsoft.com/office/drawing/2014/main" id="{CAD67509-7964-4C66-945E-366E4A552417}"/>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37" name="Table 36">
            <a:extLst>
              <a:ext uri="{FF2B5EF4-FFF2-40B4-BE49-F238E27FC236}">
                <a16:creationId xmlns:a16="http://schemas.microsoft.com/office/drawing/2014/main" id="{285963B6-682A-401E-9070-B4232E12BACA}"/>
              </a:ext>
            </a:extLst>
          </p:cNvPr>
          <p:cNvGraphicFramePr>
            <a:graphicFrameLocks noGrp="1"/>
          </p:cNvGraphicFramePr>
          <p:nvPr>
            <p:extLst>
              <p:ext uri="{D42A27DB-BD31-4B8C-83A1-F6EECF244321}">
                <p14:modId xmlns:p14="http://schemas.microsoft.com/office/powerpoint/2010/main" val="2188758872"/>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38" name="Rectangle 37">
            <a:hlinkClick r:id="rId2" action="ppaction://hlinksldjump"/>
            <a:extLst>
              <a:ext uri="{FF2B5EF4-FFF2-40B4-BE49-F238E27FC236}">
                <a16:creationId xmlns:a16="http://schemas.microsoft.com/office/drawing/2014/main" id="{FEBB6FD7-E056-4BB7-AE29-6061E3F9F142}"/>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3" action="ppaction://hlinksldjump"/>
            <a:extLst>
              <a:ext uri="{FF2B5EF4-FFF2-40B4-BE49-F238E27FC236}">
                <a16:creationId xmlns:a16="http://schemas.microsoft.com/office/drawing/2014/main" id="{40682CCA-CC9A-41B1-9ED8-E1D817C2E385}"/>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4" action="ppaction://hlinksldjump"/>
            <a:extLst>
              <a:ext uri="{FF2B5EF4-FFF2-40B4-BE49-F238E27FC236}">
                <a16:creationId xmlns:a16="http://schemas.microsoft.com/office/drawing/2014/main" id="{63A38903-7AB1-4CD6-A6CD-021E368FADF8}"/>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5" action="ppaction://hlinksldjump"/>
            <a:extLst>
              <a:ext uri="{FF2B5EF4-FFF2-40B4-BE49-F238E27FC236}">
                <a16:creationId xmlns:a16="http://schemas.microsoft.com/office/drawing/2014/main" id="{13CDDC3F-4C8E-40DB-A1AE-3DC2FA84D4D6}"/>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6" action="ppaction://hlinksldjump"/>
            <a:extLst>
              <a:ext uri="{FF2B5EF4-FFF2-40B4-BE49-F238E27FC236}">
                <a16:creationId xmlns:a16="http://schemas.microsoft.com/office/drawing/2014/main" id="{C1E325BA-4F26-4640-8C71-98EC6FFE224A}"/>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7" action="ppaction://hlinksldjump"/>
            <a:extLst>
              <a:ext uri="{FF2B5EF4-FFF2-40B4-BE49-F238E27FC236}">
                <a16:creationId xmlns:a16="http://schemas.microsoft.com/office/drawing/2014/main" id="{7FD4742C-AC53-4833-AE3C-EA03D747E809}"/>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8" action="ppaction://hlinksldjump"/>
            <a:extLst>
              <a:ext uri="{FF2B5EF4-FFF2-40B4-BE49-F238E27FC236}">
                <a16:creationId xmlns:a16="http://schemas.microsoft.com/office/drawing/2014/main" id="{A8316D90-D2A7-4EDA-944E-223BCD94F826}"/>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9" action="ppaction://hlinksldjump"/>
            <a:extLst>
              <a:ext uri="{FF2B5EF4-FFF2-40B4-BE49-F238E27FC236}">
                <a16:creationId xmlns:a16="http://schemas.microsoft.com/office/drawing/2014/main" id="{1AB87BA6-1D5C-403F-9F3D-2F76E5CF31B6}"/>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extLst>
              <a:ext uri="{FF2B5EF4-FFF2-40B4-BE49-F238E27FC236}">
                <a16:creationId xmlns:a16="http://schemas.microsoft.com/office/drawing/2014/main" id="{20B1E035-CD89-4FE8-99D3-1B9435A4117D}"/>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10" action="ppaction://hlinksldjump"/>
            <a:extLst>
              <a:ext uri="{FF2B5EF4-FFF2-40B4-BE49-F238E27FC236}">
                <a16:creationId xmlns:a16="http://schemas.microsoft.com/office/drawing/2014/main" id="{A512795C-78DE-4E32-80C2-56BB681080AD}"/>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11" action="ppaction://hlinksldjump"/>
            <a:extLst>
              <a:ext uri="{FF2B5EF4-FFF2-40B4-BE49-F238E27FC236}">
                <a16:creationId xmlns:a16="http://schemas.microsoft.com/office/drawing/2014/main" id="{123A8BEE-7BE6-4BAE-A1A5-7619B33B7A99}"/>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2" action="ppaction://hlinksldjump"/>
            <a:extLst>
              <a:ext uri="{FF2B5EF4-FFF2-40B4-BE49-F238E27FC236}">
                <a16:creationId xmlns:a16="http://schemas.microsoft.com/office/drawing/2014/main" id="{27E7CB2D-9917-4EBF-A7D7-943CECE00C29}"/>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3" action="ppaction://hlinksldjump"/>
            <a:extLst>
              <a:ext uri="{FF2B5EF4-FFF2-40B4-BE49-F238E27FC236}">
                <a16:creationId xmlns:a16="http://schemas.microsoft.com/office/drawing/2014/main" id="{CF5CC496-EDB3-47B8-AB1D-036D4D4E77B6}"/>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4" action="ppaction://hlinksldjump"/>
            <a:extLst>
              <a:ext uri="{FF2B5EF4-FFF2-40B4-BE49-F238E27FC236}">
                <a16:creationId xmlns:a16="http://schemas.microsoft.com/office/drawing/2014/main" id="{1156B8A7-DF4D-4CF0-9372-DEE54DB3E441}"/>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5" action="ppaction://hlinksldjump"/>
            <a:extLst>
              <a:ext uri="{FF2B5EF4-FFF2-40B4-BE49-F238E27FC236}">
                <a16:creationId xmlns:a16="http://schemas.microsoft.com/office/drawing/2014/main" id="{200C5A0F-01CD-4E64-A7E3-7DF1FF79FCAE}"/>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6" action="ppaction://hlinksldjump"/>
            <a:extLst>
              <a:ext uri="{FF2B5EF4-FFF2-40B4-BE49-F238E27FC236}">
                <a16:creationId xmlns:a16="http://schemas.microsoft.com/office/drawing/2014/main" id="{D98D8A79-A86D-4701-9DB8-82D4835EC187}"/>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7" action="ppaction://hlinksldjump"/>
            <a:extLst>
              <a:ext uri="{FF2B5EF4-FFF2-40B4-BE49-F238E27FC236}">
                <a16:creationId xmlns:a16="http://schemas.microsoft.com/office/drawing/2014/main" id="{5F7C4B46-FA01-45E0-A8B5-4F63D6FB920D}"/>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8" action="ppaction://hlinksldjump"/>
            <a:extLst>
              <a:ext uri="{FF2B5EF4-FFF2-40B4-BE49-F238E27FC236}">
                <a16:creationId xmlns:a16="http://schemas.microsoft.com/office/drawing/2014/main" id="{1A0F6C27-C517-4CEF-8278-C81D0ACF8FF0}"/>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9" action="ppaction://hlinksldjump"/>
            <a:extLst>
              <a:ext uri="{FF2B5EF4-FFF2-40B4-BE49-F238E27FC236}">
                <a16:creationId xmlns:a16="http://schemas.microsoft.com/office/drawing/2014/main" id="{9C0F7CB2-82F9-4725-822A-49C029B8C583}"/>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20" action="ppaction://hlinksldjump"/>
            <a:extLst>
              <a:ext uri="{FF2B5EF4-FFF2-40B4-BE49-F238E27FC236}">
                <a16:creationId xmlns:a16="http://schemas.microsoft.com/office/drawing/2014/main" id="{2CF6D3B2-A2EF-4958-94CD-A7928FD5E81E}"/>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21" action="ppaction://hlinksldjump"/>
            <a:extLst>
              <a:ext uri="{FF2B5EF4-FFF2-40B4-BE49-F238E27FC236}">
                <a16:creationId xmlns:a16="http://schemas.microsoft.com/office/drawing/2014/main" id="{E9DC2594-D436-4655-8C95-316CF43133F1}"/>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22" action="ppaction://hlinksldjump"/>
            <a:extLst>
              <a:ext uri="{FF2B5EF4-FFF2-40B4-BE49-F238E27FC236}">
                <a16:creationId xmlns:a16="http://schemas.microsoft.com/office/drawing/2014/main" id="{D30B5BEB-6646-4EF9-9592-F94DFB131136}"/>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extLst>
              <a:ext uri="{FF2B5EF4-FFF2-40B4-BE49-F238E27FC236}">
                <a16:creationId xmlns:a16="http://schemas.microsoft.com/office/drawing/2014/main" id="{6793C88C-DCAD-4B23-8EFD-E9E0E6B14F62}"/>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3" action="ppaction://hlinksldjump"/>
            <a:extLst>
              <a:ext uri="{FF2B5EF4-FFF2-40B4-BE49-F238E27FC236}">
                <a16:creationId xmlns:a16="http://schemas.microsoft.com/office/drawing/2014/main" id="{F655F0BC-9A53-4CED-858E-288D793CD386}"/>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4" action="ppaction://hlinksldjump"/>
            <a:extLst>
              <a:ext uri="{FF2B5EF4-FFF2-40B4-BE49-F238E27FC236}">
                <a16:creationId xmlns:a16="http://schemas.microsoft.com/office/drawing/2014/main" id="{90A6849B-1A0A-4AC5-800D-AC8ED265A4A4}"/>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25" action="ppaction://hlinksldjump"/>
            <a:extLst>
              <a:ext uri="{FF2B5EF4-FFF2-40B4-BE49-F238E27FC236}">
                <a16:creationId xmlns:a16="http://schemas.microsoft.com/office/drawing/2014/main" id="{7E439E97-24F1-4F41-84B3-52B63737F5D0}"/>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14442812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583B6-FC3F-4AE6-94ED-51C7EAC52B76}"/>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Impact of delay – conversation starter 1</a:t>
            </a:r>
          </a:p>
        </p:txBody>
      </p:sp>
      <p:sp>
        <p:nvSpPr>
          <p:cNvPr id="4" name="Slide Number Placeholder 3">
            <a:extLst>
              <a:ext uri="{FF2B5EF4-FFF2-40B4-BE49-F238E27FC236}">
                <a16:creationId xmlns:a16="http://schemas.microsoft.com/office/drawing/2014/main" id="{49297E31-BF19-4CEE-ADCB-5557BBCCA64C}"/>
              </a:ext>
            </a:extLst>
          </p:cNvPr>
          <p:cNvSpPr>
            <a:spLocks noGrp="1"/>
          </p:cNvSpPr>
          <p:nvPr>
            <p:ph type="sldNum" sz="quarter" idx="18"/>
          </p:nvPr>
        </p:nvSpPr>
        <p:spPr>
          <a:xfrm>
            <a:off x="8108347" y="4871186"/>
            <a:ext cx="199973" cy="150200"/>
          </a:xfrm>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19</a:t>
            </a:fld>
            <a:endParaRPr lang="en-US" noProof="0" dirty="0">
              <a:latin typeface="Neue Frutiger World" panose="020B0603040304020203" pitchFamily="34" charset="0"/>
              <a:cs typeface="Neue Frutiger World" panose="020B0603040304020203" pitchFamily="34" charset="0"/>
            </a:endParaRPr>
          </a:p>
        </p:txBody>
      </p:sp>
      <p:sp>
        <p:nvSpPr>
          <p:cNvPr id="6" name="object 4">
            <a:extLst>
              <a:ext uri="{FF2B5EF4-FFF2-40B4-BE49-F238E27FC236}">
                <a16:creationId xmlns:a16="http://schemas.microsoft.com/office/drawing/2014/main" id="{23800BB7-1AA9-408E-B9EF-B67C6321EF11}"/>
              </a:ext>
            </a:extLst>
          </p:cNvPr>
          <p:cNvSpPr txBox="1"/>
          <p:nvPr/>
        </p:nvSpPr>
        <p:spPr>
          <a:xfrm>
            <a:off x="1547664" y="691186"/>
            <a:ext cx="3528391" cy="1664686"/>
          </a:xfrm>
          <a:prstGeom prst="rect">
            <a:avLst/>
          </a:prstGeom>
        </p:spPr>
        <p:txBody>
          <a:bodyPr vert="horz" wrap="square" lIns="0" tIns="92710" rIns="0" bIns="0" rtlCol="0">
            <a:spAutoFit/>
          </a:bodyPr>
          <a:lstStyle/>
          <a:p>
            <a:pPr marL="12699">
              <a:spcBef>
                <a:spcPts val="730"/>
              </a:spcBef>
            </a:pPr>
            <a:r>
              <a:rPr sz="1300" b="1" dirty="0">
                <a:solidFill>
                  <a:srgbClr val="231F20"/>
                </a:solidFill>
                <a:latin typeface="Neue Frutiger World" panose="020B0603040304020203" pitchFamily="34" charset="0"/>
                <a:cs typeface="Neue Frutiger World" panose="020B0603040304020203" pitchFamily="34" charset="0"/>
              </a:rPr>
              <a:t>Open ended</a:t>
            </a:r>
            <a:r>
              <a:rPr sz="1300" b="1" spc="5"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question:</a:t>
            </a:r>
            <a:endParaRPr sz="1300" dirty="0">
              <a:latin typeface="Neue Frutiger World" panose="020B0603040304020203" pitchFamily="34" charset="0"/>
              <a:cs typeface="Neue Frutiger World" panose="020B0603040304020203" pitchFamily="34" charset="0"/>
            </a:endParaRPr>
          </a:p>
          <a:p>
            <a:pPr marL="12699" marR="292710">
              <a:lnSpc>
                <a:spcPct val="104200"/>
              </a:lnSpc>
              <a:spcBef>
                <a:spcPts val="350"/>
              </a:spcBef>
            </a:pPr>
            <a:r>
              <a:rPr sz="800" spc="-5" dirty="0">
                <a:solidFill>
                  <a:srgbClr val="231F20"/>
                </a:solidFill>
                <a:latin typeface="Neue Frutiger World" panose="020B0603040304020203" pitchFamily="34" charset="0"/>
                <a:cs typeface="Neue Frutiger World" panose="020B0603040304020203" pitchFamily="34" charset="0"/>
              </a:rPr>
              <a:t>On</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verag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ow</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ong</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o</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ink</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ake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or </a:t>
            </a:r>
            <a:r>
              <a:rPr sz="800" dirty="0">
                <a:solidFill>
                  <a:srgbClr val="231F20"/>
                </a:solidFill>
                <a:latin typeface="Neue Frutiger World" panose="020B0603040304020203" pitchFamily="34" charset="0"/>
                <a:cs typeface="Neue Frutiger World" panose="020B0603040304020203" pitchFamily="34" charset="0"/>
              </a:rPr>
              <a:t>someon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r</a:t>
            </a:r>
            <a:r>
              <a:rPr sz="800" spc="-10" dirty="0">
                <a:solidFill>
                  <a:srgbClr val="231F20"/>
                </a:solidFill>
                <a:latin typeface="Neue Frutiger World" panose="020B0603040304020203" pitchFamily="34" charset="0"/>
                <a:cs typeface="Neue Frutiger World" panose="020B0603040304020203" pitchFamily="34" charset="0"/>
              </a:rPr>
              <a:t> hospital</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agnos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d</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get</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m</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over</a:t>
            </a:r>
            <a:r>
              <a:rPr sz="800" spc="-1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 </a:t>
            </a:r>
            <a:r>
              <a:rPr sz="800" dirty="0">
                <a:solidFill>
                  <a:srgbClr val="231F20"/>
                </a:solidFill>
                <a:latin typeface="Neue Frutiger World" panose="020B0603040304020203" pitchFamily="34" charset="0"/>
                <a:cs typeface="Neue Frutiger World" panose="020B0603040304020203" pitchFamily="34" charset="0"/>
              </a:rPr>
              <a:t>you</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or</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xtraction?</a:t>
            </a:r>
            <a:endParaRPr sz="800" dirty="0">
              <a:latin typeface="Neue Frutiger World" panose="020B0603040304020203" pitchFamily="34" charset="0"/>
              <a:cs typeface="Neue Frutiger World" panose="020B0603040304020203" pitchFamily="34" charset="0"/>
            </a:endParaRPr>
          </a:p>
          <a:p>
            <a:pPr>
              <a:lnSpc>
                <a:spcPct val="100000"/>
              </a:lnSpc>
            </a:pPr>
            <a:endParaRPr sz="900" dirty="0">
              <a:latin typeface="Neue Frutiger World" panose="020B0603040304020203" pitchFamily="34" charset="0"/>
              <a:cs typeface="Neue Frutiger World" panose="020B0603040304020203" pitchFamily="34" charset="0"/>
            </a:endParaRPr>
          </a:p>
          <a:p>
            <a:pPr>
              <a:spcBef>
                <a:spcPts val="10"/>
              </a:spcBef>
            </a:pPr>
            <a:endParaRPr sz="1050" dirty="0">
              <a:latin typeface="Neue Frutiger World" panose="020B0603040304020203" pitchFamily="34" charset="0"/>
              <a:cs typeface="Neue Frutiger World" panose="020B0603040304020203" pitchFamily="34" charset="0"/>
            </a:endParaRPr>
          </a:p>
          <a:p>
            <a:pPr marL="12699"/>
            <a:r>
              <a:rPr sz="1300" b="1" spc="-15" dirty="0">
                <a:solidFill>
                  <a:srgbClr val="231F20"/>
                </a:solidFill>
                <a:latin typeface="Neue Frutiger World" panose="020B0603040304020203" pitchFamily="34" charset="0"/>
                <a:cs typeface="Neue Frutiger World" panose="020B0603040304020203" pitchFamily="34" charset="0"/>
              </a:rPr>
              <a:t>Potential</a:t>
            </a:r>
            <a:r>
              <a:rPr sz="1300" b="1" spc="25" dirty="0">
                <a:solidFill>
                  <a:srgbClr val="231F20"/>
                </a:solidFill>
                <a:latin typeface="Neue Frutiger World" panose="020B0603040304020203" pitchFamily="34" charset="0"/>
                <a:cs typeface="Neue Frutiger World" panose="020B0603040304020203" pitchFamily="34" charset="0"/>
              </a:rPr>
              <a:t> </a:t>
            </a:r>
            <a:r>
              <a:rPr sz="1300" b="1" dirty="0">
                <a:solidFill>
                  <a:srgbClr val="231F20"/>
                </a:solidFill>
                <a:latin typeface="Neue Frutiger World" panose="020B0603040304020203" pitchFamily="34" charset="0"/>
                <a:cs typeface="Neue Frutiger World" panose="020B0603040304020203" pitchFamily="34" charset="0"/>
              </a:rPr>
              <a:t>physician</a:t>
            </a:r>
            <a:r>
              <a:rPr sz="1300" b="1" spc="30"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12699" marR="5079">
              <a:lnSpc>
                <a:spcPct val="104200"/>
              </a:lnSpc>
              <a:spcBef>
                <a:spcPts val="350"/>
              </a:spcBef>
            </a:pPr>
            <a:r>
              <a:rPr sz="800" spc="10" dirty="0">
                <a:solidFill>
                  <a:srgbClr val="231F20"/>
                </a:solidFill>
                <a:latin typeface="Neue Frutiger World" panose="020B0603040304020203" pitchFamily="34" charset="0"/>
                <a:cs typeface="Neue Frutiger World" panose="020B0603040304020203" pitchFamily="34" charset="0"/>
              </a:rPr>
              <a:t>M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vic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linic</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ifies</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me</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ASAP.</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owever th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im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robably</a:t>
            </a:r>
            <a:r>
              <a:rPr sz="800" spc="-3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varie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roughou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ospital</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pending</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n</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partment.</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en</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quick</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am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ay</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d</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ong</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month.</a:t>
            </a:r>
            <a:endParaRPr sz="800" dirty="0">
              <a:latin typeface="Neue Frutiger World" panose="020B0603040304020203" pitchFamily="34" charset="0"/>
              <a:cs typeface="Neue Frutiger World" panose="020B0603040304020203" pitchFamily="34" charset="0"/>
            </a:endParaRPr>
          </a:p>
        </p:txBody>
      </p:sp>
      <p:sp>
        <p:nvSpPr>
          <p:cNvPr id="7" name="object 5">
            <a:extLst>
              <a:ext uri="{FF2B5EF4-FFF2-40B4-BE49-F238E27FC236}">
                <a16:creationId xmlns:a16="http://schemas.microsoft.com/office/drawing/2014/main" id="{023F290C-5203-4CBA-8352-BCB6173CB6C5}"/>
              </a:ext>
            </a:extLst>
          </p:cNvPr>
          <p:cNvSpPr txBox="1"/>
          <p:nvPr/>
        </p:nvSpPr>
        <p:spPr>
          <a:xfrm>
            <a:off x="5292080" y="688635"/>
            <a:ext cx="3384376" cy="2511906"/>
          </a:xfrm>
          <a:prstGeom prst="rect">
            <a:avLst/>
          </a:prstGeom>
        </p:spPr>
        <p:txBody>
          <a:bodyPr vert="horz" wrap="square" lIns="0" tIns="92710" rIns="0" bIns="0" rtlCol="0">
            <a:spAutoFit/>
          </a:bodyPr>
          <a:lstStyle/>
          <a:p>
            <a:pPr marL="50796">
              <a:spcBef>
                <a:spcPts val="730"/>
              </a:spcBef>
            </a:pPr>
            <a:r>
              <a:rPr sz="1300" b="1" spc="-5" dirty="0">
                <a:solidFill>
                  <a:srgbClr val="231F20"/>
                </a:solidFill>
                <a:latin typeface="Neue Frutiger World" panose="020B0603040304020203" pitchFamily="34" charset="0"/>
                <a:cs typeface="Neue Frutiger World" panose="020B0603040304020203" pitchFamily="34" charset="0"/>
              </a:rPr>
              <a:t>Rep</a:t>
            </a:r>
            <a:r>
              <a:rPr sz="1300" b="1"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50796" marR="85083">
              <a:lnSpc>
                <a:spcPct val="104200"/>
              </a:lnSpc>
              <a:spcBef>
                <a:spcPts val="350"/>
              </a:spcBef>
            </a:pPr>
            <a:r>
              <a:rPr sz="800" dirty="0">
                <a:solidFill>
                  <a:srgbClr val="231F20"/>
                </a:solidFill>
                <a:latin typeface="Neue Frutiger World" panose="020B0603040304020203" pitchFamily="34" charset="0"/>
                <a:cs typeface="Neue Frutiger World" panose="020B0603040304020203" pitchFamily="34" charset="0"/>
              </a:rPr>
              <a:t>I</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ear</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rom</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lot</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hysicians</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I</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nteract </a:t>
            </a:r>
            <a:r>
              <a:rPr sz="800" spc="-5" dirty="0">
                <a:solidFill>
                  <a:srgbClr val="231F20"/>
                </a:solidFill>
                <a:latin typeface="Neue Frutiger World" panose="020B0603040304020203" pitchFamily="34" charset="0"/>
                <a:cs typeface="Neue Frutiger World" panose="020B0603040304020203" pitchFamily="34" charset="0"/>
              </a:rPr>
              <a:t>with.</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lang="sv-SE" sz="800" spc="-15" dirty="0">
                <a:solidFill>
                  <a:srgbClr val="231F20"/>
                </a:solidFill>
                <a:latin typeface="Neue Frutiger World" panose="020B0603040304020203" pitchFamily="34" charset="0"/>
                <a:cs typeface="Neue Frutiger World" panose="020B0603040304020203" pitchFamily="34" charset="0"/>
              </a:rPr>
              <a:t>'</a:t>
            </a:r>
            <a:r>
              <a:rPr sz="800" spc="-15" dirty="0">
                <a:solidFill>
                  <a:srgbClr val="231F20"/>
                </a:solidFill>
                <a:latin typeface="Neue Frutiger World" panose="020B0603040304020203" pitchFamily="34" charset="0"/>
                <a:cs typeface="Neue Frutiger World" panose="020B0603040304020203" pitchFamily="34" charset="0"/>
              </a:rPr>
              <a:t>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mportant</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e</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hortening</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ime</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ake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or the</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get</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 </a:t>
            </a:r>
            <a:r>
              <a:rPr lang="sv-SE" sz="800" spc="-10" dirty="0">
                <a:solidFill>
                  <a:srgbClr val="231F20"/>
                </a:solidFill>
                <a:latin typeface="Neue Frutiger World" panose="020B0603040304020203" pitchFamily="34" charset="0"/>
                <a:cs typeface="Neue Frutiger World" panose="020B0603040304020203" pitchFamily="34" charset="0"/>
              </a:rPr>
              <a:t>vital</a:t>
            </a:r>
            <a:r>
              <a:rPr sz="800" spc="-10" dirty="0">
                <a:solidFill>
                  <a:srgbClr val="231F20"/>
                </a:solidFill>
                <a:latin typeface="Neue Frutiger World" panose="020B0603040304020203" pitchFamily="34" charset="0"/>
                <a:cs typeface="Neue Frutiger World" panose="020B0603040304020203" pitchFamily="34" charset="0"/>
              </a:rPr>
              <a: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layed</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reatment</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infections</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n</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greatly</a:t>
            </a:r>
            <a:r>
              <a:rPr sz="800" spc="-20" dirty="0">
                <a:solidFill>
                  <a:srgbClr val="231F20"/>
                </a:solidFill>
                <a:latin typeface="Neue Frutiger World" panose="020B0603040304020203" pitchFamily="34" charset="0"/>
                <a:cs typeface="Neue Frutiger World" panose="020B0603040304020203" pitchFamily="34" charset="0"/>
              </a:rPr>
              <a:t> affec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urvival,</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d</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costs</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reatment.</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a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ecently</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hown</a:t>
            </a:r>
            <a:r>
              <a:rPr sz="80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layed</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xtraction</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gt;10</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ay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rom</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agnosi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d</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year</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urvival</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rate</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66%</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v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83%</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urvival</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rate</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or patients</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received</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xtractions</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ith</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early</a:t>
            </a:r>
            <a:r>
              <a:rPr sz="800" spc="-2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reatment</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lt;10</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ays).</a:t>
            </a:r>
            <a:r>
              <a:rPr sz="800" spc="-7" baseline="30864" dirty="0">
                <a:solidFill>
                  <a:srgbClr val="231F20"/>
                </a:solidFill>
                <a:latin typeface="Neue Frutiger World" panose="020B0603040304020203" pitchFamily="34" charset="0"/>
                <a:cs typeface="Neue Frutiger World" panose="020B0603040304020203" pitchFamily="34" charset="0"/>
              </a:rPr>
              <a:t>11</a:t>
            </a:r>
            <a:r>
              <a:rPr sz="800" spc="112" baseline="30864"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r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a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ls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drastic</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creas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mount</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im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pen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ospital </a:t>
            </a:r>
            <a:r>
              <a:rPr sz="800" dirty="0">
                <a:solidFill>
                  <a:srgbClr val="231F20"/>
                </a:solidFill>
                <a:latin typeface="Neue Frutiger World" panose="020B0603040304020203" pitchFamily="34" charset="0"/>
                <a:cs typeface="Neue Frutiger World" panose="020B0603040304020203" pitchFamily="34" charset="0"/>
              </a:rPr>
              <a:t>when</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reatmen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as</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layed.</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18+/-13 </a:t>
            </a:r>
            <a:r>
              <a:rPr sz="800" dirty="0">
                <a:solidFill>
                  <a:srgbClr val="231F20"/>
                </a:solidFill>
                <a:latin typeface="Neue Frutiger World" panose="020B0603040304020203" pitchFamily="34" charset="0"/>
                <a:cs typeface="Neue Frutiger World" panose="020B0603040304020203" pitchFamily="34" charset="0"/>
              </a:rPr>
              <a:t>vs.</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44</a:t>
            </a:r>
            <a:r>
              <a:rPr sz="800" spc="10" dirty="0">
                <a:solidFill>
                  <a:srgbClr val="231F20"/>
                </a:solidFill>
                <a:latin typeface="Neue Frutiger World" panose="020B0603040304020203" pitchFamily="34" charset="0"/>
                <a:cs typeface="Neue Frutiger World" panose="020B0603040304020203" pitchFamily="34" charset="0"/>
              </a:rPr>
              <a:t> </a:t>
            </a:r>
            <a:r>
              <a:rPr sz="800" spc="-25" dirty="0">
                <a:solidFill>
                  <a:srgbClr val="231F20"/>
                </a:solidFill>
                <a:latin typeface="Neue Frutiger World" panose="020B0603040304020203" pitchFamily="34" charset="0"/>
                <a:cs typeface="Neue Frutiger World" panose="020B0603040304020203" pitchFamily="34" charset="0"/>
              </a:rPr>
              <a:t>+/-38</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ays).</a:t>
            </a:r>
            <a:r>
              <a:rPr sz="800" spc="-7" baseline="30864" dirty="0">
                <a:solidFill>
                  <a:srgbClr val="231F20"/>
                </a:solidFill>
                <a:latin typeface="Neue Frutiger World" panose="020B0603040304020203" pitchFamily="34" charset="0"/>
                <a:cs typeface="Neue Frutiger World" panose="020B0603040304020203" pitchFamily="34" charset="0"/>
              </a:rPr>
              <a:t>11</a:t>
            </a:r>
            <a:r>
              <a:rPr sz="800" spc="112" baseline="30864"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i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greatly</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mpact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cost</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reat</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d</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negatively</a:t>
            </a:r>
            <a:r>
              <a:rPr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mpacts</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quality</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ife.</a:t>
            </a:r>
            <a:endParaRPr sz="800" dirty="0">
              <a:latin typeface="Neue Frutiger World" panose="020B0603040304020203" pitchFamily="34" charset="0"/>
              <a:cs typeface="Neue Frutiger World" panose="020B0603040304020203" pitchFamily="34" charset="0"/>
            </a:endParaRPr>
          </a:p>
          <a:p>
            <a:pPr>
              <a:lnSpc>
                <a:spcPct val="100000"/>
              </a:lnSpc>
            </a:pPr>
            <a:endParaRPr sz="800" dirty="0">
              <a:latin typeface="Neue Frutiger World" panose="020B0603040304020203" pitchFamily="34" charset="0"/>
              <a:cs typeface="Neue Frutiger World" panose="020B0603040304020203" pitchFamily="34" charset="0"/>
            </a:endParaRPr>
          </a:p>
          <a:p>
            <a:pPr>
              <a:spcBef>
                <a:spcPts val="40"/>
              </a:spcBef>
            </a:pPr>
            <a:endParaRPr sz="800" dirty="0">
              <a:latin typeface="Neue Frutiger World" panose="020B0603040304020203" pitchFamily="34" charset="0"/>
              <a:cs typeface="Neue Frutiger World" panose="020B0603040304020203" pitchFamily="34" charset="0"/>
            </a:endParaRPr>
          </a:p>
          <a:p>
            <a:pPr marL="50796" marR="17778">
              <a:lnSpc>
                <a:spcPct val="104200"/>
              </a:lnSpc>
            </a:pPr>
            <a:r>
              <a:rPr sz="800" dirty="0">
                <a:solidFill>
                  <a:srgbClr val="0077CD"/>
                </a:solidFill>
                <a:latin typeface="Neue Frutiger World" panose="020B0603040304020203" pitchFamily="34" charset="0"/>
                <a:cs typeface="Neue Frutiger World" panose="020B0603040304020203" pitchFamily="34" charset="0"/>
              </a:rPr>
              <a:t>I </a:t>
            </a:r>
            <a:r>
              <a:rPr sz="800" spc="-5" dirty="0">
                <a:solidFill>
                  <a:srgbClr val="0077CD"/>
                </a:solidFill>
                <a:latin typeface="Neue Frutiger World" panose="020B0603040304020203" pitchFamily="34" charset="0"/>
                <a:cs typeface="Neue Frutiger World" panose="020B0603040304020203" pitchFamily="34" charset="0"/>
              </a:rPr>
              <a:t>know </a:t>
            </a:r>
            <a:r>
              <a:rPr sz="800" dirty="0">
                <a:solidFill>
                  <a:srgbClr val="0077CD"/>
                </a:solidFill>
                <a:latin typeface="Neue Frutiger World" panose="020B0603040304020203" pitchFamily="34" charset="0"/>
                <a:cs typeface="Neue Frutiger World" panose="020B0603040304020203" pitchFamily="34" charset="0"/>
              </a:rPr>
              <a:t>you </a:t>
            </a:r>
            <a:r>
              <a:rPr sz="800" spc="-10" dirty="0">
                <a:solidFill>
                  <a:srgbClr val="0077CD"/>
                </a:solidFill>
                <a:latin typeface="Neue Frutiger World" panose="020B0603040304020203" pitchFamily="34" charset="0"/>
                <a:cs typeface="Neue Frutiger World" panose="020B0603040304020203" pitchFamily="34" charset="0"/>
              </a:rPr>
              <a:t>have </a:t>
            </a:r>
            <a:r>
              <a:rPr sz="800" spc="-5" dirty="0">
                <a:solidFill>
                  <a:srgbClr val="0077CD"/>
                </a:solidFill>
                <a:latin typeface="Neue Frutiger World" panose="020B0603040304020203" pitchFamily="34" charset="0"/>
                <a:cs typeface="Neue Frutiger World" panose="020B0603040304020203" pitchFamily="34" charset="0"/>
              </a:rPr>
              <a:t>some challenges </a:t>
            </a:r>
            <a:r>
              <a:rPr sz="800" spc="-10" dirty="0">
                <a:solidFill>
                  <a:srgbClr val="0077CD"/>
                </a:solidFill>
                <a:latin typeface="Neue Frutiger World" panose="020B0603040304020203" pitchFamily="34" charset="0"/>
                <a:cs typeface="Neue Frutiger World" panose="020B0603040304020203" pitchFamily="34" charset="0"/>
              </a:rPr>
              <a:t>getting </a:t>
            </a:r>
            <a:r>
              <a:rPr sz="800" spc="-5" dirty="0">
                <a:solidFill>
                  <a:srgbClr val="0077CD"/>
                </a:solidFill>
                <a:latin typeface="Neue Frutiger World" panose="020B0603040304020203" pitchFamily="34" charset="0"/>
                <a:cs typeface="Neue Frutiger World" panose="020B0603040304020203" pitchFamily="34" charset="0"/>
              </a:rPr>
              <a:t>surgical backup </a:t>
            </a:r>
            <a:r>
              <a:rPr sz="800" dirty="0">
                <a:solidFill>
                  <a:srgbClr val="0077CD"/>
                </a:solidFill>
                <a:latin typeface="Neue Frutiger World" panose="020B0603040304020203" pitchFamily="34" charset="0"/>
                <a:cs typeface="Neue Frutiger World" panose="020B0603040304020203" pitchFamily="34" charset="0"/>
              </a:rPr>
              <a:t>quickly </a:t>
            </a:r>
            <a:r>
              <a:rPr sz="800" spc="-10" dirty="0">
                <a:solidFill>
                  <a:srgbClr val="0077CD"/>
                </a:solidFill>
                <a:latin typeface="Neue Frutiger World" panose="020B0603040304020203" pitchFamily="34" charset="0"/>
                <a:cs typeface="Neue Frutiger World" panose="020B0603040304020203" pitchFamily="34" charset="0"/>
              </a:rPr>
              <a:t>for </a:t>
            </a:r>
            <a:r>
              <a:rPr sz="800" dirty="0">
                <a:solidFill>
                  <a:srgbClr val="0077CD"/>
                </a:solidFill>
                <a:latin typeface="Neue Frutiger World" panose="020B0603040304020203" pitchFamily="34" charset="0"/>
                <a:cs typeface="Neue Frutiger World" panose="020B0603040304020203" pitchFamily="34" charset="0"/>
              </a:rPr>
              <a:t>your </a:t>
            </a:r>
            <a:r>
              <a:rPr sz="800" spc="-5" dirty="0">
                <a:solidFill>
                  <a:srgbClr val="0077CD"/>
                </a:solidFill>
                <a:latin typeface="Neue Frutiger World" panose="020B0603040304020203" pitchFamily="34" charset="0"/>
                <a:cs typeface="Neue Frutiger World" panose="020B0603040304020203" pitchFamily="34" charset="0"/>
              </a:rPr>
              <a:t>cases. </a:t>
            </a:r>
            <a:r>
              <a:rPr sz="800" dirty="0">
                <a:solidFill>
                  <a:srgbClr val="0077CD"/>
                </a:solidFill>
                <a:latin typeface="Neue Frutiger World" panose="020B0603040304020203" pitchFamily="34" charset="0"/>
                <a:cs typeface="Neue Frutiger World" panose="020B0603040304020203" pitchFamily="34" charset="0"/>
              </a:rPr>
              <a:t>Who </a:t>
            </a:r>
            <a:r>
              <a:rPr sz="800" spc="-5" dirty="0">
                <a:solidFill>
                  <a:srgbClr val="0077CD"/>
                </a:solidFill>
                <a:latin typeface="Neue Frutiger World" panose="020B0603040304020203" pitchFamily="34" charset="0"/>
                <a:cs typeface="Neue Frutiger World" panose="020B0603040304020203" pitchFamily="34" charset="0"/>
              </a:rPr>
              <a:t>can we</a:t>
            </a:r>
            <a:r>
              <a:rPr lang="en-GB"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share this information </a:t>
            </a:r>
            <a:r>
              <a:rPr sz="800" spc="-5" dirty="0">
                <a:solidFill>
                  <a:srgbClr val="0077CD"/>
                </a:solidFill>
                <a:latin typeface="Neue Frutiger World" panose="020B0603040304020203" pitchFamily="34" charset="0"/>
                <a:cs typeface="Neue Frutiger World" panose="020B0603040304020203" pitchFamily="34" charset="0"/>
              </a:rPr>
              <a:t>with </a:t>
            </a:r>
            <a:r>
              <a:rPr sz="800" spc="-20" dirty="0">
                <a:solidFill>
                  <a:srgbClr val="0077CD"/>
                </a:solidFill>
                <a:latin typeface="Neue Frutiger World" panose="020B0603040304020203" pitchFamily="34" charset="0"/>
                <a:cs typeface="Neue Frutiger World" panose="020B0603040304020203" pitchFamily="34" charset="0"/>
              </a:rPr>
              <a:t>to </a:t>
            </a:r>
            <a:r>
              <a:rPr sz="800" dirty="0">
                <a:solidFill>
                  <a:srgbClr val="0077CD"/>
                </a:solidFill>
                <a:latin typeface="Neue Frutiger World" panose="020B0603040304020203" pitchFamily="34" charset="0"/>
                <a:cs typeface="Neue Frutiger World" panose="020B0603040304020203" pitchFamily="34" charset="0"/>
              </a:rPr>
              <a:t>try </a:t>
            </a:r>
            <a:r>
              <a:rPr sz="800" spc="-5" dirty="0">
                <a:solidFill>
                  <a:srgbClr val="0077CD"/>
                </a:solidFill>
                <a:latin typeface="Neue Frutiger World" panose="020B0603040304020203" pitchFamily="34" charset="0"/>
                <a:cs typeface="Neue Frutiger World" panose="020B0603040304020203" pitchFamily="34" charset="0"/>
              </a:rPr>
              <a:t>and </a:t>
            </a:r>
            <a:r>
              <a:rPr sz="800" dirty="0">
                <a:solidFill>
                  <a:srgbClr val="0077CD"/>
                </a:solidFill>
                <a:latin typeface="Neue Frutiger World" panose="020B0603040304020203" pitchFamily="34" charset="0"/>
                <a:cs typeface="Neue Frutiger World" panose="020B0603040304020203" pitchFamily="34" charset="0"/>
              </a:rPr>
              <a:t>change </a:t>
            </a:r>
            <a:r>
              <a:rPr sz="800" spc="-10" dirty="0">
                <a:solidFill>
                  <a:srgbClr val="0077CD"/>
                </a:solidFill>
                <a:latin typeface="Neue Frutiger World" panose="020B0603040304020203" pitchFamily="34" charset="0"/>
                <a:cs typeface="Neue Frutiger World" panose="020B0603040304020203" pitchFamily="34" charset="0"/>
              </a:rPr>
              <a:t>that, </a:t>
            </a:r>
            <a:r>
              <a:rPr sz="800" spc="-5" dirty="0">
                <a:solidFill>
                  <a:srgbClr val="0077CD"/>
                </a:solidFill>
                <a:latin typeface="Neue Frutiger World" panose="020B0603040304020203" pitchFamily="34" charset="0"/>
                <a:cs typeface="Neue Frutiger World" panose="020B0603040304020203" pitchFamily="34" charset="0"/>
              </a:rPr>
              <a:t>since </a:t>
            </a:r>
            <a:r>
              <a:rPr sz="800" spc="-15" dirty="0">
                <a:solidFill>
                  <a:srgbClr val="0077CD"/>
                </a:solidFill>
                <a:latin typeface="Neue Frutiger World" panose="020B0603040304020203" pitchFamily="34" charset="0"/>
                <a:cs typeface="Neue Frutiger World" panose="020B0603040304020203" pitchFamily="34" charset="0"/>
              </a:rPr>
              <a:t>its </a:t>
            </a:r>
            <a:r>
              <a:rPr sz="800" spc="-5" dirty="0">
                <a:solidFill>
                  <a:srgbClr val="0077CD"/>
                </a:solidFill>
                <a:latin typeface="Neue Frutiger World" panose="020B0603040304020203" pitchFamily="34" charset="0"/>
                <a:cs typeface="Neue Frutiger World" panose="020B0603040304020203" pitchFamily="34" charset="0"/>
              </a:rPr>
              <a:t>in </a:t>
            </a:r>
            <a:r>
              <a:rPr sz="800" spc="-10" dirty="0">
                <a:solidFill>
                  <a:srgbClr val="0077CD"/>
                </a:solidFill>
                <a:latin typeface="Neue Frutiger World" panose="020B0603040304020203" pitchFamily="34" charset="0"/>
                <a:cs typeface="Neue Frutiger World" panose="020B0603040304020203" pitchFamily="34" charset="0"/>
              </a:rPr>
              <a:t>the patients best </a:t>
            </a:r>
            <a:r>
              <a:rPr sz="800" spc="-15" dirty="0">
                <a:solidFill>
                  <a:srgbClr val="0077CD"/>
                </a:solidFill>
                <a:latin typeface="Neue Frutiger World" panose="020B0603040304020203" pitchFamily="34" charset="0"/>
                <a:cs typeface="Neue Frutiger World" panose="020B0603040304020203" pitchFamily="34" charset="0"/>
              </a:rPr>
              <a:t>interest </a:t>
            </a:r>
            <a:r>
              <a:rPr sz="800" spc="-20" dirty="0">
                <a:solidFill>
                  <a:srgbClr val="0077CD"/>
                </a:solidFill>
                <a:latin typeface="Neue Frutiger World" panose="020B0603040304020203" pitchFamily="34" charset="0"/>
                <a:cs typeface="Neue Frutiger World" panose="020B0603040304020203" pitchFamily="34" charset="0"/>
              </a:rPr>
              <a:t>to </a:t>
            </a:r>
            <a:r>
              <a:rPr sz="800" spc="-10" dirty="0">
                <a:solidFill>
                  <a:srgbClr val="0077CD"/>
                </a:solidFill>
                <a:latin typeface="Neue Frutiger World" panose="020B0603040304020203" pitchFamily="34" charset="0"/>
                <a:cs typeface="Neue Frutiger World" panose="020B0603040304020203" pitchFamily="34" charset="0"/>
              </a:rPr>
              <a:t>get</a:t>
            </a:r>
            <a:r>
              <a:rPr lang="en-GB"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an</a:t>
            </a:r>
            <a:r>
              <a:rPr sz="80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extraction</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ooner</a:t>
            </a:r>
            <a:r>
              <a:rPr sz="800" spc="-1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than</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later?</a:t>
            </a:r>
            <a:endParaRPr sz="800" dirty="0">
              <a:latin typeface="Neue Frutiger World" panose="020B0603040304020203" pitchFamily="34" charset="0"/>
              <a:cs typeface="Neue Frutiger World" panose="020B0603040304020203" pitchFamily="34" charset="0"/>
            </a:endParaRPr>
          </a:p>
        </p:txBody>
      </p:sp>
      <p:sp>
        <p:nvSpPr>
          <p:cNvPr id="8" name="object 6">
            <a:extLst>
              <a:ext uri="{FF2B5EF4-FFF2-40B4-BE49-F238E27FC236}">
                <a16:creationId xmlns:a16="http://schemas.microsoft.com/office/drawing/2014/main" id="{AB2017E1-5B83-43B1-A092-1D257799E5CE}"/>
              </a:ext>
            </a:extLst>
          </p:cNvPr>
          <p:cNvSpPr txBox="1"/>
          <p:nvPr/>
        </p:nvSpPr>
        <p:spPr>
          <a:xfrm>
            <a:off x="1691680" y="2543821"/>
            <a:ext cx="3218815" cy="612988"/>
          </a:xfrm>
          <a:prstGeom prst="rect">
            <a:avLst/>
          </a:prstGeom>
        </p:spPr>
        <p:txBody>
          <a:bodyPr vert="horz" wrap="square" lIns="0" tIns="12700" rIns="0" bIns="0" rtlCol="0">
            <a:spAutoFit/>
          </a:bodyPr>
          <a:lstStyle/>
          <a:p>
            <a:pPr marL="38097" marR="30477" algn="just">
              <a:spcBef>
                <a:spcPts val="100"/>
              </a:spcBef>
            </a:pPr>
            <a:r>
              <a:rPr sz="1300" spc="15" dirty="0">
                <a:solidFill>
                  <a:srgbClr val="0077CD"/>
                </a:solidFill>
                <a:latin typeface="Neue Frutiger World" panose="020B0603040304020203" pitchFamily="34" charset="0"/>
                <a:cs typeface="Neue Frutiger World" panose="020B0603040304020203" pitchFamily="34" charset="0"/>
              </a:rPr>
              <a:t>27%</a:t>
            </a:r>
            <a:r>
              <a:rPr sz="130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decrease</a:t>
            </a:r>
            <a:r>
              <a:rPr sz="1300" spc="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in</a:t>
            </a:r>
            <a:r>
              <a:rPr sz="1300"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days</a:t>
            </a:r>
            <a:r>
              <a:rPr sz="1300" spc="-5" dirty="0">
                <a:solidFill>
                  <a:srgbClr val="0077CD"/>
                </a:solidFill>
                <a:latin typeface="Neue Frutiger World" panose="020B0603040304020203" pitchFamily="34" charset="0"/>
                <a:cs typeface="Neue Frutiger World" panose="020B0603040304020203" pitchFamily="34" charset="0"/>
              </a:rPr>
              <a:t> </a:t>
            </a:r>
            <a:r>
              <a:rPr sz="1300" spc="-25" dirty="0">
                <a:solidFill>
                  <a:srgbClr val="0077CD"/>
                </a:solidFill>
                <a:latin typeface="Neue Frutiger World" panose="020B0603040304020203" pitchFamily="34" charset="0"/>
                <a:cs typeface="Neue Frutiger World" panose="020B0603040304020203" pitchFamily="34" charset="0"/>
              </a:rPr>
              <a:t>to</a:t>
            </a:r>
            <a:r>
              <a:rPr sz="130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device</a:t>
            </a:r>
            <a:r>
              <a:rPr sz="1300" spc="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removal,</a:t>
            </a:r>
            <a:r>
              <a:rPr lang="en-GB" sz="1300" spc="-1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and</a:t>
            </a:r>
            <a:r>
              <a:rPr sz="1300" spc="5"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71%</a:t>
            </a:r>
            <a:r>
              <a:rPr sz="1300" spc="1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decrease</a:t>
            </a:r>
            <a:r>
              <a:rPr sz="1300" spc="10"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in</a:t>
            </a:r>
            <a:r>
              <a:rPr sz="1300" spc="10"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days</a:t>
            </a:r>
            <a:r>
              <a:rPr sz="1300" dirty="0">
                <a:solidFill>
                  <a:srgbClr val="0077CD"/>
                </a:solidFill>
                <a:latin typeface="Neue Frutiger World" panose="020B0603040304020203" pitchFamily="34" charset="0"/>
                <a:cs typeface="Neue Frutiger World" panose="020B0603040304020203" pitchFamily="34" charset="0"/>
              </a:rPr>
              <a:t> </a:t>
            </a:r>
            <a:r>
              <a:rPr sz="1300" spc="-25" dirty="0">
                <a:solidFill>
                  <a:srgbClr val="0077CD"/>
                </a:solidFill>
                <a:latin typeface="Neue Frutiger World" panose="020B0603040304020203" pitchFamily="34" charset="0"/>
                <a:cs typeface="Neue Frutiger World" panose="020B0603040304020203" pitchFamily="34" charset="0"/>
              </a:rPr>
              <a:t>to</a:t>
            </a:r>
            <a:r>
              <a:rPr sz="1300" spc="1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cardiology</a:t>
            </a:r>
            <a:r>
              <a:rPr lang="en-GB" sz="1300" spc="-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consult,</a:t>
            </a:r>
            <a:r>
              <a:rPr sz="1300" spc="10" dirty="0">
                <a:solidFill>
                  <a:srgbClr val="0077CD"/>
                </a:solidFill>
                <a:latin typeface="Neue Frutiger World" panose="020B0603040304020203" pitchFamily="34" charset="0"/>
                <a:cs typeface="Neue Frutiger World" panose="020B0603040304020203" pitchFamily="34" charset="0"/>
              </a:rPr>
              <a:t> </a:t>
            </a:r>
            <a:r>
              <a:rPr sz="1300" dirty="0">
                <a:solidFill>
                  <a:srgbClr val="0077CD"/>
                </a:solidFill>
                <a:latin typeface="Neue Frutiger World" panose="020B0603040304020203" pitchFamily="34" charset="0"/>
                <a:cs typeface="Neue Frutiger World" panose="020B0603040304020203" pitchFamily="34" charset="0"/>
              </a:rPr>
              <a:t>by</a:t>
            </a:r>
            <a:r>
              <a:rPr sz="1300" spc="-30"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implementing</a:t>
            </a:r>
            <a:r>
              <a:rPr sz="1300" spc="1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EMR.</a:t>
            </a:r>
            <a:r>
              <a:rPr sz="1125" b="1" spc="7" baseline="33333" dirty="0">
                <a:solidFill>
                  <a:srgbClr val="0077CD"/>
                </a:solidFill>
                <a:latin typeface="Neue Frutiger World" panose="020B0603040304020203" pitchFamily="34" charset="0"/>
                <a:cs typeface="Neue Frutiger World" panose="020B0603040304020203" pitchFamily="34" charset="0"/>
              </a:rPr>
              <a:t>25</a:t>
            </a:r>
            <a:endParaRPr sz="1125" baseline="33333" dirty="0">
              <a:latin typeface="Neue Frutiger World" panose="020B0603040304020203" pitchFamily="34" charset="0"/>
              <a:cs typeface="Neue Frutiger World" panose="020B0603040304020203" pitchFamily="34" charset="0"/>
            </a:endParaRPr>
          </a:p>
        </p:txBody>
      </p:sp>
      <p:grpSp>
        <p:nvGrpSpPr>
          <p:cNvPr id="9" name="object 7">
            <a:extLst>
              <a:ext uri="{FF2B5EF4-FFF2-40B4-BE49-F238E27FC236}">
                <a16:creationId xmlns:a16="http://schemas.microsoft.com/office/drawing/2014/main" id="{CB990FB4-E644-4EA2-8C12-B1F55C944557}"/>
              </a:ext>
            </a:extLst>
          </p:cNvPr>
          <p:cNvGrpSpPr/>
          <p:nvPr/>
        </p:nvGrpSpPr>
        <p:grpSpPr>
          <a:xfrm>
            <a:off x="1930017" y="3321004"/>
            <a:ext cx="2929890" cy="1341755"/>
            <a:chOff x="1064496" y="5125415"/>
            <a:chExt cx="2929890" cy="1341755"/>
          </a:xfrm>
        </p:grpSpPr>
        <p:sp>
          <p:nvSpPr>
            <p:cNvPr id="10" name="object 8">
              <a:extLst>
                <a:ext uri="{FF2B5EF4-FFF2-40B4-BE49-F238E27FC236}">
                  <a16:creationId xmlns:a16="http://schemas.microsoft.com/office/drawing/2014/main" id="{FFCD72F9-EF63-4223-8A4B-24E707D415C4}"/>
                </a:ext>
              </a:extLst>
            </p:cNvPr>
            <p:cNvSpPr/>
            <p:nvPr/>
          </p:nvSpPr>
          <p:spPr>
            <a:xfrm>
              <a:off x="2094871" y="5552269"/>
              <a:ext cx="0" cy="907415"/>
            </a:xfrm>
            <a:custGeom>
              <a:avLst/>
              <a:gdLst/>
              <a:ahLst/>
              <a:cxnLst/>
              <a:rect l="l" t="t" r="r" b="b"/>
              <a:pathLst>
                <a:path h="907414">
                  <a:moveTo>
                    <a:pt x="0" y="906805"/>
                  </a:moveTo>
                  <a:lnTo>
                    <a:pt x="0" y="0"/>
                  </a:lnTo>
                </a:path>
              </a:pathLst>
            </a:custGeom>
            <a:ln w="5918">
              <a:solidFill>
                <a:srgbClr val="BCBEC0"/>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1" name="object 9">
              <a:extLst>
                <a:ext uri="{FF2B5EF4-FFF2-40B4-BE49-F238E27FC236}">
                  <a16:creationId xmlns:a16="http://schemas.microsoft.com/office/drawing/2014/main" id="{1C45B8BC-5B14-4AD1-AE2E-2351D4B4AD7B}"/>
                </a:ext>
              </a:extLst>
            </p:cNvPr>
            <p:cNvSpPr/>
            <p:nvPr/>
          </p:nvSpPr>
          <p:spPr>
            <a:xfrm>
              <a:off x="1607235" y="6278029"/>
              <a:ext cx="351790" cy="187960"/>
            </a:xfrm>
            <a:custGeom>
              <a:avLst/>
              <a:gdLst/>
              <a:ahLst/>
              <a:cxnLst/>
              <a:rect l="l" t="t" r="r" b="b"/>
              <a:pathLst>
                <a:path w="351789" h="187960">
                  <a:moveTo>
                    <a:pt x="351218" y="0"/>
                  </a:moveTo>
                  <a:lnTo>
                    <a:pt x="0" y="0"/>
                  </a:lnTo>
                  <a:lnTo>
                    <a:pt x="0" y="187553"/>
                  </a:lnTo>
                  <a:lnTo>
                    <a:pt x="351218" y="187553"/>
                  </a:lnTo>
                  <a:lnTo>
                    <a:pt x="351218" y="0"/>
                  </a:lnTo>
                  <a:close/>
                </a:path>
              </a:pathLst>
            </a:custGeom>
            <a:solidFill>
              <a:srgbClr val="65A944"/>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2" name="object 10">
              <a:extLst>
                <a:ext uri="{FF2B5EF4-FFF2-40B4-BE49-F238E27FC236}">
                  <a16:creationId xmlns:a16="http://schemas.microsoft.com/office/drawing/2014/main" id="{C71E0B31-BD63-4306-A7F0-5A50921C7DAE}"/>
                </a:ext>
              </a:extLst>
            </p:cNvPr>
            <p:cNvSpPr/>
            <p:nvPr/>
          </p:nvSpPr>
          <p:spPr>
            <a:xfrm>
              <a:off x="1216990" y="5809157"/>
              <a:ext cx="351790" cy="656590"/>
            </a:xfrm>
            <a:custGeom>
              <a:avLst/>
              <a:gdLst/>
              <a:ahLst/>
              <a:cxnLst/>
              <a:rect l="l" t="t" r="r" b="b"/>
              <a:pathLst>
                <a:path w="351790" h="656589">
                  <a:moveTo>
                    <a:pt x="351218" y="0"/>
                  </a:moveTo>
                  <a:lnTo>
                    <a:pt x="0" y="0"/>
                  </a:lnTo>
                  <a:lnTo>
                    <a:pt x="0" y="656424"/>
                  </a:lnTo>
                  <a:lnTo>
                    <a:pt x="351218" y="656424"/>
                  </a:lnTo>
                  <a:lnTo>
                    <a:pt x="351218" y="0"/>
                  </a:lnTo>
                  <a:close/>
                </a:path>
              </a:pathLst>
            </a:custGeom>
            <a:solidFill>
              <a:srgbClr val="0062A0"/>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3" name="object 11">
              <a:extLst>
                <a:ext uri="{FF2B5EF4-FFF2-40B4-BE49-F238E27FC236}">
                  <a16:creationId xmlns:a16="http://schemas.microsoft.com/office/drawing/2014/main" id="{5F980CF5-FA51-418D-B6FD-F632BF0ED536}"/>
                </a:ext>
              </a:extLst>
            </p:cNvPr>
            <p:cNvSpPr/>
            <p:nvPr/>
          </p:nvSpPr>
          <p:spPr>
            <a:xfrm>
              <a:off x="2622575" y="6278029"/>
              <a:ext cx="351790" cy="187960"/>
            </a:xfrm>
            <a:custGeom>
              <a:avLst/>
              <a:gdLst/>
              <a:ahLst/>
              <a:cxnLst/>
              <a:rect l="l" t="t" r="r" b="b"/>
              <a:pathLst>
                <a:path w="351789" h="187960">
                  <a:moveTo>
                    <a:pt x="351218" y="0"/>
                  </a:moveTo>
                  <a:lnTo>
                    <a:pt x="0" y="0"/>
                  </a:lnTo>
                  <a:lnTo>
                    <a:pt x="0" y="187553"/>
                  </a:lnTo>
                  <a:lnTo>
                    <a:pt x="351218" y="187553"/>
                  </a:lnTo>
                  <a:lnTo>
                    <a:pt x="351218" y="0"/>
                  </a:lnTo>
                  <a:close/>
                </a:path>
              </a:pathLst>
            </a:custGeom>
            <a:solidFill>
              <a:srgbClr val="65A944"/>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4" name="object 12">
              <a:extLst>
                <a:ext uri="{FF2B5EF4-FFF2-40B4-BE49-F238E27FC236}">
                  <a16:creationId xmlns:a16="http://schemas.microsoft.com/office/drawing/2014/main" id="{7412420D-DF71-4714-B6F6-7FE0313A7603}"/>
                </a:ext>
              </a:extLst>
            </p:cNvPr>
            <p:cNvSpPr/>
            <p:nvPr/>
          </p:nvSpPr>
          <p:spPr>
            <a:xfrm>
              <a:off x="2232317" y="5983312"/>
              <a:ext cx="351790" cy="482600"/>
            </a:xfrm>
            <a:custGeom>
              <a:avLst/>
              <a:gdLst/>
              <a:ahLst/>
              <a:cxnLst/>
              <a:rect l="l" t="t" r="r" b="b"/>
              <a:pathLst>
                <a:path w="351789" h="482600">
                  <a:moveTo>
                    <a:pt x="351231" y="0"/>
                  </a:moveTo>
                  <a:lnTo>
                    <a:pt x="0" y="0"/>
                  </a:lnTo>
                  <a:lnTo>
                    <a:pt x="0" y="482269"/>
                  </a:lnTo>
                  <a:lnTo>
                    <a:pt x="351231" y="482269"/>
                  </a:lnTo>
                  <a:lnTo>
                    <a:pt x="351231" y="0"/>
                  </a:lnTo>
                  <a:close/>
                </a:path>
              </a:pathLst>
            </a:custGeom>
            <a:solidFill>
              <a:srgbClr val="0062A0"/>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5" name="object 13">
              <a:extLst>
                <a:ext uri="{FF2B5EF4-FFF2-40B4-BE49-F238E27FC236}">
                  <a16:creationId xmlns:a16="http://schemas.microsoft.com/office/drawing/2014/main" id="{E0C92483-81A0-4016-9752-8A4993CFB642}"/>
                </a:ext>
              </a:extLst>
            </p:cNvPr>
            <p:cNvSpPr/>
            <p:nvPr/>
          </p:nvSpPr>
          <p:spPr>
            <a:xfrm>
              <a:off x="3573856" y="5701982"/>
              <a:ext cx="351790" cy="763905"/>
            </a:xfrm>
            <a:custGeom>
              <a:avLst/>
              <a:gdLst/>
              <a:ahLst/>
              <a:cxnLst/>
              <a:rect l="l" t="t" r="r" b="b"/>
              <a:pathLst>
                <a:path w="351789" h="763904">
                  <a:moveTo>
                    <a:pt x="351218" y="0"/>
                  </a:moveTo>
                  <a:lnTo>
                    <a:pt x="0" y="0"/>
                  </a:lnTo>
                  <a:lnTo>
                    <a:pt x="0" y="763587"/>
                  </a:lnTo>
                  <a:lnTo>
                    <a:pt x="351218" y="763587"/>
                  </a:lnTo>
                  <a:lnTo>
                    <a:pt x="351218" y="0"/>
                  </a:lnTo>
                  <a:close/>
                </a:path>
              </a:pathLst>
            </a:custGeom>
            <a:solidFill>
              <a:srgbClr val="65A944"/>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6" name="object 14">
              <a:extLst>
                <a:ext uri="{FF2B5EF4-FFF2-40B4-BE49-F238E27FC236}">
                  <a16:creationId xmlns:a16="http://schemas.microsoft.com/office/drawing/2014/main" id="{4CCDA80E-BB32-414B-8631-3BAC64AACA5B}"/>
                </a:ext>
              </a:extLst>
            </p:cNvPr>
            <p:cNvSpPr/>
            <p:nvPr/>
          </p:nvSpPr>
          <p:spPr>
            <a:xfrm>
              <a:off x="3183610" y="5420664"/>
              <a:ext cx="351790" cy="1045210"/>
            </a:xfrm>
            <a:custGeom>
              <a:avLst/>
              <a:gdLst/>
              <a:ahLst/>
              <a:cxnLst/>
              <a:rect l="l" t="t" r="r" b="b"/>
              <a:pathLst>
                <a:path w="351789" h="1045210">
                  <a:moveTo>
                    <a:pt x="351218" y="0"/>
                  </a:moveTo>
                  <a:lnTo>
                    <a:pt x="0" y="0"/>
                  </a:lnTo>
                  <a:lnTo>
                    <a:pt x="0" y="1044905"/>
                  </a:lnTo>
                  <a:lnTo>
                    <a:pt x="351218" y="1044905"/>
                  </a:lnTo>
                  <a:lnTo>
                    <a:pt x="351218" y="0"/>
                  </a:lnTo>
                  <a:close/>
                </a:path>
              </a:pathLst>
            </a:custGeom>
            <a:solidFill>
              <a:srgbClr val="0062A0"/>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7" name="object 15">
              <a:extLst>
                <a:ext uri="{FF2B5EF4-FFF2-40B4-BE49-F238E27FC236}">
                  <a16:creationId xmlns:a16="http://schemas.microsoft.com/office/drawing/2014/main" id="{745D7694-B867-4AFA-B971-8DA8C77872D1}"/>
                </a:ext>
              </a:extLst>
            </p:cNvPr>
            <p:cNvSpPr/>
            <p:nvPr/>
          </p:nvSpPr>
          <p:spPr>
            <a:xfrm>
              <a:off x="1067671" y="6434913"/>
              <a:ext cx="2923540" cy="29209"/>
            </a:xfrm>
            <a:custGeom>
              <a:avLst/>
              <a:gdLst/>
              <a:ahLst/>
              <a:cxnLst/>
              <a:rect l="l" t="t" r="r" b="b"/>
              <a:pathLst>
                <a:path w="2923540" h="29210">
                  <a:moveTo>
                    <a:pt x="0" y="29197"/>
                  </a:moveTo>
                  <a:lnTo>
                    <a:pt x="2923514" y="29197"/>
                  </a:lnTo>
                </a:path>
                <a:path w="2923540" h="29210">
                  <a:moveTo>
                    <a:pt x="0" y="29197"/>
                  </a:moveTo>
                  <a:lnTo>
                    <a:pt x="0" y="0"/>
                  </a:lnTo>
                </a:path>
              </a:pathLst>
            </a:custGeom>
            <a:ln w="5765">
              <a:solidFill>
                <a:srgbClr val="231F20"/>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8" name="object 16">
              <a:extLst>
                <a:ext uri="{FF2B5EF4-FFF2-40B4-BE49-F238E27FC236}">
                  <a16:creationId xmlns:a16="http://schemas.microsoft.com/office/drawing/2014/main" id="{3D08DAE1-4787-47FC-87FA-CA3156FA3520}"/>
                </a:ext>
              </a:extLst>
            </p:cNvPr>
            <p:cNvSpPr/>
            <p:nvPr/>
          </p:nvSpPr>
          <p:spPr>
            <a:xfrm>
              <a:off x="3991183" y="6434913"/>
              <a:ext cx="0" cy="29209"/>
            </a:xfrm>
            <a:custGeom>
              <a:avLst/>
              <a:gdLst/>
              <a:ahLst/>
              <a:cxnLst/>
              <a:rect l="l" t="t" r="r" b="b"/>
              <a:pathLst>
                <a:path h="29210">
                  <a:moveTo>
                    <a:pt x="0" y="29197"/>
                  </a:moveTo>
                  <a:lnTo>
                    <a:pt x="0" y="0"/>
                  </a:lnTo>
                </a:path>
              </a:pathLst>
            </a:custGeom>
            <a:ln w="5765">
              <a:solidFill>
                <a:srgbClr val="231F20"/>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9" name="object 17">
              <a:extLst>
                <a:ext uri="{FF2B5EF4-FFF2-40B4-BE49-F238E27FC236}">
                  <a16:creationId xmlns:a16="http://schemas.microsoft.com/office/drawing/2014/main" id="{66D50440-8729-40C3-8B9E-DB412F2C767D}"/>
                </a:ext>
              </a:extLst>
            </p:cNvPr>
            <p:cNvSpPr/>
            <p:nvPr/>
          </p:nvSpPr>
          <p:spPr>
            <a:xfrm>
              <a:off x="1067671" y="5148198"/>
              <a:ext cx="0" cy="1285875"/>
            </a:xfrm>
            <a:custGeom>
              <a:avLst/>
              <a:gdLst/>
              <a:ahLst/>
              <a:cxnLst/>
              <a:rect l="l" t="t" r="r" b="b"/>
              <a:pathLst>
                <a:path h="1285875">
                  <a:moveTo>
                    <a:pt x="0" y="1285252"/>
                  </a:moveTo>
                  <a:lnTo>
                    <a:pt x="0" y="0"/>
                  </a:lnTo>
                </a:path>
              </a:pathLst>
            </a:custGeom>
            <a:ln w="6350">
              <a:solidFill>
                <a:srgbClr val="231F20"/>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20" name="object 18">
              <a:extLst>
                <a:ext uri="{FF2B5EF4-FFF2-40B4-BE49-F238E27FC236}">
                  <a16:creationId xmlns:a16="http://schemas.microsoft.com/office/drawing/2014/main" id="{2CC70B01-C3D9-402E-8336-16BF3BF08F21}"/>
                </a:ext>
              </a:extLst>
            </p:cNvPr>
            <p:cNvSpPr/>
            <p:nvPr/>
          </p:nvSpPr>
          <p:spPr>
            <a:xfrm>
              <a:off x="3078693" y="5553572"/>
              <a:ext cx="0" cy="907415"/>
            </a:xfrm>
            <a:custGeom>
              <a:avLst/>
              <a:gdLst/>
              <a:ahLst/>
              <a:cxnLst/>
              <a:rect l="l" t="t" r="r" b="b"/>
              <a:pathLst>
                <a:path h="907414">
                  <a:moveTo>
                    <a:pt x="0" y="906792"/>
                  </a:moveTo>
                  <a:lnTo>
                    <a:pt x="0" y="0"/>
                  </a:lnTo>
                </a:path>
              </a:pathLst>
            </a:custGeom>
            <a:ln w="5918">
              <a:solidFill>
                <a:srgbClr val="BCBEC0"/>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pic>
          <p:nvPicPr>
            <p:cNvPr id="21" name="object 19">
              <a:extLst>
                <a:ext uri="{FF2B5EF4-FFF2-40B4-BE49-F238E27FC236}">
                  <a16:creationId xmlns:a16="http://schemas.microsoft.com/office/drawing/2014/main" id="{3924E467-DB34-495F-B84D-C34636D29AE1}"/>
                </a:ext>
              </a:extLst>
            </p:cNvPr>
            <p:cNvPicPr/>
            <p:nvPr/>
          </p:nvPicPr>
          <p:blipFill>
            <a:blip r:embed="rId2" cstate="print"/>
            <a:stretch>
              <a:fillRect/>
            </a:stretch>
          </p:blipFill>
          <p:spPr>
            <a:xfrm>
              <a:off x="1872997" y="5125415"/>
              <a:ext cx="98259" cy="98259"/>
            </a:xfrm>
            <a:prstGeom prst="rect">
              <a:avLst/>
            </a:prstGeom>
          </p:spPr>
        </p:pic>
        <p:pic>
          <p:nvPicPr>
            <p:cNvPr id="22" name="object 20">
              <a:extLst>
                <a:ext uri="{FF2B5EF4-FFF2-40B4-BE49-F238E27FC236}">
                  <a16:creationId xmlns:a16="http://schemas.microsoft.com/office/drawing/2014/main" id="{4EE24464-4609-4169-9435-9E582A3D2C89}"/>
                </a:ext>
              </a:extLst>
            </p:cNvPr>
            <p:cNvPicPr/>
            <p:nvPr/>
          </p:nvPicPr>
          <p:blipFill>
            <a:blip r:embed="rId3" cstate="print"/>
            <a:stretch>
              <a:fillRect/>
            </a:stretch>
          </p:blipFill>
          <p:spPr>
            <a:xfrm>
              <a:off x="1872997" y="5334575"/>
              <a:ext cx="98259" cy="98259"/>
            </a:xfrm>
            <a:prstGeom prst="rect">
              <a:avLst/>
            </a:prstGeom>
          </p:spPr>
        </p:pic>
      </p:grpSp>
      <p:sp>
        <p:nvSpPr>
          <p:cNvPr id="23" name="object 21">
            <a:extLst>
              <a:ext uri="{FF2B5EF4-FFF2-40B4-BE49-F238E27FC236}">
                <a16:creationId xmlns:a16="http://schemas.microsoft.com/office/drawing/2014/main" id="{DA98F599-DC5B-4A49-8A71-05E05FA451A7}"/>
              </a:ext>
            </a:extLst>
          </p:cNvPr>
          <p:cNvSpPr txBox="1"/>
          <p:nvPr/>
        </p:nvSpPr>
        <p:spPr>
          <a:xfrm>
            <a:off x="1994957" y="4688924"/>
            <a:ext cx="1908810" cy="259045"/>
          </a:xfrm>
          <a:prstGeom prst="rect">
            <a:avLst/>
          </a:prstGeom>
        </p:spPr>
        <p:txBody>
          <a:bodyPr vert="horz" wrap="square" lIns="0" tIns="12700" rIns="0" bIns="0" rtlCol="0">
            <a:spAutoFit/>
          </a:bodyPr>
          <a:lstStyle/>
          <a:p>
            <a:pPr marL="12699" marR="5079" indent="259693">
              <a:spcBef>
                <a:spcPts val="100"/>
              </a:spcBef>
              <a:tabLst>
                <a:tab pos="1036868" algn="l"/>
                <a:tab pos="1068615" algn="l"/>
              </a:tabLst>
            </a:pPr>
            <a:r>
              <a:rPr sz="800" spc="-5" dirty="0">
                <a:solidFill>
                  <a:srgbClr val="231F20"/>
                </a:solidFill>
                <a:latin typeface="Neue Frutiger World" panose="020B0603040304020203" pitchFamily="34" charset="0"/>
                <a:cs typeface="Neue Frutiger World" panose="020B0603040304020203" pitchFamily="34" charset="0"/>
              </a:rPr>
              <a:t>Time</a:t>
            </a:r>
            <a:r>
              <a:rPr sz="80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	</a:t>
            </a:r>
            <a:r>
              <a:rPr sz="800" spc="-5" dirty="0">
                <a:solidFill>
                  <a:srgbClr val="231F20"/>
                </a:solidFill>
                <a:latin typeface="Neue Frutiger World" panose="020B0603040304020203" pitchFamily="34" charset="0"/>
                <a:cs typeface="Neue Frutiger World" panose="020B0603040304020203" pitchFamily="34" charset="0"/>
              </a:rPr>
              <a:t>Time </a:t>
            </a:r>
            <a:r>
              <a:rPr sz="800" spc="-20" dirty="0">
                <a:solidFill>
                  <a:srgbClr val="231F20"/>
                </a:solidFill>
                <a:latin typeface="Neue Frutiger World" panose="020B0603040304020203" pitchFamily="34" charset="0"/>
                <a:cs typeface="Neue Frutiger World" panose="020B0603040304020203" pitchFamily="34" charset="0"/>
              </a:rPr>
              <a:t>to </a:t>
            </a:r>
            <a:r>
              <a:rPr sz="800" spc="-10" dirty="0">
                <a:solidFill>
                  <a:srgbClr val="231F20"/>
                </a:solidFill>
                <a:latin typeface="Neue Frutiger World" panose="020B0603040304020203" pitchFamily="34" charset="0"/>
                <a:cs typeface="Neue Frutiger World" panose="020B0603040304020203" pitchFamily="34" charset="0"/>
              </a:rPr>
              <a:t>infectious</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rdiology</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consult		</a:t>
            </a:r>
            <a:r>
              <a:rPr sz="800" spc="-5" dirty="0">
                <a:solidFill>
                  <a:srgbClr val="231F20"/>
                </a:solidFill>
                <a:latin typeface="Neue Frutiger World" panose="020B0603040304020203" pitchFamily="34" charset="0"/>
                <a:cs typeface="Neue Frutiger World" panose="020B0603040304020203" pitchFamily="34" charset="0"/>
              </a:rPr>
              <a:t>diseases</a:t>
            </a:r>
            <a:r>
              <a:rPr sz="800" spc="-2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consult</a:t>
            </a:r>
            <a:endParaRPr sz="800" dirty="0">
              <a:latin typeface="Neue Frutiger World" panose="020B0603040304020203" pitchFamily="34" charset="0"/>
              <a:cs typeface="Neue Frutiger World" panose="020B0603040304020203" pitchFamily="34" charset="0"/>
            </a:endParaRPr>
          </a:p>
        </p:txBody>
      </p:sp>
      <p:sp>
        <p:nvSpPr>
          <p:cNvPr id="24" name="object 22">
            <a:extLst>
              <a:ext uri="{FF2B5EF4-FFF2-40B4-BE49-F238E27FC236}">
                <a16:creationId xmlns:a16="http://schemas.microsoft.com/office/drawing/2014/main" id="{F5AFC181-694A-4D74-A48E-E2B7D8D3F154}"/>
              </a:ext>
            </a:extLst>
          </p:cNvPr>
          <p:cNvSpPr txBox="1"/>
          <p:nvPr/>
        </p:nvSpPr>
        <p:spPr>
          <a:xfrm>
            <a:off x="1738680" y="3872913"/>
            <a:ext cx="123111" cy="264160"/>
          </a:xfrm>
          <a:prstGeom prst="rect">
            <a:avLst/>
          </a:prstGeom>
        </p:spPr>
        <p:txBody>
          <a:bodyPr vert="vert270" wrap="square" lIns="0" tIns="5080" rIns="0" bIns="0" rtlCol="0">
            <a:spAutoFit/>
          </a:bodyPr>
          <a:lstStyle/>
          <a:p>
            <a:pPr marL="12699">
              <a:spcBef>
                <a:spcPts val="40"/>
              </a:spcBef>
            </a:pPr>
            <a:r>
              <a:rPr sz="800" spc="-5" dirty="0">
                <a:solidFill>
                  <a:srgbClr val="231F20"/>
                </a:solidFill>
                <a:latin typeface="Neue Frutiger World" panose="020B0603040304020203" pitchFamily="34" charset="0"/>
                <a:cs typeface="Neue Frutiger World" panose="020B0603040304020203" pitchFamily="34" charset="0"/>
              </a:rPr>
              <a:t>D</a:t>
            </a:r>
            <a:r>
              <a:rPr sz="800" spc="-30"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y</a:t>
            </a:r>
            <a:r>
              <a:rPr sz="800" dirty="0">
                <a:solidFill>
                  <a:srgbClr val="231F20"/>
                </a:solidFill>
                <a:latin typeface="Neue Frutiger World" panose="020B0603040304020203" pitchFamily="34" charset="0"/>
                <a:cs typeface="Neue Frutiger World" panose="020B0603040304020203" pitchFamily="34" charset="0"/>
              </a:rPr>
              <a:t>s</a:t>
            </a:r>
            <a:endParaRPr sz="800" dirty="0">
              <a:latin typeface="Neue Frutiger World" panose="020B0603040304020203" pitchFamily="34" charset="0"/>
              <a:cs typeface="Neue Frutiger World" panose="020B0603040304020203" pitchFamily="34" charset="0"/>
            </a:endParaRPr>
          </a:p>
        </p:txBody>
      </p:sp>
      <p:sp>
        <p:nvSpPr>
          <p:cNvPr id="25" name="object 23">
            <a:extLst>
              <a:ext uri="{FF2B5EF4-FFF2-40B4-BE49-F238E27FC236}">
                <a16:creationId xmlns:a16="http://schemas.microsoft.com/office/drawing/2014/main" id="{F22E2098-22C2-45F8-A516-89F2A4F708E7}"/>
              </a:ext>
            </a:extLst>
          </p:cNvPr>
          <p:cNvSpPr txBox="1"/>
          <p:nvPr/>
        </p:nvSpPr>
        <p:spPr>
          <a:xfrm>
            <a:off x="2169624" y="3773832"/>
            <a:ext cx="177165" cy="135935"/>
          </a:xfrm>
          <a:prstGeom prst="rect">
            <a:avLst/>
          </a:prstGeom>
        </p:spPr>
        <p:txBody>
          <a:bodyPr vert="horz" wrap="square" lIns="0" tIns="12700" rIns="0" bIns="0" rtlCol="0">
            <a:spAutoFit/>
          </a:bodyPr>
          <a:lstStyle/>
          <a:p>
            <a:pPr marL="12699">
              <a:spcBef>
                <a:spcPts val="100"/>
              </a:spcBef>
            </a:pPr>
            <a:r>
              <a:rPr sz="800" spc="5" dirty="0">
                <a:solidFill>
                  <a:srgbClr val="231F20"/>
                </a:solidFill>
                <a:latin typeface="Neue Frutiger World" panose="020B0603040304020203" pitchFamily="34" charset="0"/>
                <a:cs typeface="Neue Frutiger World" panose="020B0603040304020203" pitchFamily="34" charset="0"/>
              </a:rPr>
              <a:t>4.</a:t>
            </a:r>
            <a:r>
              <a:rPr sz="800" spc="15" dirty="0">
                <a:solidFill>
                  <a:srgbClr val="231F20"/>
                </a:solidFill>
                <a:latin typeface="Neue Frutiger World" panose="020B0603040304020203" pitchFamily="34" charset="0"/>
                <a:cs typeface="Neue Frutiger World" panose="020B0603040304020203" pitchFamily="34" charset="0"/>
              </a:rPr>
              <a:t>9</a:t>
            </a:r>
            <a:endParaRPr sz="800" dirty="0">
              <a:latin typeface="Neue Frutiger World" panose="020B0603040304020203" pitchFamily="34" charset="0"/>
              <a:cs typeface="Neue Frutiger World" panose="020B0603040304020203" pitchFamily="34" charset="0"/>
            </a:endParaRPr>
          </a:p>
        </p:txBody>
      </p:sp>
      <p:sp>
        <p:nvSpPr>
          <p:cNvPr id="26" name="object 24">
            <a:extLst>
              <a:ext uri="{FF2B5EF4-FFF2-40B4-BE49-F238E27FC236}">
                <a16:creationId xmlns:a16="http://schemas.microsoft.com/office/drawing/2014/main" id="{FA10662A-4067-452E-9358-E6B4BB7CCB33}"/>
              </a:ext>
            </a:extLst>
          </p:cNvPr>
          <p:cNvSpPr txBox="1"/>
          <p:nvPr/>
        </p:nvSpPr>
        <p:spPr>
          <a:xfrm>
            <a:off x="2574500" y="4242715"/>
            <a:ext cx="146685" cy="259045"/>
          </a:xfrm>
          <a:prstGeom prst="rect">
            <a:avLst/>
          </a:prstGeom>
        </p:spPr>
        <p:txBody>
          <a:bodyPr vert="horz" wrap="square" lIns="0" tIns="12700" rIns="0" bIns="0" rtlCol="0">
            <a:spAutoFit/>
          </a:bodyPr>
          <a:lstStyle/>
          <a:p>
            <a:pPr marL="12699">
              <a:spcBef>
                <a:spcPts val="100"/>
              </a:spcBef>
            </a:pPr>
            <a:r>
              <a:rPr sz="800" dirty="0">
                <a:solidFill>
                  <a:srgbClr val="231F20"/>
                </a:solidFill>
                <a:latin typeface="Neue Frutiger World" panose="020B0603040304020203" pitchFamily="34" charset="0"/>
                <a:cs typeface="Neue Frutiger World" panose="020B0603040304020203" pitchFamily="34" charset="0"/>
              </a:rPr>
              <a:t>1.4</a:t>
            </a:r>
            <a:endParaRPr sz="800" dirty="0">
              <a:latin typeface="Neue Frutiger World" panose="020B0603040304020203" pitchFamily="34" charset="0"/>
              <a:cs typeface="Neue Frutiger World" panose="020B0603040304020203" pitchFamily="34" charset="0"/>
            </a:endParaRPr>
          </a:p>
        </p:txBody>
      </p:sp>
      <p:sp>
        <p:nvSpPr>
          <p:cNvPr id="27" name="object 25">
            <a:extLst>
              <a:ext uri="{FF2B5EF4-FFF2-40B4-BE49-F238E27FC236}">
                <a16:creationId xmlns:a16="http://schemas.microsoft.com/office/drawing/2014/main" id="{52292C55-98EC-464F-AF22-1EB121139BE0}"/>
              </a:ext>
            </a:extLst>
          </p:cNvPr>
          <p:cNvSpPr txBox="1"/>
          <p:nvPr/>
        </p:nvSpPr>
        <p:spPr>
          <a:xfrm>
            <a:off x="2896774" y="3288994"/>
            <a:ext cx="499745" cy="348813"/>
          </a:xfrm>
          <a:prstGeom prst="rect">
            <a:avLst/>
          </a:prstGeom>
        </p:spPr>
        <p:txBody>
          <a:bodyPr vert="horz" wrap="square" lIns="0" tIns="12700" rIns="0" bIns="0" rtlCol="0">
            <a:spAutoFit/>
          </a:bodyPr>
          <a:lstStyle/>
          <a:p>
            <a:pPr marL="12699">
              <a:spcBef>
                <a:spcPts val="100"/>
              </a:spcBef>
            </a:pPr>
            <a:r>
              <a:rPr sz="800" spc="-15" dirty="0">
                <a:solidFill>
                  <a:srgbClr val="231F20"/>
                </a:solidFill>
                <a:latin typeface="Neue Frutiger World" panose="020B0603040304020203" pitchFamily="34" charset="0"/>
                <a:cs typeface="Neue Frutiger World" panose="020B0603040304020203" pitchFamily="34" charset="0"/>
              </a:rPr>
              <a:t>Pre</a:t>
            </a:r>
            <a:r>
              <a:rPr sz="800" spc="-3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EMR</a:t>
            </a:r>
            <a:endParaRPr sz="800" dirty="0">
              <a:latin typeface="Neue Frutiger World" panose="020B0603040304020203" pitchFamily="34" charset="0"/>
              <a:cs typeface="Neue Frutiger World" panose="020B0603040304020203" pitchFamily="34" charset="0"/>
            </a:endParaRPr>
          </a:p>
          <a:p>
            <a:pPr marL="12699">
              <a:spcBef>
                <a:spcPts val="685"/>
              </a:spcBef>
            </a:pPr>
            <a:r>
              <a:rPr sz="800" spc="-15" dirty="0">
                <a:solidFill>
                  <a:srgbClr val="231F20"/>
                </a:solidFill>
                <a:latin typeface="Neue Frutiger World" panose="020B0603040304020203" pitchFamily="34" charset="0"/>
                <a:cs typeface="Neue Frutiger World" panose="020B0603040304020203" pitchFamily="34" charset="0"/>
              </a:rPr>
              <a:t>P</a:t>
            </a:r>
            <a:r>
              <a:rPr sz="800" spc="-10" dirty="0">
                <a:solidFill>
                  <a:srgbClr val="231F20"/>
                </a:solidFill>
                <a:latin typeface="Neue Frutiger World" panose="020B0603040304020203" pitchFamily="34" charset="0"/>
                <a:cs typeface="Neue Frutiger World" panose="020B0603040304020203" pitchFamily="34" charset="0"/>
              </a:rPr>
              <a:t>ost</a:t>
            </a:r>
            <a:r>
              <a:rPr sz="800" spc="5" dirty="0">
                <a:solidFill>
                  <a:srgbClr val="231F20"/>
                </a:solidFill>
                <a:latin typeface="Neue Frutiger World" panose="020B0603040304020203" pitchFamily="34" charset="0"/>
                <a:cs typeface="Neue Frutiger World" panose="020B0603040304020203" pitchFamily="34" charset="0"/>
              </a:rPr>
              <a:t> EMR</a:t>
            </a:r>
            <a:endParaRPr sz="800" dirty="0">
              <a:latin typeface="Neue Frutiger World" panose="020B0603040304020203" pitchFamily="34" charset="0"/>
              <a:cs typeface="Neue Frutiger World" panose="020B0603040304020203" pitchFamily="34" charset="0"/>
            </a:endParaRPr>
          </a:p>
        </p:txBody>
      </p:sp>
      <p:sp>
        <p:nvSpPr>
          <p:cNvPr id="28" name="object 26">
            <a:extLst>
              <a:ext uri="{FF2B5EF4-FFF2-40B4-BE49-F238E27FC236}">
                <a16:creationId xmlns:a16="http://schemas.microsoft.com/office/drawing/2014/main" id="{71F5AD56-0571-4110-9E10-7C0719123172}"/>
              </a:ext>
            </a:extLst>
          </p:cNvPr>
          <p:cNvSpPr txBox="1"/>
          <p:nvPr/>
        </p:nvSpPr>
        <p:spPr>
          <a:xfrm>
            <a:off x="3187248" y="3950740"/>
            <a:ext cx="172085" cy="135935"/>
          </a:xfrm>
          <a:prstGeom prst="rect">
            <a:avLst/>
          </a:prstGeom>
        </p:spPr>
        <p:txBody>
          <a:bodyPr vert="horz" wrap="square" lIns="0" tIns="12700" rIns="0" bIns="0" rtlCol="0">
            <a:spAutoFit/>
          </a:bodyPr>
          <a:lstStyle/>
          <a:p>
            <a:pPr marL="12699">
              <a:spcBef>
                <a:spcPts val="100"/>
              </a:spcBef>
            </a:pPr>
            <a:r>
              <a:rPr sz="800" dirty="0">
                <a:solidFill>
                  <a:srgbClr val="231F20"/>
                </a:solidFill>
                <a:latin typeface="Neue Frutiger World" panose="020B0603040304020203" pitchFamily="34" charset="0"/>
                <a:cs typeface="Neue Frutiger World" panose="020B0603040304020203" pitchFamily="34" charset="0"/>
              </a:rPr>
              <a:t>3</a:t>
            </a:r>
            <a:r>
              <a:rPr sz="800" spc="-5" dirty="0">
                <a:solidFill>
                  <a:srgbClr val="231F20"/>
                </a:solidFill>
                <a:latin typeface="Neue Frutiger World" panose="020B0603040304020203" pitchFamily="34" charset="0"/>
                <a:cs typeface="Neue Frutiger World" panose="020B0603040304020203" pitchFamily="34" charset="0"/>
              </a:rPr>
              <a:t>.6</a:t>
            </a:r>
            <a:endParaRPr sz="800" dirty="0">
              <a:latin typeface="Neue Frutiger World" panose="020B0603040304020203" pitchFamily="34" charset="0"/>
              <a:cs typeface="Neue Frutiger World" panose="020B0603040304020203" pitchFamily="34" charset="0"/>
            </a:endParaRPr>
          </a:p>
        </p:txBody>
      </p:sp>
      <p:sp>
        <p:nvSpPr>
          <p:cNvPr id="29" name="object 27">
            <a:extLst>
              <a:ext uri="{FF2B5EF4-FFF2-40B4-BE49-F238E27FC236}">
                <a16:creationId xmlns:a16="http://schemas.microsoft.com/office/drawing/2014/main" id="{AAEBFCB3-1C1A-4510-8276-2283982F27DD}"/>
              </a:ext>
            </a:extLst>
          </p:cNvPr>
          <p:cNvSpPr txBox="1"/>
          <p:nvPr/>
        </p:nvSpPr>
        <p:spPr>
          <a:xfrm>
            <a:off x="3589889" y="4242737"/>
            <a:ext cx="146685" cy="259045"/>
          </a:xfrm>
          <a:prstGeom prst="rect">
            <a:avLst/>
          </a:prstGeom>
        </p:spPr>
        <p:txBody>
          <a:bodyPr vert="horz" wrap="square" lIns="0" tIns="12700" rIns="0" bIns="0" rtlCol="0">
            <a:spAutoFit/>
          </a:bodyPr>
          <a:lstStyle/>
          <a:p>
            <a:pPr marL="12699">
              <a:spcBef>
                <a:spcPts val="100"/>
              </a:spcBef>
            </a:pPr>
            <a:r>
              <a:rPr sz="800" dirty="0">
                <a:solidFill>
                  <a:srgbClr val="231F20"/>
                </a:solidFill>
                <a:latin typeface="Neue Frutiger World" panose="020B0603040304020203" pitchFamily="34" charset="0"/>
                <a:cs typeface="Neue Frutiger World" panose="020B0603040304020203" pitchFamily="34" charset="0"/>
              </a:rPr>
              <a:t>1.4</a:t>
            </a:r>
            <a:endParaRPr sz="800" dirty="0">
              <a:latin typeface="Neue Frutiger World" panose="020B0603040304020203" pitchFamily="34" charset="0"/>
              <a:cs typeface="Neue Frutiger World" panose="020B0603040304020203" pitchFamily="34" charset="0"/>
            </a:endParaRPr>
          </a:p>
        </p:txBody>
      </p:sp>
      <p:sp>
        <p:nvSpPr>
          <p:cNvPr id="30" name="object 28">
            <a:extLst>
              <a:ext uri="{FF2B5EF4-FFF2-40B4-BE49-F238E27FC236}">
                <a16:creationId xmlns:a16="http://schemas.microsoft.com/office/drawing/2014/main" id="{B8342C1C-F301-44C9-BC10-A5DEC6DA9C7B}"/>
              </a:ext>
            </a:extLst>
          </p:cNvPr>
          <p:cNvSpPr txBox="1"/>
          <p:nvPr/>
        </p:nvSpPr>
        <p:spPr>
          <a:xfrm>
            <a:off x="4144429" y="3385341"/>
            <a:ext cx="160655" cy="135935"/>
          </a:xfrm>
          <a:prstGeom prst="rect">
            <a:avLst/>
          </a:prstGeom>
        </p:spPr>
        <p:txBody>
          <a:bodyPr vert="horz" wrap="square" lIns="0" tIns="12700" rIns="0" bIns="0" rtlCol="0">
            <a:spAutoFit/>
          </a:bodyPr>
          <a:lstStyle/>
          <a:p>
            <a:pPr marL="12699">
              <a:spcBef>
                <a:spcPts val="100"/>
              </a:spcBef>
            </a:pPr>
            <a:r>
              <a:rPr sz="800" spc="-20" dirty="0">
                <a:solidFill>
                  <a:srgbClr val="231F20"/>
                </a:solidFill>
                <a:latin typeface="Neue Frutiger World" panose="020B0603040304020203" pitchFamily="34" charset="0"/>
                <a:cs typeface="Neue Frutiger World" panose="020B0603040304020203" pitchFamily="34" charset="0"/>
              </a:rPr>
              <a:t>7</a:t>
            </a:r>
            <a:r>
              <a:rPr sz="800" spc="5" dirty="0">
                <a:solidFill>
                  <a:srgbClr val="231F20"/>
                </a:solidFill>
                <a:latin typeface="Neue Frutiger World" panose="020B0603040304020203" pitchFamily="34" charset="0"/>
                <a:cs typeface="Neue Frutiger World" panose="020B0603040304020203" pitchFamily="34" charset="0"/>
              </a:rPr>
              <a:t>.</a:t>
            </a:r>
            <a:r>
              <a:rPr sz="800" spc="-10" dirty="0">
                <a:solidFill>
                  <a:srgbClr val="231F20"/>
                </a:solidFill>
                <a:latin typeface="Neue Frutiger World" panose="020B0603040304020203" pitchFamily="34" charset="0"/>
                <a:cs typeface="Neue Frutiger World" panose="020B0603040304020203" pitchFamily="34" charset="0"/>
              </a:rPr>
              <a:t>8</a:t>
            </a:r>
            <a:endParaRPr sz="800" dirty="0">
              <a:latin typeface="Neue Frutiger World" panose="020B0603040304020203" pitchFamily="34" charset="0"/>
              <a:cs typeface="Neue Frutiger World" panose="020B0603040304020203" pitchFamily="34" charset="0"/>
            </a:endParaRPr>
          </a:p>
        </p:txBody>
      </p:sp>
      <p:sp>
        <p:nvSpPr>
          <p:cNvPr id="31" name="object 29">
            <a:extLst>
              <a:ext uri="{FF2B5EF4-FFF2-40B4-BE49-F238E27FC236}">
                <a16:creationId xmlns:a16="http://schemas.microsoft.com/office/drawing/2014/main" id="{88BDB2B8-583D-47A6-B9EF-FA598DAF6CCF}"/>
              </a:ext>
            </a:extLst>
          </p:cNvPr>
          <p:cNvSpPr txBox="1"/>
          <p:nvPr/>
        </p:nvSpPr>
        <p:spPr>
          <a:xfrm>
            <a:off x="4535178" y="3666672"/>
            <a:ext cx="158750" cy="135935"/>
          </a:xfrm>
          <a:prstGeom prst="rect">
            <a:avLst/>
          </a:prstGeom>
        </p:spPr>
        <p:txBody>
          <a:bodyPr vert="horz" wrap="square" lIns="0" tIns="12700" rIns="0" bIns="0" rtlCol="0">
            <a:spAutoFit/>
          </a:bodyPr>
          <a:lstStyle/>
          <a:p>
            <a:pPr marL="12699">
              <a:spcBef>
                <a:spcPts val="100"/>
              </a:spcBef>
            </a:pPr>
            <a:r>
              <a:rPr sz="800" spc="-5" dirty="0">
                <a:solidFill>
                  <a:srgbClr val="231F20"/>
                </a:solidFill>
                <a:latin typeface="Neue Frutiger World" panose="020B0603040304020203" pitchFamily="34" charset="0"/>
                <a:cs typeface="Neue Frutiger World" panose="020B0603040304020203" pitchFamily="34" charset="0"/>
              </a:rPr>
              <a:t>5.7</a:t>
            </a:r>
            <a:endParaRPr sz="800" dirty="0">
              <a:latin typeface="Neue Frutiger World" panose="020B0603040304020203" pitchFamily="34" charset="0"/>
              <a:cs typeface="Neue Frutiger World" panose="020B0603040304020203" pitchFamily="34" charset="0"/>
            </a:endParaRPr>
          </a:p>
        </p:txBody>
      </p:sp>
      <p:sp>
        <p:nvSpPr>
          <p:cNvPr id="32" name="object 30">
            <a:extLst>
              <a:ext uri="{FF2B5EF4-FFF2-40B4-BE49-F238E27FC236}">
                <a16:creationId xmlns:a16="http://schemas.microsoft.com/office/drawing/2014/main" id="{F28A5347-B554-49E0-BC57-713AAC1C2717}"/>
              </a:ext>
            </a:extLst>
          </p:cNvPr>
          <p:cNvSpPr txBox="1"/>
          <p:nvPr/>
        </p:nvSpPr>
        <p:spPr>
          <a:xfrm>
            <a:off x="4036525" y="4688969"/>
            <a:ext cx="754380" cy="259045"/>
          </a:xfrm>
          <a:prstGeom prst="rect">
            <a:avLst/>
          </a:prstGeom>
        </p:spPr>
        <p:txBody>
          <a:bodyPr vert="horz" wrap="square" lIns="0" tIns="12700" rIns="0" bIns="0" rtlCol="0">
            <a:spAutoFit/>
          </a:bodyPr>
          <a:lstStyle/>
          <a:p>
            <a:pPr marL="12699" marR="5079" indent="182864">
              <a:spcBef>
                <a:spcPts val="100"/>
              </a:spcBef>
            </a:pPr>
            <a:r>
              <a:rPr sz="800" spc="-5" dirty="0">
                <a:solidFill>
                  <a:srgbClr val="231F20"/>
                </a:solidFill>
                <a:latin typeface="Neue Frutiger World" panose="020B0603040304020203" pitchFamily="34" charset="0"/>
                <a:cs typeface="Neue Frutiger World" panose="020B0603040304020203" pitchFamily="34" charset="0"/>
              </a:rPr>
              <a:t>Time </a:t>
            </a:r>
            <a:r>
              <a:rPr sz="800" spc="-20" dirty="0">
                <a:solidFill>
                  <a:srgbClr val="231F20"/>
                </a:solidFill>
                <a:latin typeface="Neue Frutiger World" panose="020B0603040304020203" pitchFamily="34" charset="0"/>
                <a:cs typeface="Neue Frutiger World" panose="020B0603040304020203" pitchFamily="34" charset="0"/>
              </a:rPr>
              <a:t>to</a:t>
            </a:r>
            <a:r>
              <a:rPr lang="en-GB"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d</a:t>
            </a:r>
            <a:r>
              <a:rPr sz="800" spc="-15" dirty="0">
                <a:solidFill>
                  <a:srgbClr val="231F20"/>
                </a:solidFill>
                <a:latin typeface="Neue Frutiger World" panose="020B0603040304020203" pitchFamily="34" charset="0"/>
                <a:cs typeface="Neue Frutiger World" panose="020B0603040304020203" pitchFamily="34" charset="0"/>
              </a:rPr>
              <a:t>e</a:t>
            </a:r>
            <a:r>
              <a:rPr sz="800" dirty="0">
                <a:solidFill>
                  <a:srgbClr val="231F20"/>
                </a:solidFill>
                <a:latin typeface="Neue Frutiger World" panose="020B0603040304020203" pitchFamily="34" charset="0"/>
                <a:cs typeface="Neue Frutiger World" panose="020B0603040304020203" pitchFamily="34" charset="0"/>
              </a:rPr>
              <a:t>vi</a:t>
            </a:r>
            <a:r>
              <a:rPr sz="800" spc="-10" dirty="0">
                <a:solidFill>
                  <a:srgbClr val="231F20"/>
                </a:solidFill>
                <a:latin typeface="Neue Frutiger World" panose="020B0603040304020203" pitchFamily="34" charset="0"/>
                <a:cs typeface="Neue Frutiger World" panose="020B0603040304020203" pitchFamily="34" charset="0"/>
              </a:rPr>
              <a:t>c</a:t>
            </a:r>
            <a:r>
              <a:rPr sz="800" dirty="0">
                <a:solidFill>
                  <a:srgbClr val="231F20"/>
                </a:solidFill>
                <a:latin typeface="Neue Frutiger World" panose="020B0603040304020203" pitchFamily="34" charset="0"/>
                <a:cs typeface="Neue Frutiger World" panose="020B0603040304020203" pitchFamily="34" charset="0"/>
              </a:rPr>
              <a:t>e</a:t>
            </a:r>
            <a:r>
              <a:rPr sz="800" spc="5" dirty="0">
                <a:solidFill>
                  <a:srgbClr val="231F20"/>
                </a:solidFill>
                <a:latin typeface="Neue Frutiger World" panose="020B0603040304020203" pitchFamily="34" charset="0"/>
                <a:cs typeface="Neue Frutiger World" panose="020B0603040304020203" pitchFamily="34" charset="0"/>
              </a:rPr>
              <a:t> </a:t>
            </a:r>
            <a:r>
              <a:rPr sz="800" spc="-30" dirty="0">
                <a:solidFill>
                  <a:srgbClr val="231F20"/>
                </a:solidFill>
                <a:latin typeface="Neue Frutiger World" panose="020B0603040304020203" pitchFamily="34" charset="0"/>
                <a:cs typeface="Neue Frutiger World" panose="020B0603040304020203" pitchFamily="34" charset="0"/>
              </a:rPr>
              <a:t>r</a:t>
            </a:r>
            <a:r>
              <a:rPr sz="800" dirty="0">
                <a:solidFill>
                  <a:srgbClr val="231F20"/>
                </a:solidFill>
                <a:latin typeface="Neue Frutiger World" panose="020B0603040304020203" pitchFamily="34" charset="0"/>
                <a:cs typeface="Neue Frutiger World" panose="020B0603040304020203" pitchFamily="34" charset="0"/>
              </a:rPr>
              <a:t>em</a:t>
            </a:r>
            <a:r>
              <a:rPr sz="800" spc="-20" dirty="0">
                <a:solidFill>
                  <a:srgbClr val="231F20"/>
                </a:solidFill>
                <a:latin typeface="Neue Frutiger World" panose="020B0603040304020203" pitchFamily="34" charset="0"/>
                <a:cs typeface="Neue Frutiger World" panose="020B0603040304020203" pitchFamily="34" charset="0"/>
              </a:rPr>
              <a:t>o</a:t>
            </a:r>
            <a:r>
              <a:rPr sz="800" spc="-10" dirty="0">
                <a:solidFill>
                  <a:srgbClr val="231F20"/>
                </a:solidFill>
                <a:latin typeface="Neue Frutiger World" panose="020B0603040304020203" pitchFamily="34" charset="0"/>
                <a:cs typeface="Neue Frutiger World" panose="020B0603040304020203" pitchFamily="34" charset="0"/>
              </a:rPr>
              <a:t>va</a:t>
            </a:r>
            <a:r>
              <a:rPr sz="800" dirty="0">
                <a:solidFill>
                  <a:srgbClr val="231F20"/>
                </a:solidFill>
                <a:latin typeface="Neue Frutiger World" panose="020B0603040304020203" pitchFamily="34" charset="0"/>
                <a:cs typeface="Neue Frutiger World" panose="020B0603040304020203" pitchFamily="34" charset="0"/>
              </a:rPr>
              <a:t>l</a:t>
            </a:r>
            <a:endParaRPr sz="800" dirty="0">
              <a:latin typeface="Neue Frutiger World" panose="020B0603040304020203" pitchFamily="34" charset="0"/>
              <a:cs typeface="Neue Frutiger World" panose="020B0603040304020203" pitchFamily="34" charset="0"/>
            </a:endParaRPr>
          </a:p>
        </p:txBody>
      </p:sp>
      <p:sp>
        <p:nvSpPr>
          <p:cNvPr id="33" name="TextBox 32">
            <a:extLst>
              <a:ext uri="{FF2B5EF4-FFF2-40B4-BE49-F238E27FC236}">
                <a16:creationId xmlns:a16="http://schemas.microsoft.com/office/drawing/2014/main" id="{CF4A740E-7A59-48CB-B7CA-5D52CA612787}"/>
              </a:ext>
            </a:extLst>
          </p:cNvPr>
          <p:cNvSpPr txBox="1"/>
          <p:nvPr/>
        </p:nvSpPr>
        <p:spPr>
          <a:xfrm>
            <a:off x="8191182"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4" action="ppaction://hlinksldjump"/>
            <a:extLst>
              <a:ext uri="{FF2B5EF4-FFF2-40B4-BE49-F238E27FC236}">
                <a16:creationId xmlns:a16="http://schemas.microsoft.com/office/drawing/2014/main" id="{A076B098-D201-4D1E-B05F-6267C6F99AEA}"/>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5" action="ppaction://hlinksldjump"/>
            <a:extLst>
              <a:ext uri="{FF2B5EF4-FFF2-40B4-BE49-F238E27FC236}">
                <a16:creationId xmlns:a16="http://schemas.microsoft.com/office/drawing/2014/main" id="{151B2AE5-EAB0-4B65-8C2F-4AA058D041C2}"/>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6" action="ppaction://hlinksldjump"/>
            <a:extLst>
              <a:ext uri="{FF2B5EF4-FFF2-40B4-BE49-F238E27FC236}">
                <a16:creationId xmlns:a16="http://schemas.microsoft.com/office/drawing/2014/main" id="{785AD4D3-047F-4533-A525-153D1CC89E16}"/>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7" action="ppaction://hlinksldjump"/>
            <a:extLst>
              <a:ext uri="{FF2B5EF4-FFF2-40B4-BE49-F238E27FC236}">
                <a16:creationId xmlns:a16="http://schemas.microsoft.com/office/drawing/2014/main" id="{2CB7EFB7-C2F5-4A51-83B2-5614FC3F9650}"/>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8" action="ppaction://hlinksldjump"/>
            <a:extLst>
              <a:ext uri="{FF2B5EF4-FFF2-40B4-BE49-F238E27FC236}">
                <a16:creationId xmlns:a16="http://schemas.microsoft.com/office/drawing/2014/main" id="{11A80B5D-7227-4304-B207-49A0DC52E4AC}"/>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9" action="ppaction://hlinksldjump"/>
            <a:extLst>
              <a:ext uri="{FF2B5EF4-FFF2-40B4-BE49-F238E27FC236}">
                <a16:creationId xmlns:a16="http://schemas.microsoft.com/office/drawing/2014/main" id="{4079FBF4-0251-4D7F-9281-23A98B26A1EC}"/>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10" action="ppaction://hlinksldjump"/>
            <a:extLst>
              <a:ext uri="{FF2B5EF4-FFF2-40B4-BE49-F238E27FC236}">
                <a16:creationId xmlns:a16="http://schemas.microsoft.com/office/drawing/2014/main" id="{7B849EF3-9E54-48CB-B076-46ECB45E665F}"/>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11" action="ppaction://hlinksldjump"/>
            <a:extLst>
              <a:ext uri="{FF2B5EF4-FFF2-40B4-BE49-F238E27FC236}">
                <a16:creationId xmlns:a16="http://schemas.microsoft.com/office/drawing/2014/main" id="{9FF03A72-8FFE-4AD3-A791-B2AA98CAECF3}"/>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extLst>
              <a:ext uri="{FF2B5EF4-FFF2-40B4-BE49-F238E27FC236}">
                <a16:creationId xmlns:a16="http://schemas.microsoft.com/office/drawing/2014/main" id="{FA82914A-618A-4889-876B-39E9C50EA952}"/>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12" action="ppaction://hlinksldjump"/>
            <a:extLst>
              <a:ext uri="{FF2B5EF4-FFF2-40B4-BE49-F238E27FC236}">
                <a16:creationId xmlns:a16="http://schemas.microsoft.com/office/drawing/2014/main" id="{A178235C-4EFE-441A-9489-AD0C5AFC5152}"/>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13" action="ppaction://hlinksldjump"/>
            <a:extLst>
              <a:ext uri="{FF2B5EF4-FFF2-40B4-BE49-F238E27FC236}">
                <a16:creationId xmlns:a16="http://schemas.microsoft.com/office/drawing/2014/main" id="{2FC12B73-EB5F-4B42-9941-C0155C78FD97}"/>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14" action="ppaction://hlinksldjump"/>
            <a:extLst>
              <a:ext uri="{FF2B5EF4-FFF2-40B4-BE49-F238E27FC236}">
                <a16:creationId xmlns:a16="http://schemas.microsoft.com/office/drawing/2014/main" id="{D788D694-7F11-4921-8FA5-9A311B4364A6}"/>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15" action="ppaction://hlinksldjump"/>
            <a:extLst>
              <a:ext uri="{FF2B5EF4-FFF2-40B4-BE49-F238E27FC236}">
                <a16:creationId xmlns:a16="http://schemas.microsoft.com/office/drawing/2014/main" id="{ABD19F6D-E6AC-4C76-A091-C0D4F6F5F02A}"/>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16" action="ppaction://hlinksldjump"/>
            <a:extLst>
              <a:ext uri="{FF2B5EF4-FFF2-40B4-BE49-F238E27FC236}">
                <a16:creationId xmlns:a16="http://schemas.microsoft.com/office/drawing/2014/main" id="{E9680A70-D750-40AC-B85E-D2CB878C5E81}"/>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17" action="ppaction://hlinksldjump"/>
            <a:extLst>
              <a:ext uri="{FF2B5EF4-FFF2-40B4-BE49-F238E27FC236}">
                <a16:creationId xmlns:a16="http://schemas.microsoft.com/office/drawing/2014/main" id="{491ECDFA-3415-4F66-A3E9-39A5A23268B7}"/>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8" action="ppaction://hlinksldjump"/>
            <a:extLst>
              <a:ext uri="{FF2B5EF4-FFF2-40B4-BE49-F238E27FC236}">
                <a16:creationId xmlns:a16="http://schemas.microsoft.com/office/drawing/2014/main" id="{4700F5FB-ECC6-4B84-AC3D-A27B273B99D3}"/>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9" action="ppaction://hlinksldjump"/>
            <a:extLst>
              <a:ext uri="{FF2B5EF4-FFF2-40B4-BE49-F238E27FC236}">
                <a16:creationId xmlns:a16="http://schemas.microsoft.com/office/drawing/2014/main" id="{4E8DB141-5864-4906-80B3-0C5DA32C892F}"/>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20" action="ppaction://hlinksldjump"/>
            <a:extLst>
              <a:ext uri="{FF2B5EF4-FFF2-40B4-BE49-F238E27FC236}">
                <a16:creationId xmlns:a16="http://schemas.microsoft.com/office/drawing/2014/main" id="{3561473E-1579-4E69-9110-B468B819461D}"/>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21" action="ppaction://hlinksldjump"/>
            <a:extLst>
              <a:ext uri="{FF2B5EF4-FFF2-40B4-BE49-F238E27FC236}">
                <a16:creationId xmlns:a16="http://schemas.microsoft.com/office/drawing/2014/main" id="{003BF102-7012-4684-BE45-A7753C8CCD8B}"/>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22" action="ppaction://hlinksldjump"/>
            <a:extLst>
              <a:ext uri="{FF2B5EF4-FFF2-40B4-BE49-F238E27FC236}">
                <a16:creationId xmlns:a16="http://schemas.microsoft.com/office/drawing/2014/main" id="{BB2A27F5-E778-45EF-946D-CA34A6BA36D4}"/>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23" action="ppaction://hlinksldjump"/>
            <a:extLst>
              <a:ext uri="{FF2B5EF4-FFF2-40B4-BE49-F238E27FC236}">
                <a16:creationId xmlns:a16="http://schemas.microsoft.com/office/drawing/2014/main" id="{9D695B8D-2935-4CB3-A189-FDA2AB82D6A2}"/>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24" action="ppaction://hlinksldjump"/>
            <a:extLst>
              <a:ext uri="{FF2B5EF4-FFF2-40B4-BE49-F238E27FC236}">
                <a16:creationId xmlns:a16="http://schemas.microsoft.com/office/drawing/2014/main" id="{72BD2F32-8D36-4E0B-8487-604F801D2150}"/>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extLst>
              <a:ext uri="{FF2B5EF4-FFF2-40B4-BE49-F238E27FC236}">
                <a16:creationId xmlns:a16="http://schemas.microsoft.com/office/drawing/2014/main" id="{E5EFCD51-0A6D-4226-9494-259A5D526F38}"/>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25" action="ppaction://hlinksldjump"/>
            <a:extLst>
              <a:ext uri="{FF2B5EF4-FFF2-40B4-BE49-F238E27FC236}">
                <a16:creationId xmlns:a16="http://schemas.microsoft.com/office/drawing/2014/main" id="{1F2364C0-3EEF-44E5-9F8C-F6D2F6C15643}"/>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26" action="ppaction://hlinksldjump"/>
            <a:extLst>
              <a:ext uri="{FF2B5EF4-FFF2-40B4-BE49-F238E27FC236}">
                <a16:creationId xmlns:a16="http://schemas.microsoft.com/office/drawing/2014/main" id="{62F7D8CA-EA3A-401B-8CCF-D5952EAA6463}"/>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27" action="ppaction://hlinksldjump"/>
            <a:extLst>
              <a:ext uri="{FF2B5EF4-FFF2-40B4-BE49-F238E27FC236}">
                <a16:creationId xmlns:a16="http://schemas.microsoft.com/office/drawing/2014/main" id="{142A171F-2028-46AA-A6F3-8641EE5BC150}"/>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extLst>
              <a:ext uri="{FF2B5EF4-FFF2-40B4-BE49-F238E27FC236}">
                <a16:creationId xmlns:a16="http://schemas.microsoft.com/office/drawing/2014/main" id="{FBCA8DA0-5915-4F13-AA41-20D155931AD7}"/>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61" name="Table 60">
            <a:extLst>
              <a:ext uri="{FF2B5EF4-FFF2-40B4-BE49-F238E27FC236}">
                <a16:creationId xmlns:a16="http://schemas.microsoft.com/office/drawing/2014/main" id="{D8BE9FBD-5D3B-4380-B23C-2274DED03C2C}"/>
              </a:ext>
            </a:extLst>
          </p:cNvPr>
          <p:cNvGraphicFramePr>
            <a:graphicFrameLocks noGrp="1"/>
          </p:cNvGraphicFramePr>
          <p:nvPr>
            <p:extLst>
              <p:ext uri="{D42A27DB-BD31-4B8C-83A1-F6EECF244321}">
                <p14:modId xmlns:p14="http://schemas.microsoft.com/office/powerpoint/2010/main" val="2228686771"/>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62" name="Rectangle 61">
            <a:hlinkClick r:id="rId4" action="ppaction://hlinksldjump"/>
            <a:extLst>
              <a:ext uri="{FF2B5EF4-FFF2-40B4-BE49-F238E27FC236}">
                <a16:creationId xmlns:a16="http://schemas.microsoft.com/office/drawing/2014/main" id="{3C070DCB-BEB6-4E4C-A5EE-63667B4637A0}"/>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5" action="ppaction://hlinksldjump"/>
            <a:extLst>
              <a:ext uri="{FF2B5EF4-FFF2-40B4-BE49-F238E27FC236}">
                <a16:creationId xmlns:a16="http://schemas.microsoft.com/office/drawing/2014/main" id="{48327215-0E33-456A-A306-8BED32756603}"/>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6" action="ppaction://hlinksldjump"/>
            <a:extLst>
              <a:ext uri="{FF2B5EF4-FFF2-40B4-BE49-F238E27FC236}">
                <a16:creationId xmlns:a16="http://schemas.microsoft.com/office/drawing/2014/main" id="{154F5ECB-6425-4A1D-9E0F-9722ECD648FA}"/>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hlinkClick r:id="rId7" action="ppaction://hlinksldjump"/>
            <a:extLst>
              <a:ext uri="{FF2B5EF4-FFF2-40B4-BE49-F238E27FC236}">
                <a16:creationId xmlns:a16="http://schemas.microsoft.com/office/drawing/2014/main" id="{C6CAC3A2-6616-4A5C-AE4F-CF1303008AEF}"/>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8" action="ppaction://hlinksldjump"/>
            <a:extLst>
              <a:ext uri="{FF2B5EF4-FFF2-40B4-BE49-F238E27FC236}">
                <a16:creationId xmlns:a16="http://schemas.microsoft.com/office/drawing/2014/main" id="{C2E7C7FD-3793-4C8C-A555-60408A4D6A11}"/>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9" action="ppaction://hlinksldjump"/>
            <a:extLst>
              <a:ext uri="{FF2B5EF4-FFF2-40B4-BE49-F238E27FC236}">
                <a16:creationId xmlns:a16="http://schemas.microsoft.com/office/drawing/2014/main" id="{43806FD8-B104-4677-9420-241C2933DDD3}"/>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8" name="Rectangle 67">
            <a:hlinkClick r:id="rId10" action="ppaction://hlinksldjump"/>
            <a:extLst>
              <a:ext uri="{FF2B5EF4-FFF2-40B4-BE49-F238E27FC236}">
                <a16:creationId xmlns:a16="http://schemas.microsoft.com/office/drawing/2014/main" id="{7669C2ED-CD0E-461E-BC41-1F73694CFDFD}"/>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9" name="Rectangle 68">
            <a:hlinkClick r:id="rId11" action="ppaction://hlinksldjump"/>
            <a:extLst>
              <a:ext uri="{FF2B5EF4-FFF2-40B4-BE49-F238E27FC236}">
                <a16:creationId xmlns:a16="http://schemas.microsoft.com/office/drawing/2014/main" id="{30AD6994-809E-4EEF-BA34-C70A4AEBCAB5}"/>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0" name="Rectangle 69">
            <a:extLst>
              <a:ext uri="{FF2B5EF4-FFF2-40B4-BE49-F238E27FC236}">
                <a16:creationId xmlns:a16="http://schemas.microsoft.com/office/drawing/2014/main" id="{16185E39-6375-4D20-9E82-BC1EEB8F6F23}"/>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1" name="Rectangle 70">
            <a:hlinkClick r:id="rId12" action="ppaction://hlinksldjump"/>
            <a:extLst>
              <a:ext uri="{FF2B5EF4-FFF2-40B4-BE49-F238E27FC236}">
                <a16:creationId xmlns:a16="http://schemas.microsoft.com/office/drawing/2014/main" id="{197427AC-A083-4A51-BA45-3A0DE1DECB06}"/>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2" name="Rectangle 71">
            <a:hlinkClick r:id="rId13" action="ppaction://hlinksldjump"/>
            <a:extLst>
              <a:ext uri="{FF2B5EF4-FFF2-40B4-BE49-F238E27FC236}">
                <a16:creationId xmlns:a16="http://schemas.microsoft.com/office/drawing/2014/main" id="{7F45038E-9F87-4E84-914C-7FB551675442}"/>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3" name="Rectangle 72">
            <a:hlinkClick r:id="rId14" action="ppaction://hlinksldjump"/>
            <a:extLst>
              <a:ext uri="{FF2B5EF4-FFF2-40B4-BE49-F238E27FC236}">
                <a16:creationId xmlns:a16="http://schemas.microsoft.com/office/drawing/2014/main" id="{8FC3084D-39A2-4E8B-AA05-3C4462D68B9C}"/>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4" name="Rectangle 73">
            <a:hlinkClick r:id="rId15" action="ppaction://hlinksldjump"/>
            <a:extLst>
              <a:ext uri="{FF2B5EF4-FFF2-40B4-BE49-F238E27FC236}">
                <a16:creationId xmlns:a16="http://schemas.microsoft.com/office/drawing/2014/main" id="{572AC442-F49F-400F-B391-7A5806CE30E0}"/>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5" name="Rectangle 74">
            <a:hlinkClick r:id="rId16" action="ppaction://hlinksldjump"/>
            <a:extLst>
              <a:ext uri="{FF2B5EF4-FFF2-40B4-BE49-F238E27FC236}">
                <a16:creationId xmlns:a16="http://schemas.microsoft.com/office/drawing/2014/main" id="{B8B89EAD-82ED-46B6-B1D7-9CAF183B2B69}"/>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6" name="Rectangle 75">
            <a:hlinkClick r:id="rId17" action="ppaction://hlinksldjump"/>
            <a:extLst>
              <a:ext uri="{FF2B5EF4-FFF2-40B4-BE49-F238E27FC236}">
                <a16:creationId xmlns:a16="http://schemas.microsoft.com/office/drawing/2014/main" id="{FD1E9F8C-914A-485C-BF9A-79F2EDE618AE}"/>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7" name="Rectangle 76">
            <a:hlinkClick r:id="rId18" action="ppaction://hlinksldjump"/>
            <a:extLst>
              <a:ext uri="{FF2B5EF4-FFF2-40B4-BE49-F238E27FC236}">
                <a16:creationId xmlns:a16="http://schemas.microsoft.com/office/drawing/2014/main" id="{149AEE91-1125-42D9-A5F8-2BE2F7C1AD08}"/>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8" name="Rectangle 77">
            <a:hlinkClick r:id="rId19" action="ppaction://hlinksldjump"/>
            <a:extLst>
              <a:ext uri="{FF2B5EF4-FFF2-40B4-BE49-F238E27FC236}">
                <a16:creationId xmlns:a16="http://schemas.microsoft.com/office/drawing/2014/main" id="{BC1EBE4A-D3BC-4753-ABAC-CD50F8CF010B}"/>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9" name="Rectangle 78">
            <a:hlinkClick r:id="rId20" action="ppaction://hlinksldjump"/>
            <a:extLst>
              <a:ext uri="{FF2B5EF4-FFF2-40B4-BE49-F238E27FC236}">
                <a16:creationId xmlns:a16="http://schemas.microsoft.com/office/drawing/2014/main" id="{6B94BEE4-6E80-450C-A02D-B2CFE69131A8}"/>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0" name="Rectangle 79">
            <a:hlinkClick r:id="rId21" action="ppaction://hlinksldjump"/>
            <a:extLst>
              <a:ext uri="{FF2B5EF4-FFF2-40B4-BE49-F238E27FC236}">
                <a16:creationId xmlns:a16="http://schemas.microsoft.com/office/drawing/2014/main" id="{C842A3AF-B0AE-4A48-B29C-71AD0773401E}"/>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1" name="Rectangle 80">
            <a:hlinkClick r:id="rId22" action="ppaction://hlinksldjump"/>
            <a:extLst>
              <a:ext uri="{FF2B5EF4-FFF2-40B4-BE49-F238E27FC236}">
                <a16:creationId xmlns:a16="http://schemas.microsoft.com/office/drawing/2014/main" id="{F831D2F1-1E52-4468-B2E9-4094A2A2B646}"/>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2" name="Rectangle 81">
            <a:hlinkClick r:id="rId23" action="ppaction://hlinksldjump"/>
            <a:extLst>
              <a:ext uri="{FF2B5EF4-FFF2-40B4-BE49-F238E27FC236}">
                <a16:creationId xmlns:a16="http://schemas.microsoft.com/office/drawing/2014/main" id="{094412B9-62EE-4742-AB71-AD5909AB4E9A}"/>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3" name="Rectangle 82">
            <a:hlinkClick r:id="rId24" action="ppaction://hlinksldjump"/>
            <a:extLst>
              <a:ext uri="{FF2B5EF4-FFF2-40B4-BE49-F238E27FC236}">
                <a16:creationId xmlns:a16="http://schemas.microsoft.com/office/drawing/2014/main" id="{68204810-53E8-46F5-A068-399190DEB68A}"/>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4" name="Rectangle 83">
            <a:extLst>
              <a:ext uri="{FF2B5EF4-FFF2-40B4-BE49-F238E27FC236}">
                <a16:creationId xmlns:a16="http://schemas.microsoft.com/office/drawing/2014/main" id="{303FF250-BE6E-4514-86B1-8EDD14A5EBA8}"/>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5" name="Rectangle 84">
            <a:hlinkClick r:id="rId25" action="ppaction://hlinksldjump"/>
            <a:extLst>
              <a:ext uri="{FF2B5EF4-FFF2-40B4-BE49-F238E27FC236}">
                <a16:creationId xmlns:a16="http://schemas.microsoft.com/office/drawing/2014/main" id="{68BA655C-B3D8-43FB-B881-D23E2406C1FD}"/>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6" name="Rectangle 85">
            <a:hlinkClick r:id="rId26" action="ppaction://hlinksldjump"/>
            <a:extLst>
              <a:ext uri="{FF2B5EF4-FFF2-40B4-BE49-F238E27FC236}">
                <a16:creationId xmlns:a16="http://schemas.microsoft.com/office/drawing/2014/main" id="{ADA40A3C-392C-4A96-AB9C-BAA9E0B954B3}"/>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7" name="Rectangle 86">
            <a:hlinkClick r:id="rId27" action="ppaction://hlinksldjump"/>
            <a:extLst>
              <a:ext uri="{FF2B5EF4-FFF2-40B4-BE49-F238E27FC236}">
                <a16:creationId xmlns:a16="http://schemas.microsoft.com/office/drawing/2014/main" id="{3DFBC785-A8D4-4C6F-9243-DC98EFC12E02}"/>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197528230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B131D186-2CC2-4258-B9CB-AA60DFD29F74}"/>
              </a:ext>
            </a:extLst>
          </p:cNvPr>
          <p:cNvSpPr>
            <a:spLocks noGrp="1"/>
          </p:cNvSpPr>
          <p:nvPr>
            <p:ph type="title"/>
          </p:nvPr>
        </p:nvSpPr>
        <p:spPr>
          <a:xfrm>
            <a:off x="1547664" y="376238"/>
            <a:ext cx="6480324" cy="719137"/>
          </a:xfrm>
        </p:spPr>
        <p:txBody>
          <a:bodyPr/>
          <a:lstStyle/>
          <a:p>
            <a:r>
              <a:rPr lang="en-GB" sz="2200" spc="15" noProof="0" dirty="0">
                <a:latin typeface="Neue Frutiger World" panose="020B0603040304020203" pitchFamily="34" charset="0"/>
                <a:cs typeface="Neue Frutiger World" panose="020B0603040304020203" pitchFamily="34" charset="0"/>
              </a:rPr>
              <a:t>Infection</a:t>
            </a:r>
            <a:endParaRPr lang="en-GB" sz="2200" noProof="0" dirty="0">
              <a:latin typeface="Neue Frutiger World" panose="020B0603040304020203" pitchFamily="34" charset="0"/>
              <a:cs typeface="Neue Frutiger World" panose="020B0603040304020203" pitchFamily="34" charset="0"/>
            </a:endParaRPr>
          </a:p>
        </p:txBody>
      </p:sp>
      <p:sp>
        <p:nvSpPr>
          <p:cNvPr id="5" name="Slide Number Placeholder 4">
            <a:extLst>
              <a:ext uri="{FF2B5EF4-FFF2-40B4-BE49-F238E27FC236}">
                <a16:creationId xmlns:a16="http://schemas.microsoft.com/office/drawing/2014/main" id="{E265B4A9-8896-EA49-8FB8-135D4D96FFF1}"/>
              </a:ext>
            </a:extLst>
          </p:cNvPr>
          <p:cNvSpPr>
            <a:spLocks noGrp="1"/>
          </p:cNvSpPr>
          <p:nvPr>
            <p:ph type="sldNum" sz="quarter" idx="18"/>
          </p:nvPr>
        </p:nvSpPr>
        <p:spPr/>
        <p:txBody>
          <a:bodyPr/>
          <a:lstStyle/>
          <a:p>
            <a:fld id="{A5163908-529D-4A49-892F-D37C4044DFD8}" type="slidenum">
              <a:rPr lang="en-US" smtClean="0">
                <a:latin typeface="Neue Frutiger World" panose="020B0603040304020203" pitchFamily="34" charset="0"/>
                <a:cs typeface="Neue Frutiger World" panose="020B0603040304020203" pitchFamily="34" charset="0"/>
              </a:rPr>
              <a:pPr/>
              <a:t>2</a:t>
            </a:fld>
            <a:endParaRPr lang="en-US" dirty="0">
              <a:latin typeface="Neue Frutiger World" panose="020B0603040304020203" pitchFamily="34" charset="0"/>
              <a:cs typeface="Neue Frutiger World" panose="020B0603040304020203" pitchFamily="34" charset="0"/>
            </a:endParaRPr>
          </a:p>
        </p:txBody>
      </p:sp>
      <p:sp>
        <p:nvSpPr>
          <p:cNvPr id="21" name="object 2">
            <a:extLst>
              <a:ext uri="{FF2B5EF4-FFF2-40B4-BE49-F238E27FC236}">
                <a16:creationId xmlns:a16="http://schemas.microsoft.com/office/drawing/2014/main" id="{F478352A-0925-433B-8862-381DCF1C89B5}"/>
              </a:ext>
            </a:extLst>
          </p:cNvPr>
          <p:cNvSpPr txBox="1">
            <a:spLocks noChangeAspect="1"/>
          </p:cNvSpPr>
          <p:nvPr/>
        </p:nvSpPr>
        <p:spPr>
          <a:xfrm>
            <a:off x="1543917" y="848464"/>
            <a:ext cx="3534577" cy="2049792"/>
          </a:xfrm>
          <a:prstGeom prst="rect">
            <a:avLst/>
          </a:prstGeom>
        </p:spPr>
        <p:txBody>
          <a:bodyPr vert="horz" wrap="square" lIns="0" tIns="7620" rIns="0" bIns="0" rtlCol="0">
            <a:spAutoFit/>
          </a:bodyPr>
          <a:lstStyle/>
          <a:p>
            <a:pPr marL="12699" marR="231121">
              <a:lnSpc>
                <a:spcPct val="102600"/>
              </a:lnSpc>
              <a:spcBef>
                <a:spcPts val="60"/>
              </a:spcBef>
            </a:pPr>
            <a:r>
              <a:rPr lang="en-US" sz="800" spc="-15" dirty="0">
                <a:solidFill>
                  <a:prstClr val="black"/>
                </a:solidFill>
                <a:latin typeface="Neue Frutiger World" panose="020B0603040304020203" pitchFamily="34" charset="0"/>
                <a:cs typeface="Neue Frutiger World" panose="020B0603040304020203" pitchFamily="34" charset="0"/>
              </a:rPr>
              <a:t>While</a:t>
            </a:r>
            <a:r>
              <a:rPr lang="en-US" sz="800" spc="-20" dirty="0">
                <a:solidFill>
                  <a:prstClr val="black"/>
                </a:solidFill>
                <a:latin typeface="Neue Frutiger World" panose="020B0603040304020203" pitchFamily="34" charset="0"/>
                <a:cs typeface="Neue Frutiger World" panose="020B0603040304020203" pitchFamily="34" charset="0"/>
              </a:rPr>
              <a:t> </a:t>
            </a:r>
            <a:r>
              <a:rPr lang="en-US" sz="800" spc="-35" dirty="0">
                <a:solidFill>
                  <a:prstClr val="black"/>
                </a:solidFill>
                <a:latin typeface="Neue Frutiger World" panose="020B0603040304020203" pitchFamily="34" charset="0"/>
                <a:cs typeface="Neue Frutiger World" panose="020B0603040304020203" pitchFamily="34" charset="0"/>
              </a:rPr>
              <a:t>it</a:t>
            </a:r>
            <a:r>
              <a:rPr lang="en-US" sz="800" spc="-20" dirty="0">
                <a:solidFill>
                  <a:prstClr val="black"/>
                </a:solidFill>
                <a:latin typeface="Neue Frutiger World" panose="020B0603040304020203" pitchFamily="34" charset="0"/>
                <a:cs typeface="Neue Frutiger World" panose="020B0603040304020203" pitchFamily="34" charset="0"/>
              </a:rPr>
              <a:t> is</a:t>
            </a:r>
            <a:r>
              <a:rPr lang="en-US" sz="800" spc="-15" dirty="0">
                <a:solidFill>
                  <a:prstClr val="black"/>
                </a:solidFill>
                <a:latin typeface="Neue Frutiger World" panose="020B0603040304020203" pitchFamily="34" charset="0"/>
                <a:cs typeface="Neue Frutiger World" panose="020B0603040304020203" pitchFamily="34" charset="0"/>
              </a:rPr>
              <a:t> generally</a:t>
            </a:r>
            <a:r>
              <a:rPr lang="en-US" sz="800" spc="-55" dirty="0">
                <a:solidFill>
                  <a:prstClr val="black"/>
                </a:solidFill>
                <a:latin typeface="Neue Frutiger World" panose="020B0603040304020203" pitchFamily="34" charset="0"/>
                <a:cs typeface="Neue Frutiger World" panose="020B0603040304020203" pitchFamily="34" charset="0"/>
              </a:rPr>
              <a:t> </a:t>
            </a:r>
            <a:r>
              <a:rPr lang="en-US" sz="800" spc="-25" dirty="0">
                <a:solidFill>
                  <a:prstClr val="black"/>
                </a:solidFill>
                <a:latin typeface="Neue Frutiger World" panose="020B0603040304020203" pitchFamily="34" charset="0"/>
                <a:cs typeface="Neue Frutiger World" panose="020B0603040304020203" pitchFamily="34" charset="0"/>
              </a:rPr>
              <a:t>accepted </a:t>
            </a:r>
            <a:r>
              <a:rPr lang="en-US" sz="800" spc="-35" dirty="0">
                <a:solidFill>
                  <a:prstClr val="black"/>
                </a:solidFill>
                <a:latin typeface="Neue Frutiger World" panose="020B0603040304020203" pitchFamily="34" charset="0"/>
                <a:cs typeface="Neue Frutiger World" panose="020B0603040304020203" pitchFamily="34" charset="0"/>
              </a:rPr>
              <a:t>that</a:t>
            </a:r>
            <a:r>
              <a:rPr lang="en-US" sz="800" spc="-15" dirty="0">
                <a:solidFill>
                  <a:prstClr val="black"/>
                </a:solidFill>
                <a:latin typeface="Neue Frutiger World" panose="020B0603040304020203" pitchFamily="34" charset="0"/>
                <a:cs typeface="Neue Frutiger World" panose="020B0603040304020203" pitchFamily="34" charset="0"/>
              </a:rPr>
              <a:t> </a:t>
            </a:r>
            <a:r>
              <a:rPr lang="en-US" sz="800" spc="-20" dirty="0">
                <a:solidFill>
                  <a:prstClr val="black"/>
                </a:solidFill>
                <a:latin typeface="Neue Frutiger World" panose="020B0603040304020203" pitchFamily="34" charset="0"/>
                <a:cs typeface="Neue Frutiger World" panose="020B0603040304020203" pitchFamily="34" charset="0"/>
              </a:rPr>
              <a:t>device </a:t>
            </a:r>
            <a:r>
              <a:rPr lang="en-US" sz="800" spc="-25" dirty="0">
                <a:solidFill>
                  <a:prstClr val="black"/>
                </a:solidFill>
                <a:latin typeface="Neue Frutiger World" panose="020B0603040304020203" pitchFamily="34" charset="0"/>
                <a:cs typeface="Neue Frutiger World" panose="020B0603040304020203" pitchFamily="34" charset="0"/>
              </a:rPr>
              <a:t>infection</a:t>
            </a:r>
            <a:r>
              <a:rPr lang="en-US" sz="800" spc="-20" dirty="0">
                <a:solidFill>
                  <a:prstClr val="black"/>
                </a:solidFill>
                <a:latin typeface="Neue Frutiger World" panose="020B0603040304020203" pitchFamily="34" charset="0"/>
                <a:cs typeface="Neue Frutiger World" panose="020B0603040304020203" pitchFamily="34" charset="0"/>
              </a:rPr>
              <a:t> is</a:t>
            </a:r>
            <a:r>
              <a:rPr lang="en-US" sz="800" spc="-15" dirty="0">
                <a:solidFill>
                  <a:prstClr val="black"/>
                </a:solidFill>
                <a:latin typeface="Neue Frutiger World" panose="020B0603040304020203" pitchFamily="34" charset="0"/>
                <a:cs typeface="Neue Frutiger World" panose="020B0603040304020203" pitchFamily="34" charset="0"/>
              </a:rPr>
              <a:t> </a:t>
            </a:r>
            <a:r>
              <a:rPr lang="en-US" sz="800" spc="-5" dirty="0">
                <a:solidFill>
                  <a:prstClr val="black"/>
                </a:solidFill>
                <a:latin typeface="Neue Frutiger World" panose="020B0603040304020203" pitchFamily="34" charset="0"/>
                <a:cs typeface="Neue Frutiger World" panose="020B0603040304020203" pitchFamily="34" charset="0"/>
              </a:rPr>
              <a:t>a </a:t>
            </a:r>
            <a:r>
              <a:rPr lang="en-US" sz="800" spc="-15" dirty="0">
                <a:solidFill>
                  <a:prstClr val="black"/>
                </a:solidFill>
                <a:latin typeface="Neue Frutiger World" panose="020B0603040304020203" pitchFamily="34" charset="0"/>
                <a:cs typeface="Neue Frutiger World" panose="020B0603040304020203" pitchFamily="34" charset="0"/>
              </a:rPr>
              <a:t>Class </a:t>
            </a:r>
            <a:r>
              <a:rPr lang="en-US" sz="800" spc="5" dirty="0">
                <a:solidFill>
                  <a:prstClr val="black"/>
                </a:solidFill>
                <a:latin typeface="Neue Frutiger World" panose="020B0603040304020203" pitchFamily="34" charset="0"/>
                <a:cs typeface="Neue Frutiger World" panose="020B0603040304020203" pitchFamily="34" charset="0"/>
              </a:rPr>
              <a:t>I </a:t>
            </a:r>
            <a:r>
              <a:rPr lang="en-US" sz="800" spc="-25" dirty="0">
                <a:solidFill>
                  <a:prstClr val="black"/>
                </a:solidFill>
                <a:latin typeface="Neue Frutiger World" panose="020B0603040304020203" pitchFamily="34" charset="0"/>
                <a:cs typeface="Neue Frutiger World" panose="020B0603040304020203" pitchFamily="34" charset="0"/>
              </a:rPr>
              <a:t>indication for </a:t>
            </a:r>
            <a:r>
              <a:rPr lang="en-US" sz="800" spc="-20" dirty="0">
                <a:solidFill>
                  <a:prstClr val="black"/>
                </a:solidFill>
                <a:latin typeface="Neue Frutiger World" panose="020B0603040304020203" pitchFamily="34" charset="0"/>
                <a:cs typeface="Neue Frutiger World" panose="020B0603040304020203" pitchFamily="34" charset="0"/>
              </a:rPr>
              <a:t>removal, </a:t>
            </a:r>
            <a:r>
              <a:rPr lang="en-US" sz="800" spc="-25" dirty="0">
                <a:solidFill>
                  <a:prstClr val="black"/>
                </a:solidFill>
                <a:latin typeface="Neue Frutiger World" panose="020B0603040304020203" pitchFamily="34" charset="0"/>
                <a:cs typeface="Neue Frutiger World" panose="020B0603040304020203" pitchFamily="34" charset="0"/>
              </a:rPr>
              <a:t>data </a:t>
            </a:r>
            <a:r>
              <a:rPr lang="en-US" sz="800" spc="-20" dirty="0">
                <a:solidFill>
                  <a:prstClr val="black"/>
                </a:solidFill>
                <a:latin typeface="Neue Frutiger World" panose="020B0603040304020203" pitchFamily="34" charset="0"/>
                <a:cs typeface="Neue Frutiger World" panose="020B0603040304020203" pitchFamily="34" charset="0"/>
              </a:rPr>
              <a:t>shows </a:t>
            </a:r>
            <a:r>
              <a:rPr lang="en-US" sz="800" spc="-35" dirty="0">
                <a:solidFill>
                  <a:prstClr val="black"/>
                </a:solidFill>
                <a:latin typeface="Neue Frutiger World" panose="020B0603040304020203" pitchFamily="34" charset="0"/>
                <a:cs typeface="Neue Frutiger World" panose="020B0603040304020203" pitchFamily="34" charset="0"/>
              </a:rPr>
              <a:t>that </a:t>
            </a:r>
            <a:r>
              <a:rPr lang="en-US" sz="800" spc="-5" dirty="0">
                <a:solidFill>
                  <a:prstClr val="black"/>
                </a:solidFill>
                <a:latin typeface="Neue Frutiger World" panose="020B0603040304020203" pitchFamily="34" charset="0"/>
                <a:cs typeface="Neue Frutiger World" panose="020B0603040304020203" pitchFamily="34" charset="0"/>
              </a:rPr>
              <a:t>many </a:t>
            </a:r>
            <a:r>
              <a:rPr lang="en-US" sz="800" spc="-30" dirty="0">
                <a:solidFill>
                  <a:prstClr val="black"/>
                </a:solidFill>
                <a:latin typeface="Neue Frutiger World" panose="020B0603040304020203" pitchFamily="34" charset="0"/>
                <a:cs typeface="Neue Frutiger World" panose="020B0603040304020203" pitchFamily="34" charset="0"/>
              </a:rPr>
              <a:t>patients</a:t>
            </a:r>
            <a:r>
              <a:rPr lang="en-US" sz="800" spc="-15" dirty="0">
                <a:solidFill>
                  <a:prstClr val="black"/>
                </a:solidFill>
                <a:latin typeface="Neue Frutiger World" panose="020B0603040304020203" pitchFamily="34" charset="0"/>
                <a:cs typeface="Neue Frutiger World" panose="020B0603040304020203" pitchFamily="34" charset="0"/>
              </a:rPr>
              <a:t> </a:t>
            </a:r>
            <a:r>
              <a:rPr lang="en-US" sz="800" spc="-25" dirty="0">
                <a:solidFill>
                  <a:prstClr val="black"/>
                </a:solidFill>
                <a:latin typeface="Neue Frutiger World" panose="020B0603040304020203" pitchFamily="34" charset="0"/>
                <a:cs typeface="Neue Frutiger World" panose="020B0603040304020203" pitchFamily="34" charset="0"/>
              </a:rPr>
              <a:t>receive</a:t>
            </a:r>
            <a:r>
              <a:rPr lang="en-US" sz="800" spc="-15" dirty="0">
                <a:solidFill>
                  <a:prstClr val="black"/>
                </a:solidFill>
                <a:latin typeface="Neue Frutiger World" panose="020B0603040304020203" pitchFamily="34" charset="0"/>
                <a:cs typeface="Neue Frutiger World" panose="020B0603040304020203" pitchFamily="34" charset="0"/>
              </a:rPr>
              <a:t> </a:t>
            </a:r>
            <a:r>
              <a:rPr lang="en-US" sz="800" spc="-25" dirty="0">
                <a:solidFill>
                  <a:prstClr val="black"/>
                </a:solidFill>
                <a:latin typeface="Neue Frutiger World" panose="020B0603040304020203" pitchFamily="34" charset="0"/>
                <a:cs typeface="Neue Frutiger World" panose="020B0603040304020203" pitchFamily="34" charset="0"/>
              </a:rPr>
              <a:t>inappropriate</a:t>
            </a:r>
            <a:r>
              <a:rPr lang="en-US" sz="800" spc="-20" dirty="0">
                <a:solidFill>
                  <a:prstClr val="black"/>
                </a:solidFill>
                <a:latin typeface="Neue Frutiger World" panose="020B0603040304020203" pitchFamily="34" charset="0"/>
                <a:cs typeface="Neue Frutiger World" panose="020B0603040304020203" pitchFamily="34" charset="0"/>
              </a:rPr>
              <a:t> </a:t>
            </a:r>
            <a:r>
              <a:rPr lang="en-US" sz="800" spc="-35" dirty="0">
                <a:solidFill>
                  <a:prstClr val="black"/>
                </a:solidFill>
                <a:latin typeface="Neue Frutiger World" panose="020B0603040304020203" pitchFamily="34" charset="0"/>
                <a:cs typeface="Neue Frutiger World" panose="020B0603040304020203" pitchFamily="34" charset="0"/>
              </a:rPr>
              <a:t>treatment</a:t>
            </a:r>
            <a:r>
              <a:rPr lang="en-US" sz="800" spc="-15" dirty="0">
                <a:solidFill>
                  <a:prstClr val="black"/>
                </a:solidFill>
                <a:latin typeface="Neue Frutiger World" panose="020B0603040304020203" pitchFamily="34" charset="0"/>
                <a:cs typeface="Neue Frutiger World" panose="020B0603040304020203" pitchFamily="34" charset="0"/>
              </a:rPr>
              <a:t> or</a:t>
            </a:r>
            <a:r>
              <a:rPr lang="en-US" sz="800" spc="-35" dirty="0">
                <a:solidFill>
                  <a:prstClr val="black"/>
                </a:solidFill>
                <a:latin typeface="Neue Frutiger World" panose="020B0603040304020203" pitchFamily="34" charset="0"/>
                <a:cs typeface="Neue Frutiger World" panose="020B0603040304020203" pitchFamily="34" charset="0"/>
              </a:rPr>
              <a:t> </a:t>
            </a:r>
            <a:r>
              <a:rPr lang="en-US" sz="800" spc="-10" dirty="0">
                <a:solidFill>
                  <a:prstClr val="black"/>
                </a:solidFill>
                <a:latin typeface="Neue Frutiger World" panose="020B0603040304020203" pitchFamily="34" charset="0"/>
                <a:cs typeface="Neue Frutiger World" panose="020B0603040304020203" pitchFamily="34" charset="0"/>
              </a:rPr>
              <a:t>no</a:t>
            </a:r>
            <a:r>
              <a:rPr lang="en-US" sz="800" spc="-20" dirty="0">
                <a:solidFill>
                  <a:prstClr val="black"/>
                </a:solidFill>
                <a:latin typeface="Neue Frutiger World" panose="020B0603040304020203" pitchFamily="34" charset="0"/>
                <a:cs typeface="Neue Frutiger World" panose="020B0603040304020203" pitchFamily="34" charset="0"/>
              </a:rPr>
              <a:t> </a:t>
            </a:r>
            <a:r>
              <a:rPr lang="en-US" sz="800" spc="-35" dirty="0">
                <a:solidFill>
                  <a:prstClr val="black"/>
                </a:solidFill>
                <a:latin typeface="Neue Frutiger World" panose="020B0603040304020203" pitchFamily="34" charset="0"/>
                <a:cs typeface="Neue Frutiger World" panose="020B0603040304020203" pitchFamily="34" charset="0"/>
              </a:rPr>
              <a:t>treatment at </a:t>
            </a:r>
            <a:r>
              <a:rPr lang="en-US" sz="800" spc="-10" dirty="0">
                <a:solidFill>
                  <a:prstClr val="black"/>
                </a:solidFill>
                <a:latin typeface="Neue Frutiger World" panose="020B0603040304020203" pitchFamily="34" charset="0"/>
                <a:cs typeface="Neue Frutiger World" panose="020B0603040304020203" pitchFamily="34" charset="0"/>
              </a:rPr>
              <a:t>all. </a:t>
            </a:r>
            <a:r>
              <a:rPr lang="en-US" sz="800" spc="-25" dirty="0">
                <a:solidFill>
                  <a:prstClr val="black"/>
                </a:solidFill>
                <a:latin typeface="Neue Frutiger World" panose="020B0603040304020203" pitchFamily="34" charset="0"/>
                <a:cs typeface="Neue Frutiger World" panose="020B0603040304020203" pitchFamily="34" charset="0"/>
              </a:rPr>
              <a:t>Antibiotic </a:t>
            </a:r>
            <a:r>
              <a:rPr lang="en-US" sz="800" spc="-35" dirty="0">
                <a:solidFill>
                  <a:prstClr val="black"/>
                </a:solidFill>
                <a:latin typeface="Neue Frutiger World" panose="020B0603040304020203" pitchFamily="34" charset="0"/>
                <a:cs typeface="Neue Frutiger World" panose="020B0603040304020203" pitchFamily="34" charset="0"/>
              </a:rPr>
              <a:t>treatment </a:t>
            </a:r>
            <a:r>
              <a:rPr lang="en-US" sz="800" spc="-20" dirty="0">
                <a:solidFill>
                  <a:prstClr val="black"/>
                </a:solidFill>
                <a:latin typeface="Neue Frutiger World" panose="020B0603040304020203" pitchFamily="34" charset="0"/>
                <a:cs typeface="Neue Frutiger World" panose="020B0603040304020203" pitchFamily="34" charset="0"/>
              </a:rPr>
              <a:t>is often </a:t>
            </a:r>
            <a:r>
              <a:rPr lang="en-US" sz="800" spc="-15" dirty="0">
                <a:solidFill>
                  <a:prstClr val="black"/>
                </a:solidFill>
                <a:latin typeface="Neue Frutiger World" panose="020B0603040304020203" pitchFamily="34" charset="0"/>
                <a:cs typeface="Neue Frutiger World" panose="020B0603040304020203" pitchFamily="34" charset="0"/>
              </a:rPr>
              <a:t>given, </a:t>
            </a:r>
            <a:r>
              <a:rPr lang="en-US" sz="800" spc="-10" dirty="0">
                <a:solidFill>
                  <a:prstClr val="black"/>
                </a:solidFill>
                <a:latin typeface="Neue Frutiger World" panose="020B0603040304020203" pitchFamily="34" charset="0"/>
                <a:cs typeface="Neue Frutiger World" panose="020B0603040304020203" pitchFamily="34" charset="0"/>
              </a:rPr>
              <a:t>which </a:t>
            </a:r>
            <a:r>
              <a:rPr lang="en-US" sz="800" spc="-15" dirty="0">
                <a:solidFill>
                  <a:prstClr val="black"/>
                </a:solidFill>
                <a:latin typeface="Neue Frutiger World" panose="020B0603040304020203" pitchFamily="34" charset="0"/>
                <a:cs typeface="Neue Frutiger World" panose="020B0603040304020203" pitchFamily="34" charset="0"/>
              </a:rPr>
              <a:t>delays </a:t>
            </a:r>
            <a:r>
              <a:rPr lang="en-US" sz="800" spc="-30" dirty="0">
                <a:solidFill>
                  <a:prstClr val="black"/>
                </a:solidFill>
                <a:latin typeface="Neue Frutiger World" panose="020B0603040304020203" pitchFamily="34" charset="0"/>
                <a:cs typeface="Neue Frutiger World" panose="020B0603040304020203" pitchFamily="34" charset="0"/>
              </a:rPr>
              <a:t>the definitive</a:t>
            </a:r>
            <a:r>
              <a:rPr lang="en-US" sz="800" spc="-25" dirty="0">
                <a:solidFill>
                  <a:prstClr val="black"/>
                </a:solidFill>
                <a:latin typeface="Neue Frutiger World" panose="020B0603040304020203" pitchFamily="34" charset="0"/>
                <a:cs typeface="Neue Frutiger World" panose="020B0603040304020203" pitchFamily="34" charset="0"/>
              </a:rPr>
              <a:t> </a:t>
            </a:r>
            <a:r>
              <a:rPr lang="en-US" sz="800" spc="-35" dirty="0">
                <a:solidFill>
                  <a:prstClr val="black"/>
                </a:solidFill>
                <a:latin typeface="Neue Frutiger World" panose="020B0603040304020203" pitchFamily="34" charset="0"/>
                <a:cs typeface="Neue Frutiger World" panose="020B0603040304020203" pitchFamily="34" charset="0"/>
              </a:rPr>
              <a:t>treatment</a:t>
            </a:r>
            <a:r>
              <a:rPr lang="en-US" sz="800" spc="-20" dirty="0">
                <a:solidFill>
                  <a:prstClr val="black"/>
                </a:solidFill>
                <a:latin typeface="Neue Frutiger World" panose="020B0603040304020203" pitchFamily="34" charset="0"/>
                <a:cs typeface="Neue Frutiger World" panose="020B0603040304020203" pitchFamily="34" charset="0"/>
              </a:rPr>
              <a:t> </a:t>
            </a:r>
            <a:r>
              <a:rPr lang="en-US" sz="800" spc="-10" dirty="0">
                <a:solidFill>
                  <a:prstClr val="black"/>
                </a:solidFill>
                <a:latin typeface="Neue Frutiger World" panose="020B0603040304020203" pitchFamily="34" charset="0"/>
                <a:cs typeface="Neue Frutiger World" panose="020B0603040304020203" pitchFamily="34" charset="0"/>
              </a:rPr>
              <a:t>of</a:t>
            </a:r>
            <a:r>
              <a:rPr lang="en-US" sz="800" spc="-45" dirty="0">
                <a:solidFill>
                  <a:prstClr val="black"/>
                </a:solidFill>
                <a:latin typeface="Neue Frutiger World" panose="020B0603040304020203" pitchFamily="34" charset="0"/>
                <a:cs typeface="Neue Frutiger World" panose="020B0603040304020203" pitchFamily="34" charset="0"/>
              </a:rPr>
              <a:t> </a:t>
            </a:r>
            <a:r>
              <a:rPr lang="en-US" sz="800" spc="-20" dirty="0">
                <a:solidFill>
                  <a:prstClr val="black"/>
                </a:solidFill>
                <a:latin typeface="Neue Frutiger World" panose="020B0603040304020203" pitchFamily="34" charset="0"/>
                <a:cs typeface="Neue Frutiger World" panose="020B0603040304020203" pitchFamily="34" charset="0"/>
              </a:rPr>
              <a:t>complete </a:t>
            </a:r>
            <a:r>
              <a:rPr lang="en-US" sz="800" spc="-25" dirty="0">
                <a:solidFill>
                  <a:prstClr val="black"/>
                </a:solidFill>
                <a:latin typeface="Neue Frutiger World" panose="020B0603040304020203" pitchFamily="34" charset="0"/>
                <a:cs typeface="Neue Frutiger World" panose="020B0603040304020203" pitchFamily="34" charset="0"/>
              </a:rPr>
              <a:t>hardware</a:t>
            </a:r>
            <a:r>
              <a:rPr lang="en-US" sz="800" spc="-15" dirty="0">
                <a:solidFill>
                  <a:prstClr val="black"/>
                </a:solidFill>
                <a:latin typeface="Neue Frutiger World" panose="020B0603040304020203" pitchFamily="34" charset="0"/>
                <a:cs typeface="Neue Frutiger World" panose="020B0603040304020203" pitchFamily="34" charset="0"/>
              </a:rPr>
              <a:t> </a:t>
            </a:r>
            <a:r>
              <a:rPr lang="en-US" sz="800" spc="-25" dirty="0">
                <a:solidFill>
                  <a:prstClr val="black"/>
                </a:solidFill>
                <a:latin typeface="Neue Frutiger World" panose="020B0603040304020203" pitchFamily="34" charset="0"/>
                <a:cs typeface="Neue Frutiger World" panose="020B0603040304020203" pitchFamily="34" charset="0"/>
              </a:rPr>
              <a:t>removal.</a:t>
            </a:r>
          </a:p>
          <a:p>
            <a:pPr marL="12699" marR="231121">
              <a:lnSpc>
                <a:spcPct val="102600"/>
              </a:lnSpc>
              <a:spcBef>
                <a:spcPts val="60"/>
              </a:spcBef>
            </a:pPr>
            <a:endParaRPr lang="en-US" sz="800" dirty="0">
              <a:solidFill>
                <a:prstClr val="black"/>
              </a:solidFill>
              <a:latin typeface="Neue Frutiger World" panose="020B0603040304020203" pitchFamily="34" charset="0"/>
              <a:cs typeface="Neue Frutiger World" panose="020B0603040304020203" pitchFamily="34" charset="0"/>
            </a:endParaRPr>
          </a:p>
          <a:p>
            <a:pPr marL="12699" marR="216517">
              <a:lnSpc>
                <a:spcPct val="102600"/>
              </a:lnSpc>
            </a:pPr>
            <a:r>
              <a:rPr lang="en-US" sz="800" spc="-30" dirty="0">
                <a:solidFill>
                  <a:prstClr val="black"/>
                </a:solidFill>
                <a:latin typeface="Neue Frutiger World" panose="020B0603040304020203" pitchFamily="34" charset="0"/>
                <a:cs typeface="Neue Frutiger World" panose="020B0603040304020203" pitchFamily="34" charset="0"/>
              </a:rPr>
              <a:t>Patients </a:t>
            </a:r>
            <a:r>
              <a:rPr lang="en-US" sz="800" spc="-10" dirty="0">
                <a:solidFill>
                  <a:prstClr val="black"/>
                </a:solidFill>
                <a:latin typeface="Neue Frutiger World" panose="020B0603040304020203" pitchFamily="34" charset="0"/>
                <a:cs typeface="Neue Frutiger World" panose="020B0603040304020203" pitchFamily="34" charset="0"/>
              </a:rPr>
              <a:t>may </a:t>
            </a:r>
            <a:r>
              <a:rPr lang="en-US" sz="800" spc="-25" dirty="0">
                <a:solidFill>
                  <a:prstClr val="black"/>
                </a:solidFill>
                <a:latin typeface="Neue Frutiger World" panose="020B0603040304020203" pitchFamily="34" charset="0"/>
                <a:cs typeface="Neue Frutiger World" panose="020B0603040304020203" pitchFamily="34" charset="0"/>
              </a:rPr>
              <a:t>get stuck </a:t>
            </a:r>
            <a:r>
              <a:rPr lang="en-US" sz="800" spc="-15" dirty="0">
                <a:solidFill>
                  <a:prstClr val="black"/>
                </a:solidFill>
                <a:latin typeface="Neue Frutiger World" panose="020B0603040304020203" pitchFamily="34" charset="0"/>
                <a:cs typeface="Neue Frutiger World" panose="020B0603040304020203" pitchFamily="34" charset="0"/>
              </a:rPr>
              <a:t>in </a:t>
            </a:r>
            <a:r>
              <a:rPr lang="en-US" sz="800" spc="-5" dirty="0">
                <a:solidFill>
                  <a:prstClr val="black"/>
                </a:solidFill>
                <a:latin typeface="Neue Frutiger World" panose="020B0603040304020203" pitchFamily="34" charset="0"/>
                <a:cs typeface="Neue Frutiger World" panose="020B0603040304020203" pitchFamily="34" charset="0"/>
              </a:rPr>
              <a:t>a </a:t>
            </a:r>
            <a:r>
              <a:rPr lang="en-US" sz="800" spc="-25" dirty="0">
                <a:solidFill>
                  <a:prstClr val="black"/>
                </a:solidFill>
                <a:latin typeface="Neue Frutiger World" panose="020B0603040304020203" pitchFamily="34" charset="0"/>
                <a:cs typeface="Neue Frutiger World" panose="020B0603040304020203" pitchFamily="34" charset="0"/>
              </a:rPr>
              <a:t>repeated </a:t>
            </a:r>
            <a:r>
              <a:rPr lang="en-US" sz="800" spc="-5" dirty="0">
                <a:solidFill>
                  <a:prstClr val="black"/>
                </a:solidFill>
                <a:latin typeface="Neue Frutiger World" panose="020B0603040304020203" pitchFamily="34" charset="0"/>
                <a:cs typeface="Neue Frutiger World" panose="020B0603040304020203" pitchFamily="34" charset="0"/>
              </a:rPr>
              <a:t>cycle </a:t>
            </a:r>
            <a:r>
              <a:rPr lang="en-US" sz="800" spc="-10" dirty="0">
                <a:solidFill>
                  <a:prstClr val="black"/>
                </a:solidFill>
                <a:latin typeface="Neue Frutiger World" panose="020B0603040304020203" pitchFamily="34" charset="0"/>
                <a:cs typeface="Neue Frutiger World" panose="020B0603040304020203" pitchFamily="34" charset="0"/>
              </a:rPr>
              <a:t>of </a:t>
            </a:r>
            <a:r>
              <a:rPr lang="en-US" sz="800" spc="-25" dirty="0">
                <a:solidFill>
                  <a:prstClr val="black"/>
                </a:solidFill>
                <a:latin typeface="Neue Frutiger World" panose="020B0603040304020203" pitchFamily="34" charset="0"/>
                <a:cs typeface="Neue Frutiger World" panose="020B0603040304020203" pitchFamily="34" charset="0"/>
              </a:rPr>
              <a:t>antibiotic treatments and worsening infection</a:t>
            </a:r>
            <a:r>
              <a:rPr lang="en-US" sz="800" spc="-15" dirty="0">
                <a:solidFill>
                  <a:prstClr val="black"/>
                </a:solidFill>
                <a:latin typeface="Neue Frutiger World" panose="020B0603040304020203" pitchFamily="34" charset="0"/>
                <a:cs typeface="Neue Frutiger World" panose="020B0603040304020203" pitchFamily="34" charset="0"/>
              </a:rPr>
              <a:t>. A lack of understanding amongst HCPs, of the effects of infection, means patients are subject to higher rates of complications and mortality. </a:t>
            </a:r>
          </a:p>
          <a:p>
            <a:pPr marL="12699" marR="216517">
              <a:lnSpc>
                <a:spcPct val="102600"/>
              </a:lnSpc>
            </a:pPr>
            <a:endParaRPr lang="en-US" sz="800" spc="-15" dirty="0">
              <a:solidFill>
                <a:prstClr val="black"/>
              </a:solidFill>
              <a:latin typeface="Neue Frutiger World" panose="020B0603040304020203" pitchFamily="34" charset="0"/>
              <a:cs typeface="Neue Frutiger World" panose="020B0603040304020203" pitchFamily="34" charset="0"/>
            </a:endParaRPr>
          </a:p>
          <a:p>
            <a:pPr marL="12699" marR="216517">
              <a:lnSpc>
                <a:spcPct val="102600"/>
              </a:lnSpc>
            </a:pPr>
            <a:r>
              <a:rPr lang="en-US" sz="800" spc="-15" dirty="0">
                <a:solidFill>
                  <a:prstClr val="black"/>
                </a:solidFill>
                <a:latin typeface="Neue Frutiger World" panose="020B0603040304020203" pitchFamily="34" charset="0"/>
                <a:cs typeface="Neue Frutiger World" panose="020B0603040304020203" pitchFamily="34" charset="0"/>
              </a:rPr>
              <a:t>A recent paper demonstrate education is needed, </a:t>
            </a:r>
            <a:r>
              <a:rPr lang="en-US" sz="800" spc="-5" dirty="0">
                <a:solidFill>
                  <a:prstClr val="black"/>
                </a:solidFill>
                <a:latin typeface="Neue Frutiger World" panose="020B0603040304020203" pitchFamily="34" charset="0"/>
                <a:cs typeface="Neue Frutiger World" panose="020B0603040304020203" pitchFamily="34" charset="0"/>
              </a:rPr>
              <a:t>n</a:t>
            </a:r>
            <a:r>
              <a:rPr lang="en-US" sz="800" spc="-20" dirty="0">
                <a:solidFill>
                  <a:prstClr val="black"/>
                </a:solidFill>
                <a:latin typeface="Neue Frutiger World" panose="020B0603040304020203" pitchFamily="34" charset="0"/>
                <a:cs typeface="Neue Frutiger World" panose="020B0603040304020203" pitchFamily="34" charset="0"/>
              </a:rPr>
              <a:t>ot only </a:t>
            </a:r>
            <a:r>
              <a:rPr lang="en-US" sz="800" spc="-25" dirty="0">
                <a:solidFill>
                  <a:prstClr val="black"/>
                </a:solidFill>
                <a:latin typeface="Neue Frutiger World" panose="020B0603040304020203" pitchFamily="34" charset="0"/>
                <a:cs typeface="Neue Frutiger World" panose="020B0603040304020203" pitchFamily="34" charset="0"/>
              </a:rPr>
              <a:t>for</a:t>
            </a:r>
            <a:r>
              <a:rPr lang="en-US" sz="800" spc="-35" dirty="0">
                <a:solidFill>
                  <a:prstClr val="black"/>
                </a:solidFill>
                <a:latin typeface="Neue Frutiger World" panose="020B0603040304020203" pitchFamily="34" charset="0"/>
                <a:cs typeface="Neue Frutiger World" panose="020B0603040304020203" pitchFamily="34" charset="0"/>
              </a:rPr>
              <a:t> </a:t>
            </a:r>
            <a:r>
              <a:rPr lang="en-US" sz="800" spc="-15" dirty="0">
                <a:solidFill>
                  <a:prstClr val="black"/>
                </a:solidFill>
                <a:latin typeface="Neue Frutiger World" panose="020B0603040304020203" pitchFamily="34" charset="0"/>
                <a:cs typeface="Neue Frutiger World" panose="020B0603040304020203" pitchFamily="34" charset="0"/>
              </a:rPr>
              <a:t>all</a:t>
            </a:r>
            <a:r>
              <a:rPr lang="en-US" sz="800" spc="-5" dirty="0">
                <a:solidFill>
                  <a:prstClr val="black"/>
                </a:solidFill>
                <a:latin typeface="Neue Frutiger World" panose="020B0603040304020203" pitchFamily="34" charset="0"/>
                <a:cs typeface="Neue Frutiger World" panose="020B0603040304020203" pitchFamily="34" charset="0"/>
              </a:rPr>
              <a:t> </a:t>
            </a:r>
            <a:r>
              <a:rPr lang="en-US" sz="800" spc="-20" dirty="0">
                <a:solidFill>
                  <a:prstClr val="black"/>
                </a:solidFill>
                <a:latin typeface="Neue Frutiger World" panose="020B0603040304020203" pitchFamily="34" charset="0"/>
                <a:cs typeface="Neue Frutiger World" panose="020B0603040304020203" pitchFamily="34" charset="0"/>
              </a:rPr>
              <a:t>physicians </a:t>
            </a:r>
            <a:r>
              <a:rPr lang="en-US" sz="800" spc="-35" dirty="0">
                <a:solidFill>
                  <a:prstClr val="black"/>
                </a:solidFill>
                <a:latin typeface="Neue Frutiger World" panose="020B0603040304020203" pitchFamily="34" charset="0"/>
                <a:cs typeface="Neue Frutiger World" panose="020B0603040304020203" pitchFamily="34" charset="0"/>
              </a:rPr>
              <a:t>that</a:t>
            </a:r>
            <a:r>
              <a:rPr lang="en-US" sz="800" spc="-20" dirty="0">
                <a:solidFill>
                  <a:prstClr val="black"/>
                </a:solidFill>
                <a:latin typeface="Neue Frutiger World" panose="020B0603040304020203" pitchFamily="34" charset="0"/>
                <a:cs typeface="Neue Frutiger World" panose="020B0603040304020203" pitchFamily="34" charset="0"/>
              </a:rPr>
              <a:t> </a:t>
            </a:r>
            <a:r>
              <a:rPr lang="en-US" sz="800" spc="-15" dirty="0">
                <a:solidFill>
                  <a:prstClr val="black"/>
                </a:solidFill>
                <a:latin typeface="Neue Frutiger World" panose="020B0603040304020203" pitchFamily="34" charset="0"/>
                <a:cs typeface="Neue Frutiger World" panose="020B0603040304020203" pitchFamily="34" charset="0"/>
              </a:rPr>
              <a:t>manage</a:t>
            </a:r>
            <a:r>
              <a:rPr lang="en-US" sz="800" spc="-20" dirty="0">
                <a:solidFill>
                  <a:prstClr val="black"/>
                </a:solidFill>
                <a:latin typeface="Neue Frutiger World" panose="020B0603040304020203" pitchFamily="34" charset="0"/>
                <a:cs typeface="Neue Frutiger World" panose="020B0603040304020203" pitchFamily="34" charset="0"/>
              </a:rPr>
              <a:t> devices, but</a:t>
            </a:r>
            <a:r>
              <a:rPr lang="en-US" sz="800" spc="-15" dirty="0">
                <a:solidFill>
                  <a:prstClr val="black"/>
                </a:solidFill>
                <a:latin typeface="Neue Frutiger World" panose="020B0603040304020203" pitchFamily="34" charset="0"/>
                <a:cs typeface="Neue Frutiger World" panose="020B0603040304020203" pitchFamily="34" charset="0"/>
              </a:rPr>
              <a:t> </a:t>
            </a:r>
            <a:r>
              <a:rPr lang="en-US" sz="800" spc="-20" dirty="0">
                <a:solidFill>
                  <a:prstClr val="black"/>
                </a:solidFill>
                <a:latin typeface="Neue Frutiger World" panose="020B0603040304020203" pitchFamily="34" charset="0"/>
                <a:cs typeface="Neue Frutiger World" panose="020B0603040304020203" pitchFamily="34" charset="0"/>
              </a:rPr>
              <a:t>for </a:t>
            </a:r>
            <a:r>
              <a:rPr lang="en-US" sz="800" spc="-25" dirty="0">
                <a:solidFill>
                  <a:prstClr val="black"/>
                </a:solidFill>
                <a:latin typeface="Neue Frutiger World" panose="020B0603040304020203" pitchFamily="34" charset="0"/>
                <a:cs typeface="Neue Frutiger World" panose="020B0603040304020203" pitchFamily="34" charset="0"/>
              </a:rPr>
              <a:t>other</a:t>
            </a:r>
            <a:r>
              <a:rPr lang="en-US" sz="800" spc="-45" dirty="0">
                <a:solidFill>
                  <a:prstClr val="black"/>
                </a:solidFill>
                <a:latin typeface="Neue Frutiger World" panose="020B0603040304020203" pitchFamily="34" charset="0"/>
                <a:cs typeface="Neue Frutiger World" panose="020B0603040304020203" pitchFamily="34" charset="0"/>
              </a:rPr>
              <a:t> </a:t>
            </a:r>
            <a:r>
              <a:rPr lang="en-US" sz="800" spc="-5" dirty="0">
                <a:solidFill>
                  <a:prstClr val="black"/>
                </a:solidFill>
                <a:latin typeface="Neue Frutiger World" panose="020B0603040304020203" pitchFamily="34" charset="0"/>
                <a:cs typeface="Neue Frutiger World" panose="020B0603040304020203" pitchFamily="34" charset="0"/>
              </a:rPr>
              <a:t>HCPs as well</a:t>
            </a:r>
            <a:r>
              <a:rPr lang="en-US" sz="800" spc="-20" dirty="0">
                <a:solidFill>
                  <a:prstClr val="black"/>
                </a:solidFill>
                <a:latin typeface="Neue Frutiger World" panose="020B0603040304020203" pitchFamily="34" charset="0"/>
                <a:cs typeface="Neue Frutiger World" panose="020B0603040304020203" pitchFamily="34" charset="0"/>
              </a:rPr>
              <a:t>, such as </a:t>
            </a:r>
            <a:r>
              <a:rPr lang="en-US" sz="800" spc="-20" dirty="0" err="1">
                <a:solidFill>
                  <a:prstClr val="black"/>
                </a:solidFill>
                <a:latin typeface="Neue Frutiger World" panose="020B0603040304020203" pitchFamily="34" charset="0"/>
                <a:cs typeface="Neue Frutiger World" panose="020B0603040304020203" pitchFamily="34" charset="0"/>
              </a:rPr>
              <a:t>infectiologists</a:t>
            </a:r>
            <a:r>
              <a:rPr lang="en-US" sz="800" spc="-20" dirty="0">
                <a:solidFill>
                  <a:prstClr val="black"/>
                </a:solidFill>
                <a:latin typeface="Neue Frutiger World" panose="020B0603040304020203" pitchFamily="34" charset="0"/>
                <a:cs typeface="Neue Frutiger World" panose="020B0603040304020203" pitchFamily="34" charset="0"/>
              </a:rPr>
              <a:t>, general practioners and </a:t>
            </a:r>
            <a:r>
              <a:rPr lang="en-US" sz="800" spc="-30" dirty="0">
                <a:solidFill>
                  <a:prstClr val="black"/>
                </a:solidFill>
                <a:latin typeface="Neue Frutiger World" panose="020B0603040304020203" pitchFamily="34" charset="0"/>
                <a:cs typeface="Neue Frutiger World" panose="020B0603040304020203" pitchFamily="34" charset="0"/>
              </a:rPr>
              <a:t>referrers.</a:t>
            </a:r>
            <a:r>
              <a:rPr lang="en-US" sz="800" spc="-20" dirty="0">
                <a:solidFill>
                  <a:prstClr val="black"/>
                </a:solidFill>
                <a:latin typeface="Neue Frutiger World" panose="020B0603040304020203" pitchFamily="34" charset="0"/>
                <a:cs typeface="Neue Frutiger World" panose="020B0603040304020203" pitchFamily="34" charset="0"/>
              </a:rPr>
              <a:t> </a:t>
            </a:r>
            <a:r>
              <a:rPr lang="en-US" sz="800" spc="-20" baseline="30000" dirty="0">
                <a:solidFill>
                  <a:prstClr val="black"/>
                </a:solidFill>
                <a:latin typeface="Neue Frutiger World" panose="020B0603040304020203" pitchFamily="34" charset="0"/>
                <a:cs typeface="Neue Frutiger World" panose="020B0603040304020203" pitchFamily="34" charset="0"/>
              </a:rPr>
              <a:t>16</a:t>
            </a:r>
          </a:p>
          <a:p>
            <a:pPr marL="12699" marR="216517">
              <a:lnSpc>
                <a:spcPct val="102600"/>
              </a:lnSpc>
            </a:pPr>
            <a:endParaRPr lang="en-US" sz="800" spc="-20" dirty="0">
              <a:solidFill>
                <a:prstClr val="black"/>
              </a:solidFill>
              <a:latin typeface="Neue Frutiger World" panose="020B0603040304020203" pitchFamily="34" charset="0"/>
              <a:cs typeface="Neue Frutiger World" panose="020B0603040304020203" pitchFamily="34" charset="0"/>
            </a:endParaRPr>
          </a:p>
          <a:p>
            <a:pPr marL="12699" marR="216517">
              <a:lnSpc>
                <a:spcPct val="102600"/>
              </a:lnSpc>
            </a:pPr>
            <a:r>
              <a:rPr lang="en-US" sz="800" spc="-20" dirty="0">
                <a:solidFill>
                  <a:prstClr val="black"/>
                </a:solidFill>
                <a:latin typeface="Neue Frutiger World" panose="020B0603040304020203" pitchFamily="34" charset="0"/>
                <a:cs typeface="Neue Frutiger World" panose="020B0603040304020203" pitchFamily="34" charset="0"/>
              </a:rPr>
              <a:t>It is</a:t>
            </a:r>
            <a:r>
              <a:rPr lang="en-US" sz="800" spc="-15" dirty="0">
                <a:solidFill>
                  <a:prstClr val="black"/>
                </a:solidFill>
                <a:latin typeface="Neue Frutiger World" panose="020B0603040304020203" pitchFamily="34" charset="0"/>
                <a:cs typeface="Neue Frutiger World" panose="020B0603040304020203" pitchFamily="34" charset="0"/>
              </a:rPr>
              <a:t> </a:t>
            </a:r>
            <a:r>
              <a:rPr lang="en-US" sz="800" spc="-25" dirty="0">
                <a:solidFill>
                  <a:prstClr val="black"/>
                </a:solidFill>
                <a:latin typeface="Neue Frutiger World" panose="020B0603040304020203" pitchFamily="34" charset="0"/>
                <a:cs typeface="Neue Frutiger World" panose="020B0603040304020203" pitchFamily="34" charset="0"/>
              </a:rPr>
              <a:t>essential </a:t>
            </a:r>
            <a:r>
              <a:rPr lang="en-US" sz="800" spc="-30" dirty="0">
                <a:solidFill>
                  <a:prstClr val="black"/>
                </a:solidFill>
                <a:latin typeface="Neue Frutiger World" panose="020B0603040304020203" pitchFamily="34" charset="0"/>
                <a:cs typeface="Neue Frutiger World" panose="020B0603040304020203" pitchFamily="34" charset="0"/>
              </a:rPr>
              <a:t>to treat patients as per guidelines and to </a:t>
            </a:r>
            <a:r>
              <a:rPr lang="en-US" sz="800" spc="-25" dirty="0">
                <a:solidFill>
                  <a:prstClr val="black"/>
                </a:solidFill>
                <a:latin typeface="Neue Frutiger World" panose="020B0603040304020203" pitchFamily="34" charset="0"/>
                <a:cs typeface="Neue Frutiger World" panose="020B0603040304020203" pitchFamily="34" charset="0"/>
              </a:rPr>
              <a:t>reduce increased</a:t>
            </a:r>
            <a:r>
              <a:rPr lang="en-US" sz="800" spc="-20" dirty="0">
                <a:solidFill>
                  <a:prstClr val="black"/>
                </a:solidFill>
                <a:latin typeface="Neue Frutiger World" panose="020B0603040304020203" pitchFamily="34" charset="0"/>
                <a:cs typeface="Neue Frutiger World" panose="020B0603040304020203" pitchFamily="34" charset="0"/>
              </a:rPr>
              <a:t> </a:t>
            </a:r>
            <a:r>
              <a:rPr lang="en-US" sz="800" spc="-25" dirty="0">
                <a:solidFill>
                  <a:prstClr val="black"/>
                </a:solidFill>
                <a:latin typeface="Neue Frutiger World" panose="020B0603040304020203" pitchFamily="34" charset="0"/>
                <a:cs typeface="Neue Frutiger World" panose="020B0603040304020203" pitchFamily="34" charset="0"/>
              </a:rPr>
              <a:t>costs due to CIED infection.</a:t>
            </a:r>
            <a:r>
              <a:rPr lang="en-US" sz="800" spc="-20" dirty="0">
                <a:solidFill>
                  <a:prstClr val="black"/>
                </a:solidFill>
                <a:latin typeface="Neue Frutiger World" panose="020B0603040304020203" pitchFamily="34" charset="0"/>
                <a:cs typeface="Neue Frutiger World" panose="020B0603040304020203" pitchFamily="34" charset="0"/>
              </a:rPr>
              <a:t> </a:t>
            </a:r>
            <a:endParaRPr lang="en-US" sz="800" dirty="0">
              <a:solidFill>
                <a:prstClr val="black"/>
              </a:solidFill>
              <a:latin typeface="Neue Frutiger World" panose="020B0603040304020203" pitchFamily="34" charset="0"/>
              <a:cs typeface="Neue Frutiger World" panose="020B0603040304020203" pitchFamily="34" charset="0"/>
            </a:endParaRPr>
          </a:p>
        </p:txBody>
      </p:sp>
      <p:sp>
        <p:nvSpPr>
          <p:cNvPr id="23" name="object 9">
            <a:extLst>
              <a:ext uri="{FF2B5EF4-FFF2-40B4-BE49-F238E27FC236}">
                <a16:creationId xmlns:a16="http://schemas.microsoft.com/office/drawing/2014/main" id="{C0F28CF6-E90F-4DDA-AEE7-FBC6039DC8B4}"/>
              </a:ext>
            </a:extLst>
          </p:cNvPr>
          <p:cNvSpPr txBox="1">
            <a:spLocks noChangeAspect="1"/>
          </p:cNvSpPr>
          <p:nvPr/>
        </p:nvSpPr>
        <p:spPr>
          <a:xfrm>
            <a:off x="5742948" y="4659982"/>
            <a:ext cx="2842114" cy="120546"/>
          </a:xfrm>
          <a:prstGeom prst="rect">
            <a:avLst/>
          </a:prstGeom>
        </p:spPr>
        <p:txBody>
          <a:bodyPr vert="horz" wrap="square" lIns="0" tIns="12700" rIns="0" bIns="0" rtlCol="0">
            <a:spAutoFit/>
          </a:bodyPr>
          <a:lstStyle/>
          <a:p>
            <a:pPr marL="12699">
              <a:spcBef>
                <a:spcPts val="100"/>
              </a:spcBef>
            </a:pPr>
            <a:r>
              <a:rPr sz="700" spc="-5" dirty="0">
                <a:solidFill>
                  <a:srgbClr val="231F20"/>
                </a:solidFill>
                <a:latin typeface="Neue Frutiger World" panose="020B0603040304020203" pitchFamily="34" charset="0"/>
                <a:cs typeface="Neue Frutiger World" panose="020B0603040304020203" pitchFamily="34" charset="0"/>
              </a:rPr>
              <a:t>Learn</a:t>
            </a:r>
            <a:r>
              <a:rPr sz="700" spc="5" dirty="0">
                <a:solidFill>
                  <a:srgbClr val="231F20"/>
                </a:solidFill>
                <a:latin typeface="Neue Frutiger World" panose="020B0603040304020203" pitchFamily="34" charset="0"/>
                <a:cs typeface="Neue Frutiger World" panose="020B0603040304020203" pitchFamily="34" charset="0"/>
              </a:rPr>
              <a:t> </a:t>
            </a:r>
            <a:r>
              <a:rPr sz="700" spc="-10" dirty="0">
                <a:solidFill>
                  <a:srgbClr val="231F20"/>
                </a:solidFill>
                <a:latin typeface="Neue Frutiger World" panose="020B0603040304020203" pitchFamily="34" charset="0"/>
                <a:cs typeface="Neue Frutiger World" panose="020B0603040304020203" pitchFamily="34" charset="0"/>
              </a:rPr>
              <a:t>more</a:t>
            </a:r>
            <a:r>
              <a:rPr sz="700" spc="10" dirty="0">
                <a:solidFill>
                  <a:srgbClr val="231F20"/>
                </a:solidFill>
                <a:latin typeface="Neue Frutiger World" panose="020B0603040304020203" pitchFamily="34" charset="0"/>
                <a:cs typeface="Neue Frutiger World" panose="020B0603040304020203" pitchFamily="34" charset="0"/>
              </a:rPr>
              <a:t> </a:t>
            </a:r>
            <a:r>
              <a:rPr sz="700" spc="-10" dirty="0">
                <a:solidFill>
                  <a:srgbClr val="231F20"/>
                </a:solidFill>
                <a:latin typeface="Neue Frutiger World" panose="020B0603040304020203" pitchFamily="34" charset="0"/>
                <a:cs typeface="Neue Frutiger World" panose="020B0603040304020203" pitchFamily="34" charset="0"/>
              </a:rPr>
              <a:t>about</a:t>
            </a:r>
            <a:r>
              <a:rPr sz="700" spc="10" dirty="0">
                <a:solidFill>
                  <a:srgbClr val="231F20"/>
                </a:solidFill>
                <a:latin typeface="Neue Frutiger World" panose="020B0603040304020203" pitchFamily="34" charset="0"/>
                <a:cs typeface="Neue Frutiger World" panose="020B0603040304020203" pitchFamily="34" charset="0"/>
              </a:rPr>
              <a:t> </a:t>
            </a:r>
            <a:r>
              <a:rPr sz="700" spc="5" dirty="0">
                <a:solidFill>
                  <a:srgbClr val="231F20"/>
                </a:solidFill>
                <a:latin typeface="Neue Frutiger World" panose="020B0603040304020203" pitchFamily="34" charset="0"/>
                <a:cs typeface="Neue Frutiger World" panose="020B0603040304020203" pitchFamily="34" charset="0"/>
              </a:rPr>
              <a:t>CIED </a:t>
            </a:r>
            <a:r>
              <a:rPr sz="700" spc="-10" dirty="0">
                <a:solidFill>
                  <a:srgbClr val="231F20"/>
                </a:solidFill>
                <a:latin typeface="Neue Frutiger World" panose="020B0603040304020203" pitchFamily="34" charset="0"/>
                <a:cs typeface="Neue Frutiger World" panose="020B0603040304020203" pitchFamily="34" charset="0"/>
              </a:rPr>
              <a:t>infection</a:t>
            </a:r>
            <a:r>
              <a:rPr sz="700" spc="10" dirty="0">
                <a:solidFill>
                  <a:srgbClr val="231F20"/>
                </a:solidFill>
                <a:latin typeface="Neue Frutiger World" panose="020B0603040304020203" pitchFamily="34" charset="0"/>
                <a:cs typeface="Neue Frutiger World" panose="020B0603040304020203" pitchFamily="34" charset="0"/>
              </a:rPr>
              <a:t> </a:t>
            </a:r>
            <a:r>
              <a:rPr sz="700" spc="-15" dirty="0">
                <a:solidFill>
                  <a:srgbClr val="231F20"/>
                </a:solidFill>
                <a:latin typeface="Neue Frutiger World" panose="020B0603040304020203" pitchFamily="34" charset="0"/>
                <a:cs typeface="Neue Frutiger World" panose="020B0603040304020203" pitchFamily="34" charset="0"/>
              </a:rPr>
              <a:t>at </a:t>
            </a:r>
            <a:r>
              <a:rPr sz="700" spc="-5" dirty="0">
                <a:solidFill>
                  <a:srgbClr val="00A9EB"/>
                </a:solidFill>
                <a:latin typeface="Neue Frutiger World" panose="020B0603040304020203" pitchFamily="34" charset="0"/>
                <a:cs typeface="Neue Frutiger World" panose="020B0603040304020203" pitchFamily="34" charset="0"/>
                <a:hlinkClick r:id="rId4"/>
              </a:rPr>
              <a:t>www.philips.com/deviceinfection</a:t>
            </a:r>
            <a:endParaRPr sz="700" dirty="0">
              <a:solidFill>
                <a:prstClr val="black"/>
              </a:solidFill>
              <a:latin typeface="Neue Frutiger World" panose="020B0603040304020203" pitchFamily="34" charset="0"/>
              <a:cs typeface="Neue Frutiger World" panose="020B0603040304020203" pitchFamily="34" charset="0"/>
            </a:endParaRPr>
          </a:p>
        </p:txBody>
      </p:sp>
      <p:sp>
        <p:nvSpPr>
          <p:cNvPr id="26" name="object 25">
            <a:extLst>
              <a:ext uri="{FF2B5EF4-FFF2-40B4-BE49-F238E27FC236}">
                <a16:creationId xmlns:a16="http://schemas.microsoft.com/office/drawing/2014/main" id="{41C88FFC-7D9A-4A6E-8EA5-1520E56E540D}"/>
              </a:ext>
            </a:extLst>
          </p:cNvPr>
          <p:cNvSpPr txBox="1">
            <a:spLocks noChangeAspect="1"/>
          </p:cNvSpPr>
          <p:nvPr/>
        </p:nvSpPr>
        <p:spPr>
          <a:xfrm>
            <a:off x="5610664" y="1909281"/>
            <a:ext cx="3281816" cy="942822"/>
          </a:xfrm>
          <a:prstGeom prst="rect">
            <a:avLst/>
          </a:prstGeom>
        </p:spPr>
        <p:txBody>
          <a:bodyPr vert="horz" wrap="square" lIns="0" tIns="7620" rIns="0" bIns="0" rtlCol="0">
            <a:spAutoFit/>
          </a:bodyPr>
          <a:lstStyle/>
          <a:p>
            <a:pPr marL="139688" marR="30477" indent="-101592">
              <a:lnSpc>
                <a:spcPct val="102600"/>
              </a:lnSpc>
              <a:spcBef>
                <a:spcPts val="60"/>
              </a:spcBef>
            </a:pPr>
            <a:r>
              <a:rPr sz="1200" spc="5" dirty="0">
                <a:solidFill>
                  <a:srgbClr val="0077CD"/>
                </a:solidFill>
                <a:latin typeface="Neue Frutiger World" panose="020B0603040304020203" pitchFamily="34" charset="0"/>
                <a:cs typeface="Neue Frutiger World" panose="020B0603040304020203" pitchFamily="34" charset="0"/>
              </a:rPr>
              <a:t>“Delaying</a:t>
            </a:r>
            <a:r>
              <a:rPr sz="1200" spc="-10" dirty="0">
                <a:solidFill>
                  <a:srgbClr val="0077CD"/>
                </a:solidFill>
                <a:latin typeface="Neue Frutiger World" panose="020B0603040304020203" pitchFamily="34" charset="0"/>
                <a:cs typeface="Neue Frutiger World" panose="020B0603040304020203" pitchFamily="34" charset="0"/>
              </a:rPr>
              <a:t> </a:t>
            </a:r>
            <a:r>
              <a:rPr sz="1200" spc="-15" dirty="0">
                <a:solidFill>
                  <a:srgbClr val="0077CD"/>
                </a:solidFill>
                <a:latin typeface="Neue Frutiger World" panose="020B0603040304020203" pitchFamily="34" charset="0"/>
                <a:cs typeface="Neue Frutiger World" panose="020B0603040304020203" pitchFamily="34" charset="0"/>
              </a:rPr>
              <a:t>the</a:t>
            </a:r>
            <a:r>
              <a:rPr sz="1200" spc="5" dirty="0">
                <a:solidFill>
                  <a:srgbClr val="0077CD"/>
                </a:solidFill>
                <a:latin typeface="Neue Frutiger World" panose="020B0603040304020203" pitchFamily="34" charset="0"/>
                <a:cs typeface="Neue Frutiger World" panose="020B0603040304020203" pitchFamily="34" charset="0"/>
              </a:rPr>
              <a:t> </a:t>
            </a:r>
            <a:r>
              <a:rPr sz="1200" spc="-15" dirty="0">
                <a:solidFill>
                  <a:srgbClr val="0077CD"/>
                </a:solidFill>
                <a:latin typeface="Neue Frutiger World" panose="020B0603040304020203" pitchFamily="34" charset="0"/>
                <a:cs typeface="Neue Frutiger World" panose="020B0603040304020203" pitchFamily="34" charset="0"/>
              </a:rPr>
              <a:t>definitive</a:t>
            </a:r>
            <a:r>
              <a:rPr sz="1200" spc="5" dirty="0">
                <a:solidFill>
                  <a:srgbClr val="0077CD"/>
                </a:solidFill>
                <a:latin typeface="Neue Frutiger World" panose="020B0603040304020203" pitchFamily="34" charset="0"/>
                <a:cs typeface="Neue Frutiger World" panose="020B0603040304020203" pitchFamily="34" charset="0"/>
              </a:rPr>
              <a:t> </a:t>
            </a:r>
            <a:r>
              <a:rPr sz="1200" spc="-10" dirty="0">
                <a:solidFill>
                  <a:srgbClr val="0077CD"/>
                </a:solidFill>
                <a:latin typeface="Neue Frutiger World" panose="020B0603040304020203" pitchFamily="34" charset="0"/>
                <a:cs typeface="Neue Frutiger World" panose="020B0603040304020203" pitchFamily="34" charset="0"/>
              </a:rPr>
              <a:t>operation</a:t>
            </a:r>
            <a:r>
              <a:rPr sz="1200" spc="-35" dirty="0">
                <a:solidFill>
                  <a:srgbClr val="0077CD"/>
                </a:solidFill>
                <a:latin typeface="Neue Frutiger World" panose="020B0603040304020203" pitchFamily="34" charset="0"/>
                <a:cs typeface="Neue Frutiger World" panose="020B0603040304020203" pitchFamily="34" charset="0"/>
              </a:rPr>
              <a:t> </a:t>
            </a:r>
            <a:r>
              <a:rPr sz="1200" spc="-10" dirty="0">
                <a:solidFill>
                  <a:srgbClr val="0077CD"/>
                </a:solidFill>
                <a:latin typeface="Neue Frutiger World" panose="020B0603040304020203" pitchFamily="34" charset="0"/>
                <a:cs typeface="Neue Frutiger World" panose="020B0603040304020203" pitchFamily="34" charset="0"/>
              </a:rPr>
              <a:t>with</a:t>
            </a:r>
            <a:r>
              <a:rPr sz="1200" spc="5" dirty="0">
                <a:solidFill>
                  <a:srgbClr val="0077CD"/>
                </a:solidFill>
                <a:latin typeface="Neue Frutiger World" panose="020B0603040304020203" pitchFamily="34" charset="0"/>
                <a:cs typeface="Neue Frutiger World" panose="020B0603040304020203" pitchFamily="34" charset="0"/>
              </a:rPr>
              <a:t> </a:t>
            </a:r>
            <a:r>
              <a:rPr sz="1200" spc="-15" dirty="0">
                <a:solidFill>
                  <a:srgbClr val="0077CD"/>
                </a:solidFill>
                <a:latin typeface="Neue Frutiger World" panose="020B0603040304020203" pitchFamily="34" charset="0"/>
                <a:cs typeface="Neue Frutiger World" panose="020B0603040304020203" pitchFamily="34" charset="0"/>
              </a:rPr>
              <a:t>removal</a:t>
            </a:r>
            <a:r>
              <a:rPr lang="en-GB" sz="1200" spc="-15" dirty="0">
                <a:solidFill>
                  <a:srgbClr val="0077CD"/>
                </a:solidFill>
                <a:latin typeface="Neue Frutiger World" panose="020B0603040304020203" pitchFamily="34" charset="0"/>
                <a:cs typeface="Neue Frutiger World" panose="020B0603040304020203" pitchFamily="34" charset="0"/>
              </a:rPr>
              <a:t> </a:t>
            </a:r>
            <a:r>
              <a:rPr sz="1200" dirty="0">
                <a:solidFill>
                  <a:srgbClr val="0077CD"/>
                </a:solidFill>
                <a:latin typeface="Neue Frutiger World" panose="020B0603040304020203" pitchFamily="34" charset="0"/>
                <a:cs typeface="Neue Frutiger World" panose="020B0603040304020203" pitchFamily="34" charset="0"/>
              </a:rPr>
              <a:t>of </a:t>
            </a:r>
            <a:r>
              <a:rPr sz="1200" spc="-10" dirty="0">
                <a:solidFill>
                  <a:srgbClr val="0077CD"/>
                </a:solidFill>
                <a:latin typeface="Neue Frutiger World" panose="020B0603040304020203" pitchFamily="34" charset="0"/>
                <a:cs typeface="Neue Frutiger World" panose="020B0603040304020203" pitchFamily="34" charset="0"/>
              </a:rPr>
              <a:t>all</a:t>
            </a:r>
            <a:r>
              <a:rPr lang="nl-BE" sz="1200" spc="-10" dirty="0">
                <a:solidFill>
                  <a:srgbClr val="0077CD"/>
                </a:solidFill>
                <a:latin typeface="Neue Frutiger World" panose="020B0603040304020203" pitchFamily="34" charset="0"/>
                <a:cs typeface="Neue Frutiger World" panose="020B0603040304020203" pitchFamily="34" charset="0"/>
              </a:rPr>
              <a:t> </a:t>
            </a:r>
            <a:r>
              <a:rPr sz="1200" dirty="0">
                <a:solidFill>
                  <a:srgbClr val="0077CD"/>
                </a:solidFill>
                <a:latin typeface="Neue Frutiger World" panose="020B0603040304020203" pitchFamily="34" charset="0"/>
                <a:cs typeface="Neue Frutiger World" panose="020B0603040304020203" pitchFamily="34" charset="0"/>
              </a:rPr>
              <a:t>of </a:t>
            </a:r>
            <a:r>
              <a:rPr sz="1200" spc="-15" dirty="0">
                <a:solidFill>
                  <a:srgbClr val="0077CD"/>
                </a:solidFill>
                <a:latin typeface="Neue Frutiger World" panose="020B0603040304020203" pitchFamily="34" charset="0"/>
                <a:cs typeface="Neue Frutiger World" panose="020B0603040304020203" pitchFamily="34" charset="0"/>
              </a:rPr>
              <a:t>the </a:t>
            </a:r>
            <a:r>
              <a:rPr sz="1200" spc="-5" dirty="0">
                <a:solidFill>
                  <a:srgbClr val="0077CD"/>
                </a:solidFill>
                <a:latin typeface="Neue Frutiger World" panose="020B0603040304020203" pitchFamily="34" charset="0"/>
                <a:cs typeface="Neue Frutiger World" panose="020B0603040304020203" pitchFamily="34" charset="0"/>
              </a:rPr>
              <a:t>components </a:t>
            </a:r>
            <a:r>
              <a:rPr sz="1200" dirty="0">
                <a:solidFill>
                  <a:srgbClr val="0077CD"/>
                </a:solidFill>
                <a:latin typeface="Neue Frutiger World" panose="020B0603040304020203" pitchFamily="34" charset="0"/>
                <a:cs typeface="Neue Frutiger World" panose="020B0603040304020203" pitchFamily="34" charset="0"/>
              </a:rPr>
              <a:t>of </a:t>
            </a:r>
            <a:r>
              <a:rPr sz="1200" spc="-15" dirty="0">
                <a:solidFill>
                  <a:srgbClr val="0077CD"/>
                </a:solidFill>
                <a:latin typeface="Neue Frutiger World" panose="020B0603040304020203" pitchFamily="34" charset="0"/>
                <a:cs typeface="Neue Frutiger World" panose="020B0603040304020203" pitchFamily="34" charset="0"/>
              </a:rPr>
              <a:t>the </a:t>
            </a:r>
            <a:r>
              <a:rPr sz="1200" spc="15" dirty="0">
                <a:solidFill>
                  <a:srgbClr val="0077CD"/>
                </a:solidFill>
                <a:latin typeface="Neue Frutiger World" panose="020B0603040304020203" pitchFamily="34" charset="0"/>
                <a:cs typeface="Neue Frutiger World" panose="020B0603040304020203" pitchFamily="34" charset="0"/>
              </a:rPr>
              <a:t>CIED </a:t>
            </a:r>
            <a:r>
              <a:rPr sz="1200" spc="-10" dirty="0">
                <a:solidFill>
                  <a:srgbClr val="0077CD"/>
                </a:solidFill>
                <a:latin typeface="Neue Frutiger World" panose="020B0603040304020203" pitchFamily="34" charset="0"/>
                <a:cs typeface="Neue Frutiger World" panose="020B0603040304020203" pitchFamily="34" charset="0"/>
              </a:rPr>
              <a:t>system</a:t>
            </a:r>
            <a:r>
              <a:rPr lang="en-GB" sz="1200" spc="-10" dirty="0">
                <a:solidFill>
                  <a:srgbClr val="0077CD"/>
                </a:solidFill>
                <a:latin typeface="Neue Frutiger World" panose="020B0603040304020203" pitchFamily="34" charset="0"/>
                <a:cs typeface="Neue Frutiger World" panose="020B0603040304020203" pitchFamily="34" charset="0"/>
              </a:rPr>
              <a:t> </a:t>
            </a:r>
            <a:r>
              <a:rPr sz="1200" spc="-5" dirty="0">
                <a:solidFill>
                  <a:srgbClr val="0077CD"/>
                </a:solidFill>
                <a:latin typeface="Neue Frutiger World" panose="020B0603040304020203" pitchFamily="34" charset="0"/>
                <a:cs typeface="Neue Frutiger World" panose="020B0603040304020203" pitchFamily="34" charset="0"/>
              </a:rPr>
              <a:t>can</a:t>
            </a:r>
            <a:r>
              <a:rPr sz="1200" spc="5" dirty="0">
                <a:solidFill>
                  <a:srgbClr val="0077CD"/>
                </a:solidFill>
                <a:latin typeface="Neue Frutiger World" panose="020B0603040304020203" pitchFamily="34" charset="0"/>
                <a:cs typeface="Neue Frutiger World" panose="020B0603040304020203" pitchFamily="34" charset="0"/>
              </a:rPr>
              <a:t> </a:t>
            </a:r>
            <a:r>
              <a:rPr sz="1200" dirty="0">
                <a:solidFill>
                  <a:srgbClr val="0077CD"/>
                </a:solidFill>
                <a:latin typeface="Neue Frutiger World" panose="020B0603040304020203" pitchFamily="34" charset="0"/>
                <a:cs typeface="Neue Frutiger World" panose="020B0603040304020203" pitchFamily="34" charset="0"/>
              </a:rPr>
              <a:t>be</a:t>
            </a:r>
            <a:r>
              <a:rPr sz="1200" spc="10" dirty="0">
                <a:solidFill>
                  <a:srgbClr val="0077CD"/>
                </a:solidFill>
                <a:latin typeface="Neue Frutiger World" panose="020B0603040304020203" pitchFamily="34" charset="0"/>
                <a:cs typeface="Neue Frutiger World" panose="020B0603040304020203" pitchFamily="34" charset="0"/>
              </a:rPr>
              <a:t> </a:t>
            </a:r>
            <a:r>
              <a:rPr sz="1200" spc="-5" dirty="0">
                <a:solidFill>
                  <a:srgbClr val="0077CD"/>
                </a:solidFill>
                <a:latin typeface="Neue Frutiger World" panose="020B0603040304020203" pitchFamily="34" charset="0"/>
                <a:cs typeface="Neue Frutiger World" panose="020B0603040304020203" pitchFamily="34" charset="0"/>
              </a:rPr>
              <a:t>a</a:t>
            </a:r>
            <a:r>
              <a:rPr sz="1200" dirty="0">
                <a:solidFill>
                  <a:srgbClr val="0077CD"/>
                </a:solidFill>
                <a:latin typeface="Neue Frutiger World" panose="020B0603040304020203" pitchFamily="34" charset="0"/>
                <a:cs typeface="Neue Frutiger World" panose="020B0603040304020203" pitchFamily="34" charset="0"/>
              </a:rPr>
              <a:t> </a:t>
            </a:r>
            <a:r>
              <a:rPr sz="1200" spc="-15" dirty="0">
                <a:solidFill>
                  <a:srgbClr val="0077CD"/>
                </a:solidFill>
                <a:latin typeface="Neue Frutiger World" panose="020B0603040304020203" pitchFamily="34" charset="0"/>
                <a:cs typeface="Neue Frutiger World" panose="020B0603040304020203" pitchFamily="34" charset="0"/>
              </a:rPr>
              <a:t>fatal</a:t>
            </a:r>
            <a:r>
              <a:rPr sz="1200" spc="10" dirty="0">
                <a:solidFill>
                  <a:srgbClr val="0077CD"/>
                </a:solidFill>
                <a:latin typeface="Neue Frutiger World" panose="020B0603040304020203" pitchFamily="34" charset="0"/>
                <a:cs typeface="Neue Frutiger World" panose="020B0603040304020203" pitchFamily="34" charset="0"/>
              </a:rPr>
              <a:t> </a:t>
            </a:r>
            <a:r>
              <a:rPr sz="1200" spc="-5" dirty="0">
                <a:solidFill>
                  <a:srgbClr val="0077CD"/>
                </a:solidFill>
                <a:latin typeface="Neue Frutiger World" panose="020B0603040304020203" pitchFamily="34" charset="0"/>
                <a:cs typeface="Neue Frutiger World" panose="020B0603040304020203" pitchFamily="34" charset="0"/>
              </a:rPr>
              <a:t>choice </a:t>
            </a:r>
            <a:r>
              <a:rPr sz="1200" spc="-15" dirty="0">
                <a:solidFill>
                  <a:srgbClr val="0077CD"/>
                </a:solidFill>
                <a:latin typeface="Neue Frutiger World" panose="020B0603040304020203" pitchFamily="34" charset="0"/>
                <a:cs typeface="Neue Frutiger World" panose="020B0603040304020203" pitchFamily="34" charset="0"/>
              </a:rPr>
              <a:t>for</a:t>
            </a:r>
            <a:r>
              <a:rPr sz="1200" spc="-25" dirty="0">
                <a:solidFill>
                  <a:srgbClr val="0077CD"/>
                </a:solidFill>
                <a:latin typeface="Neue Frutiger World" panose="020B0603040304020203" pitchFamily="34" charset="0"/>
                <a:cs typeface="Neue Frutiger World" panose="020B0603040304020203" pitchFamily="34" charset="0"/>
              </a:rPr>
              <a:t> </a:t>
            </a:r>
            <a:r>
              <a:rPr sz="1200" spc="-15" dirty="0">
                <a:solidFill>
                  <a:srgbClr val="0077CD"/>
                </a:solidFill>
                <a:latin typeface="Neue Frutiger World" panose="020B0603040304020203" pitchFamily="34" charset="0"/>
                <a:cs typeface="Neue Frutiger World" panose="020B0603040304020203" pitchFamily="34" charset="0"/>
              </a:rPr>
              <a:t>the</a:t>
            </a:r>
            <a:r>
              <a:rPr sz="1200" spc="10" dirty="0">
                <a:solidFill>
                  <a:srgbClr val="0077CD"/>
                </a:solidFill>
                <a:latin typeface="Neue Frutiger World" panose="020B0603040304020203" pitchFamily="34" charset="0"/>
                <a:cs typeface="Neue Frutiger World" panose="020B0603040304020203" pitchFamily="34" charset="0"/>
              </a:rPr>
              <a:t> </a:t>
            </a:r>
            <a:r>
              <a:rPr sz="1200" spc="-15" dirty="0">
                <a:solidFill>
                  <a:srgbClr val="0077CD"/>
                </a:solidFill>
                <a:latin typeface="Neue Frutiger World" panose="020B0603040304020203" pitchFamily="34" charset="0"/>
                <a:cs typeface="Neue Frutiger World" panose="020B0603040304020203" pitchFamily="34" charset="0"/>
              </a:rPr>
              <a:t>patient.”</a:t>
            </a:r>
            <a:r>
              <a:rPr sz="1100" spc="-22" baseline="33333" dirty="0">
                <a:solidFill>
                  <a:srgbClr val="0077CD"/>
                </a:solidFill>
                <a:latin typeface="Neue Frutiger World" panose="020B0603040304020203" pitchFamily="34" charset="0"/>
                <a:cs typeface="Neue Frutiger World" panose="020B0603040304020203" pitchFamily="34" charset="0"/>
              </a:rPr>
              <a:t>17</a:t>
            </a:r>
            <a:endParaRPr sz="1100" baseline="33333" dirty="0">
              <a:solidFill>
                <a:prstClr val="black"/>
              </a:solidFill>
              <a:latin typeface="Neue Frutiger World" panose="020B0603040304020203" pitchFamily="34" charset="0"/>
              <a:cs typeface="Neue Frutiger World" panose="020B0603040304020203" pitchFamily="34" charset="0"/>
            </a:endParaRPr>
          </a:p>
          <a:p>
            <a:pPr marL="894640" algn="just">
              <a:spcBef>
                <a:spcPts val="390"/>
              </a:spcBef>
            </a:pPr>
            <a:r>
              <a:rPr sz="800" spc="90" dirty="0">
                <a:solidFill>
                  <a:srgbClr val="231F20"/>
                </a:solidFill>
                <a:latin typeface="Neue Frutiger World" panose="020B0603040304020203" pitchFamily="34" charset="0"/>
                <a:cs typeface="Neue Frutiger World" panose="020B0603040304020203" pitchFamily="34" charset="0"/>
              </a:rPr>
              <a:t>–</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HRS</a:t>
            </a:r>
            <a:r>
              <a:rPr sz="800" spc="-5" dirty="0">
                <a:solidFill>
                  <a:srgbClr val="231F20"/>
                </a:solidFill>
                <a:latin typeface="Neue Frutiger World" panose="020B0603040304020203" pitchFamily="34" charset="0"/>
                <a:cs typeface="Neue Frutiger World" panose="020B0603040304020203" pitchFamily="34" charset="0"/>
              </a:rPr>
              <a:t> Consensu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ocument</a:t>
            </a:r>
            <a:endParaRPr sz="800" dirty="0">
              <a:solidFill>
                <a:prstClr val="black"/>
              </a:solidFill>
              <a:latin typeface="Neue Frutiger World" panose="020B0603040304020203" pitchFamily="34" charset="0"/>
              <a:cs typeface="Neue Frutiger World" panose="020B0603040304020203" pitchFamily="34" charset="0"/>
            </a:endParaRPr>
          </a:p>
        </p:txBody>
      </p:sp>
      <p:pic>
        <p:nvPicPr>
          <p:cNvPr id="27" name="object 26">
            <a:extLst>
              <a:ext uri="{FF2B5EF4-FFF2-40B4-BE49-F238E27FC236}">
                <a16:creationId xmlns:a16="http://schemas.microsoft.com/office/drawing/2014/main" id="{C49B32F5-E037-4D97-A08E-4B57DCD7FEE0}"/>
              </a:ext>
            </a:extLst>
          </p:cNvPr>
          <p:cNvPicPr>
            <a:picLocks noChangeAspect="1"/>
          </p:cNvPicPr>
          <p:nvPr/>
        </p:nvPicPr>
        <p:blipFill>
          <a:blip r:embed="rId5" cstate="print"/>
          <a:stretch>
            <a:fillRect/>
          </a:stretch>
        </p:blipFill>
        <p:spPr>
          <a:xfrm>
            <a:off x="5455715" y="843558"/>
            <a:ext cx="3183459" cy="691906"/>
          </a:xfrm>
          <a:prstGeom prst="rect">
            <a:avLst/>
          </a:prstGeom>
        </p:spPr>
      </p:pic>
      <p:sp>
        <p:nvSpPr>
          <p:cNvPr id="28" name="TextBox 27">
            <a:extLst>
              <a:ext uri="{FF2B5EF4-FFF2-40B4-BE49-F238E27FC236}">
                <a16:creationId xmlns:a16="http://schemas.microsoft.com/office/drawing/2014/main" id="{F7F50308-A918-43A4-8EA3-2A23DE5022BF}"/>
              </a:ext>
            </a:extLst>
          </p:cNvPr>
          <p:cNvSpPr txBox="1">
            <a:spLocks noChangeAspect="1"/>
          </p:cNvSpPr>
          <p:nvPr/>
        </p:nvSpPr>
        <p:spPr>
          <a:xfrm>
            <a:off x="1543917" y="3050369"/>
            <a:ext cx="3261837" cy="1639551"/>
          </a:xfrm>
          <a:prstGeom prst="rect">
            <a:avLst/>
          </a:prstGeom>
          <a:noFill/>
          <a:ln w="19050">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139688" marR="30477" indent="-101592">
              <a:lnSpc>
                <a:spcPct val="102600"/>
              </a:lnSpc>
              <a:spcBef>
                <a:spcPts val="60"/>
              </a:spcBef>
            </a:pPr>
            <a:r>
              <a:rPr lang="en-US" sz="1300" spc="5" dirty="0">
                <a:solidFill>
                  <a:srgbClr val="0077CD"/>
                </a:solidFill>
                <a:latin typeface="Neue Frutiger World" panose="020B0603040304020203" pitchFamily="34" charset="0"/>
                <a:cs typeface="Neue Frutiger World" panose="020B0603040304020203" pitchFamily="34" charset="0"/>
              </a:rPr>
              <a:t>“</a:t>
            </a:r>
            <a:r>
              <a:rPr lang="en-US" sz="1200" spc="5" dirty="0">
                <a:solidFill>
                  <a:srgbClr val="0077CD"/>
                </a:solidFill>
                <a:latin typeface="Neue Frutiger World" panose="020B0603040304020203" pitchFamily="34" charset="0"/>
                <a:cs typeface="Neue Frutiger World" panose="020B0603040304020203" pitchFamily="34" charset="0"/>
              </a:rPr>
              <a:t>The therapeutic approach to implantable device infection requires a multidisciplinary approach. Recognition of the clinical scenario requires the combined efforts of the primary care provider and of the device, infectious disease, and imaging specialists.”</a:t>
            </a:r>
            <a:r>
              <a:rPr lang="en-US" sz="1200" spc="5" baseline="30000" dirty="0">
                <a:solidFill>
                  <a:srgbClr val="0077CD"/>
                </a:solidFill>
                <a:latin typeface="Neue Frutiger World" panose="020B0603040304020203" pitchFamily="34" charset="0"/>
                <a:cs typeface="Neue Frutiger World" panose="020B0603040304020203" pitchFamily="34" charset="0"/>
              </a:rPr>
              <a:t>14</a:t>
            </a:r>
          </a:p>
          <a:p>
            <a:r>
              <a:rPr lang="en-US" sz="1300" spc="-15" dirty="0">
                <a:solidFill>
                  <a:srgbClr val="0077CD"/>
                </a:solidFill>
                <a:latin typeface="Neue Frutiger World" panose="020B0603040304020203" pitchFamily="34" charset="0"/>
                <a:cs typeface="Neue Frutiger World" panose="020B0603040304020203" pitchFamily="34" charset="0"/>
              </a:rPr>
              <a:t>	</a:t>
            </a:r>
            <a:r>
              <a:rPr lang="en-US" sz="800" spc="90" dirty="0">
                <a:solidFill>
                  <a:srgbClr val="231F20"/>
                </a:solidFill>
                <a:latin typeface="Neue Frutiger World" panose="020B0603040304020203" pitchFamily="34" charset="0"/>
                <a:cs typeface="Neue Frutiger World" panose="020B0603040304020203" pitchFamily="34" charset="0"/>
              </a:rPr>
              <a:t>- Bruce Wilkoff </a:t>
            </a:r>
          </a:p>
        </p:txBody>
      </p:sp>
      <p:sp>
        <p:nvSpPr>
          <p:cNvPr id="29" name="object 4">
            <a:extLst>
              <a:ext uri="{FF2B5EF4-FFF2-40B4-BE49-F238E27FC236}">
                <a16:creationId xmlns:a16="http://schemas.microsoft.com/office/drawing/2014/main" id="{578DD7C8-0985-4375-B1FE-B68D496D2E92}"/>
              </a:ext>
            </a:extLst>
          </p:cNvPr>
          <p:cNvSpPr txBox="1">
            <a:spLocks noChangeAspect="1"/>
          </p:cNvSpPr>
          <p:nvPr/>
        </p:nvSpPr>
        <p:spPr>
          <a:xfrm>
            <a:off x="5768712" y="2931790"/>
            <a:ext cx="2853375" cy="591187"/>
          </a:xfrm>
          <a:prstGeom prst="rect">
            <a:avLst/>
          </a:prstGeom>
        </p:spPr>
        <p:txBody>
          <a:bodyPr vert="horz" wrap="square" lIns="0" tIns="7620" rIns="0" bIns="0" rtlCol="0">
            <a:spAutoFit/>
          </a:bodyPr>
          <a:lstStyle/>
          <a:p>
            <a:pPr marR="30477">
              <a:lnSpc>
                <a:spcPct val="102600"/>
              </a:lnSpc>
              <a:spcBef>
                <a:spcPts val="60"/>
              </a:spcBef>
            </a:pPr>
            <a:r>
              <a:rPr lang="en-US" sz="1200" b="1" spc="-15" dirty="0">
                <a:solidFill>
                  <a:prstClr val="black"/>
                </a:solidFill>
                <a:latin typeface="Neue Frutiger World" panose="020B0603040304020203" pitchFamily="34" charset="0"/>
                <a:cs typeface="Neue Frutiger World" panose="020B0603040304020203" pitchFamily="34" charset="0"/>
              </a:rPr>
              <a:t>Trends</a:t>
            </a:r>
            <a:endParaRPr lang="en-US" sz="1200" spc="-15" dirty="0">
              <a:solidFill>
                <a:prstClr val="black"/>
              </a:solidFill>
              <a:latin typeface="Neue Frutiger World" panose="020B0603040304020203" pitchFamily="34" charset="0"/>
              <a:cs typeface="Neue Frutiger World" panose="020B0603040304020203" pitchFamily="34" charset="0"/>
            </a:endParaRPr>
          </a:p>
          <a:p>
            <a:pPr marR="30477">
              <a:lnSpc>
                <a:spcPct val="102600"/>
              </a:lnSpc>
              <a:spcBef>
                <a:spcPts val="60"/>
              </a:spcBef>
            </a:pPr>
            <a:r>
              <a:rPr lang="en-US" sz="800" spc="-15" dirty="0">
                <a:solidFill>
                  <a:prstClr val="black"/>
                </a:solidFill>
                <a:latin typeface="Neue Frutiger World" panose="020B0603040304020203" pitchFamily="34" charset="0"/>
                <a:cs typeface="Neue Frutiger World" panose="020B0603040304020203" pitchFamily="34" charset="0"/>
              </a:rPr>
              <a:t>More than half of non-extracting physicians feel they lack the knowledge and skills to make the diagnosis to refer for lead extraction.</a:t>
            </a:r>
            <a:r>
              <a:rPr lang="en-US" sz="800" spc="-15" baseline="30000" dirty="0">
                <a:solidFill>
                  <a:prstClr val="black"/>
                </a:solidFill>
                <a:latin typeface="Neue Frutiger World" panose="020B0603040304020203" pitchFamily="34" charset="0"/>
                <a:cs typeface="Neue Frutiger World" panose="020B0603040304020203" pitchFamily="34" charset="0"/>
              </a:rPr>
              <a:t>16</a:t>
            </a:r>
            <a:endParaRPr lang="en-US" sz="800" spc="-15" dirty="0">
              <a:solidFill>
                <a:prstClr val="black"/>
              </a:solidFill>
              <a:latin typeface="Neue Frutiger World" panose="020B0603040304020203" pitchFamily="34" charset="0"/>
              <a:cs typeface="Neue Frutiger World" panose="020B0603040304020203" pitchFamily="34" charset="0"/>
            </a:endParaRPr>
          </a:p>
        </p:txBody>
      </p:sp>
      <p:sp>
        <p:nvSpPr>
          <p:cNvPr id="30" name="object 4">
            <a:extLst>
              <a:ext uri="{FF2B5EF4-FFF2-40B4-BE49-F238E27FC236}">
                <a16:creationId xmlns:a16="http://schemas.microsoft.com/office/drawing/2014/main" id="{22CC308A-F1E6-4CCC-ACDA-3AA7C8321544}"/>
              </a:ext>
            </a:extLst>
          </p:cNvPr>
          <p:cNvSpPr txBox="1">
            <a:spLocks noChangeAspect="1"/>
          </p:cNvSpPr>
          <p:nvPr/>
        </p:nvSpPr>
        <p:spPr>
          <a:xfrm>
            <a:off x="5755943" y="3675915"/>
            <a:ext cx="2853372" cy="388183"/>
          </a:xfrm>
          <a:prstGeom prst="rect">
            <a:avLst/>
          </a:prstGeom>
        </p:spPr>
        <p:txBody>
          <a:bodyPr vert="horz" wrap="square" lIns="0" tIns="7620" rIns="0" bIns="0" rtlCol="0">
            <a:spAutoFit/>
          </a:bodyPr>
          <a:lstStyle/>
          <a:p>
            <a:pPr marR="30477">
              <a:lnSpc>
                <a:spcPct val="102600"/>
              </a:lnSpc>
              <a:spcBef>
                <a:spcPts val="60"/>
              </a:spcBef>
            </a:pPr>
            <a:r>
              <a:rPr lang="en-US" sz="800" spc="-15" dirty="0">
                <a:solidFill>
                  <a:prstClr val="black"/>
                </a:solidFill>
                <a:latin typeface="Neue Frutiger World" panose="020B0603040304020203" pitchFamily="34" charset="0"/>
                <a:cs typeface="Neue Frutiger World" panose="020B0603040304020203" pitchFamily="34" charset="0"/>
              </a:rPr>
              <a:t> “The number of patients benefiting from implantation of cardiac implantable electrical devices (CIEDs) is increasing, but as a result, so is the prevalence of device infection”</a:t>
            </a:r>
            <a:r>
              <a:rPr lang="en-US" sz="800" spc="-15" baseline="30000" dirty="0">
                <a:solidFill>
                  <a:prstClr val="black"/>
                </a:solidFill>
                <a:latin typeface="Neue Frutiger World" panose="020B0603040304020203" pitchFamily="34" charset="0"/>
                <a:cs typeface="Neue Frutiger World" panose="020B0603040304020203" pitchFamily="34" charset="0"/>
              </a:rPr>
              <a:t>16</a:t>
            </a:r>
            <a:endParaRPr lang="en-US" sz="800" spc="-15" dirty="0">
              <a:solidFill>
                <a:prstClr val="black"/>
              </a:solidFill>
              <a:latin typeface="Neue Frutiger World" panose="020B0603040304020203" pitchFamily="34" charset="0"/>
              <a:cs typeface="Neue Frutiger World" panose="020B0603040304020203" pitchFamily="34" charset="0"/>
            </a:endParaRPr>
          </a:p>
        </p:txBody>
      </p:sp>
      <p:sp>
        <p:nvSpPr>
          <p:cNvPr id="31" name="object 4">
            <a:extLst>
              <a:ext uri="{FF2B5EF4-FFF2-40B4-BE49-F238E27FC236}">
                <a16:creationId xmlns:a16="http://schemas.microsoft.com/office/drawing/2014/main" id="{71362B74-4C72-41DA-9E29-81EF30E04864}"/>
              </a:ext>
            </a:extLst>
          </p:cNvPr>
          <p:cNvSpPr txBox="1">
            <a:spLocks noChangeAspect="1"/>
          </p:cNvSpPr>
          <p:nvPr/>
        </p:nvSpPr>
        <p:spPr>
          <a:xfrm>
            <a:off x="5725106" y="4162602"/>
            <a:ext cx="2853370" cy="388183"/>
          </a:xfrm>
          <a:prstGeom prst="rect">
            <a:avLst/>
          </a:prstGeom>
        </p:spPr>
        <p:txBody>
          <a:bodyPr vert="horz" wrap="square" lIns="0" tIns="7620" rIns="0" bIns="0" rtlCol="0">
            <a:spAutoFit/>
          </a:bodyPr>
          <a:lstStyle/>
          <a:p>
            <a:pPr marL="38097" marR="30477">
              <a:lnSpc>
                <a:spcPct val="102600"/>
              </a:lnSpc>
              <a:spcBef>
                <a:spcPts val="60"/>
              </a:spcBef>
            </a:pPr>
            <a:r>
              <a:rPr sz="800" spc="-10" dirty="0">
                <a:solidFill>
                  <a:prstClr val="black"/>
                </a:solidFill>
                <a:latin typeface="Neue Frutiger World" panose="020B0603040304020203" pitchFamily="34" charset="0"/>
                <a:cs typeface="Neue Frutiger World" panose="020B0603040304020203" pitchFamily="34" charset="0"/>
              </a:rPr>
              <a:t>More than </a:t>
            </a:r>
            <a:r>
              <a:rPr sz="800" spc="5" dirty="0">
                <a:solidFill>
                  <a:prstClr val="black"/>
                </a:solidFill>
                <a:latin typeface="Neue Frutiger World" panose="020B0603040304020203" pitchFamily="34" charset="0"/>
                <a:cs typeface="Neue Frutiger World" panose="020B0603040304020203" pitchFamily="34" charset="0"/>
              </a:rPr>
              <a:t>6 </a:t>
            </a:r>
            <a:r>
              <a:rPr sz="800" spc="-10" dirty="0">
                <a:solidFill>
                  <a:prstClr val="black"/>
                </a:solidFill>
                <a:latin typeface="Neue Frutiger World" panose="020B0603040304020203" pitchFamily="34" charset="0"/>
                <a:cs typeface="Neue Frutiger World" panose="020B0603040304020203" pitchFamily="34" charset="0"/>
              </a:rPr>
              <a:t>in </a:t>
            </a:r>
            <a:r>
              <a:rPr sz="800" spc="5" dirty="0">
                <a:solidFill>
                  <a:prstClr val="black"/>
                </a:solidFill>
                <a:latin typeface="Neue Frutiger World" panose="020B0603040304020203" pitchFamily="34" charset="0"/>
                <a:cs typeface="Neue Frutiger World" panose="020B0603040304020203" pitchFamily="34" charset="0"/>
              </a:rPr>
              <a:t>10 </a:t>
            </a:r>
            <a:r>
              <a:rPr sz="800" spc="-15" dirty="0">
                <a:solidFill>
                  <a:prstClr val="black"/>
                </a:solidFill>
                <a:latin typeface="Neue Frutiger World" panose="020B0603040304020203" pitchFamily="34" charset="0"/>
                <a:cs typeface="Neue Frutiger World" panose="020B0603040304020203" pitchFamily="34" charset="0"/>
              </a:rPr>
              <a:t>patients </a:t>
            </a:r>
            <a:r>
              <a:rPr sz="800" spc="-20" dirty="0">
                <a:solidFill>
                  <a:prstClr val="black"/>
                </a:solidFill>
                <a:latin typeface="Neue Frutiger World" panose="020B0603040304020203" pitchFamily="34" charset="0"/>
                <a:cs typeface="Neue Frutiger World" panose="020B0603040304020203" pitchFamily="34" charset="0"/>
              </a:rPr>
              <a:t>suffering </a:t>
            </a:r>
            <a:r>
              <a:rPr sz="800" spc="-10" dirty="0">
                <a:solidFill>
                  <a:prstClr val="black"/>
                </a:solidFill>
                <a:latin typeface="Neue Frutiger World" panose="020B0603040304020203" pitchFamily="34" charset="0"/>
                <a:cs typeface="Neue Frutiger World" panose="020B0603040304020203" pitchFamily="34" charset="0"/>
              </a:rPr>
              <a:t>from</a:t>
            </a:r>
            <a:r>
              <a:rPr lang="en-GB" sz="800" spc="-10" dirty="0">
                <a:solidFill>
                  <a:prstClr val="black"/>
                </a:solidFill>
                <a:latin typeface="Neue Frutiger World" panose="020B0603040304020203" pitchFamily="34" charset="0"/>
                <a:cs typeface="Neue Frutiger World" panose="020B0603040304020203" pitchFamily="34" charset="0"/>
              </a:rPr>
              <a:t> </a:t>
            </a:r>
            <a:r>
              <a:rPr sz="800" spc="-10" dirty="0">
                <a:solidFill>
                  <a:prstClr val="black"/>
                </a:solidFill>
                <a:latin typeface="Neue Frutiger World" panose="020B0603040304020203" pitchFamily="34" charset="0"/>
                <a:cs typeface="Neue Frutiger World" panose="020B0603040304020203" pitchFamily="34" charset="0"/>
              </a:rPr>
              <a:t>cardiac </a:t>
            </a:r>
            <a:r>
              <a:rPr sz="800" spc="-5" dirty="0">
                <a:solidFill>
                  <a:prstClr val="black"/>
                </a:solidFill>
                <a:latin typeface="Neue Frutiger World" panose="020B0603040304020203" pitchFamily="34" charset="0"/>
                <a:cs typeface="Neue Frutiger World" panose="020B0603040304020203" pitchFamily="34" charset="0"/>
              </a:rPr>
              <a:t>device </a:t>
            </a:r>
            <a:r>
              <a:rPr sz="800" spc="-10" dirty="0">
                <a:solidFill>
                  <a:prstClr val="black"/>
                </a:solidFill>
                <a:latin typeface="Neue Frutiger World" panose="020B0603040304020203" pitchFamily="34" charset="0"/>
                <a:cs typeface="Neue Frutiger World" panose="020B0603040304020203" pitchFamily="34" charset="0"/>
              </a:rPr>
              <a:t>infections </a:t>
            </a:r>
            <a:r>
              <a:rPr sz="800" spc="-15" dirty="0">
                <a:solidFill>
                  <a:prstClr val="black"/>
                </a:solidFill>
                <a:latin typeface="Neue Frutiger World" panose="020B0603040304020203" pitchFamily="34" charset="0"/>
                <a:cs typeface="Neue Frutiger World" panose="020B0603040304020203" pitchFamily="34" charset="0"/>
              </a:rPr>
              <a:t>are </a:t>
            </a:r>
            <a:r>
              <a:rPr sz="800" spc="-20" dirty="0">
                <a:solidFill>
                  <a:prstClr val="black"/>
                </a:solidFill>
                <a:latin typeface="Neue Frutiger World" panose="020B0603040304020203" pitchFamily="34" charset="0"/>
                <a:cs typeface="Neue Frutiger World" panose="020B0603040304020203" pitchFamily="34" charset="0"/>
              </a:rPr>
              <a:t>treated </a:t>
            </a:r>
            <a:r>
              <a:rPr sz="800" spc="-10" dirty="0">
                <a:solidFill>
                  <a:prstClr val="black"/>
                </a:solidFill>
                <a:latin typeface="Neue Frutiger World" panose="020B0603040304020203" pitchFamily="34" charset="0"/>
                <a:cs typeface="Neue Frutiger World" panose="020B0603040304020203" pitchFamily="34" charset="0"/>
              </a:rPr>
              <a:t>with</a:t>
            </a:r>
            <a:r>
              <a:rPr lang="en-GB" sz="800" spc="-10" dirty="0">
                <a:solidFill>
                  <a:prstClr val="black"/>
                </a:solidFill>
                <a:latin typeface="Neue Frutiger World" panose="020B0603040304020203" pitchFamily="34" charset="0"/>
                <a:cs typeface="Neue Frutiger World" panose="020B0603040304020203" pitchFamily="34" charset="0"/>
              </a:rPr>
              <a:t> </a:t>
            </a:r>
            <a:r>
              <a:rPr sz="800" spc="-15" dirty="0">
                <a:solidFill>
                  <a:prstClr val="black"/>
                </a:solidFill>
                <a:latin typeface="Neue Frutiger World" panose="020B0603040304020203" pitchFamily="34" charset="0"/>
                <a:cs typeface="Neue Frutiger World" panose="020B0603040304020203" pitchFamily="34" charset="0"/>
              </a:rPr>
              <a:t>antibiotics</a:t>
            </a:r>
            <a:r>
              <a:rPr sz="800" spc="5" dirty="0">
                <a:solidFill>
                  <a:prstClr val="black"/>
                </a:solidFill>
                <a:latin typeface="Neue Frutiger World" panose="020B0603040304020203" pitchFamily="34" charset="0"/>
                <a:cs typeface="Neue Frutiger World" panose="020B0603040304020203" pitchFamily="34" charset="0"/>
              </a:rPr>
              <a:t> </a:t>
            </a:r>
            <a:r>
              <a:rPr sz="800" spc="10" dirty="0">
                <a:solidFill>
                  <a:prstClr val="black"/>
                </a:solidFill>
                <a:latin typeface="Neue Frutiger World" panose="020B0603040304020203" pitchFamily="34" charset="0"/>
                <a:cs typeface="Neue Frutiger World" panose="020B0603040304020203" pitchFamily="34" charset="0"/>
              </a:rPr>
              <a:t>only</a:t>
            </a:r>
            <a:r>
              <a:rPr sz="800" spc="-35" dirty="0">
                <a:solidFill>
                  <a:prstClr val="black"/>
                </a:solidFill>
                <a:latin typeface="Neue Frutiger World" panose="020B0603040304020203" pitchFamily="34" charset="0"/>
                <a:cs typeface="Neue Frutiger World" panose="020B0603040304020203" pitchFamily="34" charset="0"/>
              </a:rPr>
              <a:t> </a:t>
            </a:r>
            <a:r>
              <a:rPr sz="800" spc="-10" dirty="0">
                <a:solidFill>
                  <a:prstClr val="black"/>
                </a:solidFill>
                <a:latin typeface="Neue Frutiger World" panose="020B0603040304020203" pitchFamily="34" charset="0"/>
                <a:cs typeface="Neue Frutiger World" panose="020B0603040304020203" pitchFamily="34" charset="0"/>
              </a:rPr>
              <a:t>or</a:t>
            </a:r>
            <a:r>
              <a:rPr sz="800" spc="-20" dirty="0">
                <a:solidFill>
                  <a:prstClr val="black"/>
                </a:solidFill>
                <a:latin typeface="Neue Frutiger World" panose="020B0603040304020203" pitchFamily="34" charset="0"/>
                <a:cs typeface="Neue Frutiger World" panose="020B0603040304020203" pitchFamily="34" charset="0"/>
              </a:rPr>
              <a:t> </a:t>
            </a:r>
            <a:r>
              <a:rPr sz="800" spc="-15" dirty="0">
                <a:solidFill>
                  <a:prstClr val="black"/>
                </a:solidFill>
                <a:latin typeface="Neue Frutiger World" panose="020B0603040304020203" pitchFamily="34" charset="0"/>
                <a:cs typeface="Neue Frutiger World" panose="020B0603040304020203" pitchFamily="34" charset="0"/>
              </a:rPr>
              <a:t>not</a:t>
            </a:r>
            <a:r>
              <a:rPr sz="800" spc="-5" dirty="0">
                <a:solidFill>
                  <a:prstClr val="black"/>
                </a:solidFill>
                <a:latin typeface="Neue Frutiger World" panose="020B0603040304020203" pitchFamily="34" charset="0"/>
                <a:cs typeface="Neue Frutiger World" panose="020B0603040304020203" pitchFamily="34" charset="0"/>
              </a:rPr>
              <a:t> </a:t>
            </a:r>
            <a:r>
              <a:rPr sz="800" spc="-20" dirty="0">
                <a:solidFill>
                  <a:prstClr val="black"/>
                </a:solidFill>
                <a:latin typeface="Neue Frutiger World" panose="020B0603040304020203" pitchFamily="34" charset="0"/>
                <a:cs typeface="Neue Frutiger World" panose="020B0603040304020203" pitchFamily="34" charset="0"/>
              </a:rPr>
              <a:t>treated</a:t>
            </a:r>
            <a:r>
              <a:rPr sz="800" spc="5" dirty="0">
                <a:solidFill>
                  <a:prstClr val="black"/>
                </a:solidFill>
                <a:latin typeface="Neue Frutiger World" panose="020B0603040304020203" pitchFamily="34" charset="0"/>
                <a:cs typeface="Neue Frutiger World" panose="020B0603040304020203" pitchFamily="34" charset="0"/>
              </a:rPr>
              <a:t> </a:t>
            </a:r>
            <a:r>
              <a:rPr sz="800" spc="-30" dirty="0">
                <a:solidFill>
                  <a:prstClr val="black"/>
                </a:solidFill>
                <a:latin typeface="Neue Frutiger World" panose="020B0603040304020203" pitchFamily="34" charset="0"/>
                <a:cs typeface="Neue Frutiger World" panose="020B0603040304020203" pitchFamily="34" charset="0"/>
              </a:rPr>
              <a:t>at</a:t>
            </a:r>
            <a:r>
              <a:rPr sz="800" spc="10" dirty="0">
                <a:solidFill>
                  <a:prstClr val="black"/>
                </a:solidFill>
                <a:latin typeface="Neue Frutiger World" panose="020B0603040304020203" pitchFamily="34" charset="0"/>
                <a:cs typeface="Neue Frutiger World" panose="020B0603040304020203" pitchFamily="34" charset="0"/>
              </a:rPr>
              <a:t> </a:t>
            </a:r>
            <a:r>
              <a:rPr sz="800" dirty="0">
                <a:solidFill>
                  <a:prstClr val="black"/>
                </a:solidFill>
                <a:latin typeface="Neue Frutiger World" panose="020B0603040304020203" pitchFamily="34" charset="0"/>
                <a:cs typeface="Neue Frutiger World" panose="020B0603040304020203" pitchFamily="34" charset="0"/>
              </a:rPr>
              <a:t>all.</a:t>
            </a:r>
            <a:r>
              <a:rPr sz="800" baseline="33333" dirty="0">
                <a:solidFill>
                  <a:prstClr val="black"/>
                </a:solidFill>
                <a:latin typeface="Neue Frutiger World" panose="020B0603040304020203" pitchFamily="34" charset="0"/>
                <a:cs typeface="Neue Frutiger World" panose="020B0603040304020203" pitchFamily="34" charset="0"/>
              </a:rPr>
              <a:t>26</a:t>
            </a:r>
          </a:p>
        </p:txBody>
      </p:sp>
      <p:cxnSp>
        <p:nvCxnSpPr>
          <p:cNvPr id="32" name="Straight Connector 31">
            <a:extLst>
              <a:ext uri="{FF2B5EF4-FFF2-40B4-BE49-F238E27FC236}">
                <a16:creationId xmlns:a16="http://schemas.microsoft.com/office/drawing/2014/main" id="{7D6FD9AA-C8D0-4DCD-9E90-5AA4975CFE89}"/>
              </a:ext>
            </a:extLst>
          </p:cNvPr>
          <p:cNvCxnSpPr>
            <a:cxnSpLocks/>
          </p:cNvCxnSpPr>
          <p:nvPr/>
        </p:nvCxnSpPr>
        <p:spPr>
          <a:xfrm>
            <a:off x="4951733" y="3939902"/>
            <a:ext cx="628379" cy="0"/>
          </a:xfrm>
          <a:prstGeom prst="line">
            <a:avLst/>
          </a:prstGeom>
          <a:noFill/>
          <a:ln w="22225" cap="flat" cmpd="sng" algn="ctr">
            <a:solidFill>
              <a:srgbClr val="3292D7"/>
            </a:solidFill>
            <a:prstDash val="solid"/>
            <a:headEnd type="oval"/>
            <a:tailEnd type="none"/>
          </a:ln>
          <a:effectLst/>
        </p:spPr>
      </p:cxnSp>
      <p:cxnSp>
        <p:nvCxnSpPr>
          <p:cNvPr id="33" name="Straight Connector 32">
            <a:extLst>
              <a:ext uri="{FF2B5EF4-FFF2-40B4-BE49-F238E27FC236}">
                <a16:creationId xmlns:a16="http://schemas.microsoft.com/office/drawing/2014/main" id="{2BE24E6B-BB9A-4014-8DB7-6CCC6445EBC4}"/>
              </a:ext>
            </a:extLst>
          </p:cNvPr>
          <p:cNvCxnSpPr>
            <a:cxnSpLocks noChangeAspect="1"/>
          </p:cNvCxnSpPr>
          <p:nvPr/>
        </p:nvCxnSpPr>
        <p:spPr>
          <a:xfrm>
            <a:off x="5580112" y="3075700"/>
            <a:ext cx="0" cy="1584282"/>
          </a:xfrm>
          <a:prstGeom prst="line">
            <a:avLst/>
          </a:prstGeom>
          <a:noFill/>
          <a:ln w="22225" cap="flat" cmpd="sng" algn="ctr">
            <a:solidFill>
              <a:srgbClr val="3292D7"/>
            </a:solidFill>
            <a:prstDash val="solid"/>
          </a:ln>
          <a:effectLst/>
        </p:spPr>
      </p:cxnSp>
      <p:sp>
        <p:nvSpPr>
          <p:cNvPr id="44" name="TextBox 43">
            <a:extLst>
              <a:ext uri="{FF2B5EF4-FFF2-40B4-BE49-F238E27FC236}">
                <a16:creationId xmlns:a16="http://schemas.microsoft.com/office/drawing/2014/main" id="{B7079688-1183-48B8-99DE-600D1D12EA29}"/>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2" name="Footer Placeholder 1">
            <a:extLst>
              <a:ext uri="{FF2B5EF4-FFF2-40B4-BE49-F238E27FC236}">
                <a16:creationId xmlns:a16="http://schemas.microsoft.com/office/drawing/2014/main" id="{396D09F6-A7AF-4C48-A4BF-3B470C582634}"/>
              </a:ext>
            </a:extLst>
          </p:cNvPr>
          <p:cNvSpPr>
            <a:spLocks noGrp="1"/>
          </p:cNvSpPr>
          <p:nvPr>
            <p:ph type="ftr" sz="quarter" idx="17"/>
          </p:nvPr>
        </p:nvSpPr>
        <p:spPr/>
        <p:txBody>
          <a:bodyPr/>
          <a:lstStyle/>
          <a:p>
            <a:r>
              <a:rPr lang="en-US" noProof="0" dirty="0">
                <a:latin typeface="Neue Frutiger World" panose="020B0603040304020203" pitchFamily="34" charset="0"/>
                <a:cs typeface="Neue Frutiger World" panose="020B0603040304020203" pitchFamily="34" charset="0"/>
              </a:rPr>
              <a:t>©2021 Koninklijke Philips N.V. All rights reserved. Approved for internal distribution. D2021120801</a:t>
            </a:r>
          </a:p>
        </p:txBody>
      </p:sp>
      <p:sp>
        <p:nvSpPr>
          <p:cNvPr id="20" name="Rectangle 19">
            <a:extLst>
              <a:ext uri="{FF2B5EF4-FFF2-40B4-BE49-F238E27FC236}">
                <a16:creationId xmlns:a16="http://schemas.microsoft.com/office/drawing/2014/main" id="{E1957393-8792-4D5D-B665-83A0BF031CE7}"/>
              </a:ext>
            </a:extLst>
          </p:cNvPr>
          <p:cNvSpPr/>
          <p:nvPr/>
        </p:nvSpPr>
        <p:spPr>
          <a:xfrm>
            <a:off x="0" y="0"/>
            <a:ext cx="1227769" cy="5143500"/>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34" name="Table 33">
            <a:extLst>
              <a:ext uri="{FF2B5EF4-FFF2-40B4-BE49-F238E27FC236}">
                <a16:creationId xmlns:a16="http://schemas.microsoft.com/office/drawing/2014/main" id="{E3D2FCE1-497A-4BA9-896D-DA76EB17F06C}"/>
              </a:ext>
            </a:extLst>
          </p:cNvPr>
          <p:cNvGraphicFramePr>
            <a:graphicFrameLocks noGrp="1"/>
          </p:cNvGraphicFramePr>
          <p:nvPr>
            <p:extLst>
              <p:ext uri="{D42A27DB-BD31-4B8C-83A1-F6EECF244321}">
                <p14:modId xmlns:p14="http://schemas.microsoft.com/office/powerpoint/2010/main" val="2574702424"/>
              </p:ext>
            </p:extLst>
          </p:nvPr>
        </p:nvGraphicFramePr>
        <p:xfrm>
          <a:off x="2" y="1"/>
          <a:ext cx="1227769" cy="5143500"/>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764">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76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76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328">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33112">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914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76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914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9144">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4" name="Rectangle 3">
            <a:hlinkClick r:id="rId6" action="ppaction://hlinksldjump"/>
            <a:extLst>
              <a:ext uri="{FF2B5EF4-FFF2-40B4-BE49-F238E27FC236}">
                <a16:creationId xmlns:a16="http://schemas.microsoft.com/office/drawing/2014/main" id="{20D941D7-D7D3-476A-B56E-F1A73887BDE8}"/>
              </a:ext>
            </a:extLst>
          </p:cNvPr>
          <p:cNvSpPr/>
          <p:nvPr/>
        </p:nvSpPr>
        <p:spPr>
          <a:xfrm>
            <a:off x="-2" y="14316"/>
            <a:ext cx="861859" cy="28230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7" action="ppaction://hlinksldjump"/>
            <a:extLst>
              <a:ext uri="{FF2B5EF4-FFF2-40B4-BE49-F238E27FC236}">
                <a16:creationId xmlns:a16="http://schemas.microsoft.com/office/drawing/2014/main" id="{28BE62AA-9D0E-4D83-A7F2-69A3848F776B}"/>
              </a:ext>
            </a:extLst>
          </p:cNvPr>
          <p:cNvSpPr/>
          <p:nvPr/>
        </p:nvSpPr>
        <p:spPr>
          <a:xfrm>
            <a:off x="10884" y="318528"/>
            <a:ext cx="921847" cy="12820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8" action="ppaction://hlinksldjump"/>
            <a:extLst>
              <a:ext uri="{FF2B5EF4-FFF2-40B4-BE49-F238E27FC236}">
                <a16:creationId xmlns:a16="http://schemas.microsoft.com/office/drawing/2014/main" id="{DC87DD7C-4EF9-44A7-8346-EF796168D532}"/>
              </a:ext>
            </a:extLst>
          </p:cNvPr>
          <p:cNvSpPr/>
          <p:nvPr/>
        </p:nvSpPr>
        <p:spPr>
          <a:xfrm>
            <a:off x="-2" y="442577"/>
            <a:ext cx="999945" cy="321669"/>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9" action="ppaction://hlinksldjump"/>
            <a:extLst>
              <a:ext uri="{FF2B5EF4-FFF2-40B4-BE49-F238E27FC236}">
                <a16:creationId xmlns:a16="http://schemas.microsoft.com/office/drawing/2014/main" id="{4B48130F-5ABA-4ED1-9DDF-07DD99D5050D}"/>
              </a:ext>
            </a:extLst>
          </p:cNvPr>
          <p:cNvSpPr/>
          <p:nvPr/>
        </p:nvSpPr>
        <p:spPr>
          <a:xfrm>
            <a:off x="45703" y="777499"/>
            <a:ext cx="949831" cy="13261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10" action="ppaction://hlinksldjump"/>
            <a:extLst>
              <a:ext uri="{FF2B5EF4-FFF2-40B4-BE49-F238E27FC236}">
                <a16:creationId xmlns:a16="http://schemas.microsoft.com/office/drawing/2014/main" id="{91AF5384-881A-42AB-9BBC-2B58649FC2EA}"/>
              </a:ext>
            </a:extLst>
          </p:cNvPr>
          <p:cNvSpPr/>
          <p:nvPr/>
        </p:nvSpPr>
        <p:spPr>
          <a:xfrm>
            <a:off x="74378" y="911900"/>
            <a:ext cx="910962" cy="14153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11" action="ppaction://hlinksldjump"/>
            <a:extLst>
              <a:ext uri="{FF2B5EF4-FFF2-40B4-BE49-F238E27FC236}">
                <a16:creationId xmlns:a16="http://schemas.microsoft.com/office/drawing/2014/main" id="{8C95B444-8A03-49BC-80E3-CAA030D7078A}"/>
              </a:ext>
            </a:extLst>
          </p:cNvPr>
          <p:cNvSpPr/>
          <p:nvPr/>
        </p:nvSpPr>
        <p:spPr>
          <a:xfrm>
            <a:off x="77827" y="1058856"/>
            <a:ext cx="949830" cy="14153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12" action="ppaction://hlinksldjump"/>
            <a:extLst>
              <a:ext uri="{FF2B5EF4-FFF2-40B4-BE49-F238E27FC236}">
                <a16:creationId xmlns:a16="http://schemas.microsoft.com/office/drawing/2014/main" id="{1EB1A787-1CBC-4335-9FEB-9EA02C081E70}"/>
              </a:ext>
            </a:extLst>
          </p:cNvPr>
          <p:cNvSpPr/>
          <p:nvPr/>
        </p:nvSpPr>
        <p:spPr>
          <a:xfrm>
            <a:off x="0" y="1214330"/>
            <a:ext cx="1021753" cy="289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13" action="ppaction://hlinksldjump"/>
            <a:extLst>
              <a:ext uri="{FF2B5EF4-FFF2-40B4-BE49-F238E27FC236}">
                <a16:creationId xmlns:a16="http://schemas.microsoft.com/office/drawing/2014/main" id="{D55F0ACE-7752-428F-B8BD-2E7DE0E037B1}"/>
              </a:ext>
            </a:extLst>
          </p:cNvPr>
          <p:cNvSpPr/>
          <p:nvPr/>
        </p:nvSpPr>
        <p:spPr>
          <a:xfrm>
            <a:off x="62966" y="1510932"/>
            <a:ext cx="910778" cy="13768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extLst>
              <a:ext uri="{FF2B5EF4-FFF2-40B4-BE49-F238E27FC236}">
                <a16:creationId xmlns:a16="http://schemas.microsoft.com/office/drawing/2014/main" id="{D1E4D20C-8E68-476D-8AE5-18216EC5BFD6}"/>
              </a:ext>
            </a:extLst>
          </p:cNvPr>
          <p:cNvSpPr/>
          <p:nvPr/>
        </p:nvSpPr>
        <p:spPr>
          <a:xfrm>
            <a:off x="69638" y="1795003"/>
            <a:ext cx="910778" cy="10722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4" action="ppaction://hlinksldjump"/>
            <a:extLst>
              <a:ext uri="{FF2B5EF4-FFF2-40B4-BE49-F238E27FC236}">
                <a16:creationId xmlns:a16="http://schemas.microsoft.com/office/drawing/2014/main" id="{FD716480-165F-4421-BDBD-41C828BBE9F1}"/>
              </a:ext>
            </a:extLst>
          </p:cNvPr>
          <p:cNvSpPr/>
          <p:nvPr/>
        </p:nvSpPr>
        <p:spPr>
          <a:xfrm>
            <a:off x="89185" y="1670111"/>
            <a:ext cx="910778" cy="14100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5" action="ppaction://hlinksldjump"/>
            <a:extLst>
              <a:ext uri="{FF2B5EF4-FFF2-40B4-BE49-F238E27FC236}">
                <a16:creationId xmlns:a16="http://schemas.microsoft.com/office/drawing/2014/main" id="{C8F42FBB-37B3-43E0-97D5-FCB1C8548504}"/>
              </a:ext>
            </a:extLst>
          </p:cNvPr>
          <p:cNvSpPr/>
          <p:nvPr/>
        </p:nvSpPr>
        <p:spPr>
          <a:xfrm>
            <a:off x="191877" y="1962724"/>
            <a:ext cx="910778" cy="14100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6" action="ppaction://hlinksldjump"/>
            <a:extLst>
              <a:ext uri="{FF2B5EF4-FFF2-40B4-BE49-F238E27FC236}">
                <a16:creationId xmlns:a16="http://schemas.microsoft.com/office/drawing/2014/main" id="{0D445274-7289-40D9-A420-9988E7BDACD2}"/>
              </a:ext>
            </a:extLst>
          </p:cNvPr>
          <p:cNvSpPr/>
          <p:nvPr/>
        </p:nvSpPr>
        <p:spPr>
          <a:xfrm>
            <a:off x="191877" y="2128648"/>
            <a:ext cx="910778" cy="12277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7" action="ppaction://hlinksldjump"/>
            <a:extLst>
              <a:ext uri="{FF2B5EF4-FFF2-40B4-BE49-F238E27FC236}">
                <a16:creationId xmlns:a16="http://schemas.microsoft.com/office/drawing/2014/main" id="{36DA60E4-8E18-4BC7-965C-92BD77DA8FAC}"/>
              </a:ext>
            </a:extLst>
          </p:cNvPr>
          <p:cNvSpPr/>
          <p:nvPr/>
        </p:nvSpPr>
        <p:spPr>
          <a:xfrm>
            <a:off x="191877" y="2263731"/>
            <a:ext cx="910778" cy="134449"/>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8" action="ppaction://hlinksldjump"/>
            <a:extLst>
              <a:ext uri="{FF2B5EF4-FFF2-40B4-BE49-F238E27FC236}">
                <a16:creationId xmlns:a16="http://schemas.microsoft.com/office/drawing/2014/main" id="{E98B0C89-C580-4F12-BA6F-C1005E353D86}"/>
              </a:ext>
            </a:extLst>
          </p:cNvPr>
          <p:cNvSpPr/>
          <p:nvPr/>
        </p:nvSpPr>
        <p:spPr>
          <a:xfrm>
            <a:off x="182796" y="2421433"/>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9" action="ppaction://hlinksldjump"/>
            <a:extLst>
              <a:ext uri="{FF2B5EF4-FFF2-40B4-BE49-F238E27FC236}">
                <a16:creationId xmlns:a16="http://schemas.microsoft.com/office/drawing/2014/main" id="{0DA7F2E4-DB98-41F8-BC09-788C72299A50}"/>
              </a:ext>
            </a:extLst>
          </p:cNvPr>
          <p:cNvSpPr/>
          <p:nvPr/>
        </p:nvSpPr>
        <p:spPr>
          <a:xfrm>
            <a:off x="187339" y="2580734"/>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20" action="ppaction://hlinksldjump"/>
            <a:extLst>
              <a:ext uri="{FF2B5EF4-FFF2-40B4-BE49-F238E27FC236}">
                <a16:creationId xmlns:a16="http://schemas.microsoft.com/office/drawing/2014/main" id="{066962EB-CA4F-4C7D-8ED6-CD43A33119A8}"/>
              </a:ext>
            </a:extLst>
          </p:cNvPr>
          <p:cNvSpPr/>
          <p:nvPr/>
        </p:nvSpPr>
        <p:spPr>
          <a:xfrm>
            <a:off x="27199" y="2722696"/>
            <a:ext cx="949831" cy="3832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21" action="ppaction://hlinksldjump"/>
            <a:extLst>
              <a:ext uri="{FF2B5EF4-FFF2-40B4-BE49-F238E27FC236}">
                <a16:creationId xmlns:a16="http://schemas.microsoft.com/office/drawing/2014/main" id="{6F1C1678-61F7-4720-AB44-37353A11962D}"/>
              </a:ext>
            </a:extLst>
          </p:cNvPr>
          <p:cNvSpPr/>
          <p:nvPr/>
        </p:nvSpPr>
        <p:spPr>
          <a:xfrm>
            <a:off x="81237" y="310455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22" action="ppaction://hlinksldjump"/>
            <a:extLst>
              <a:ext uri="{FF2B5EF4-FFF2-40B4-BE49-F238E27FC236}">
                <a16:creationId xmlns:a16="http://schemas.microsoft.com/office/drawing/2014/main" id="{8BF996AF-D425-4558-BD05-86D72777D552}"/>
              </a:ext>
            </a:extLst>
          </p:cNvPr>
          <p:cNvSpPr/>
          <p:nvPr/>
        </p:nvSpPr>
        <p:spPr>
          <a:xfrm>
            <a:off x="171763" y="342185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3" action="ppaction://hlinksldjump"/>
            <a:extLst>
              <a:ext uri="{FF2B5EF4-FFF2-40B4-BE49-F238E27FC236}">
                <a16:creationId xmlns:a16="http://schemas.microsoft.com/office/drawing/2014/main" id="{F2E5D091-A5A3-4437-9567-67CD2524A559}"/>
              </a:ext>
            </a:extLst>
          </p:cNvPr>
          <p:cNvSpPr/>
          <p:nvPr/>
        </p:nvSpPr>
        <p:spPr>
          <a:xfrm>
            <a:off x="163966" y="356229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4" action="ppaction://hlinksldjump"/>
            <a:extLst>
              <a:ext uri="{FF2B5EF4-FFF2-40B4-BE49-F238E27FC236}">
                <a16:creationId xmlns:a16="http://schemas.microsoft.com/office/drawing/2014/main" id="{4E682A38-D816-4934-8E00-DE2AF30C7B9C}"/>
              </a:ext>
            </a:extLst>
          </p:cNvPr>
          <p:cNvSpPr/>
          <p:nvPr/>
        </p:nvSpPr>
        <p:spPr>
          <a:xfrm>
            <a:off x="157227" y="3725628"/>
            <a:ext cx="910778" cy="2345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25" action="ppaction://hlinksldjump"/>
            <a:extLst>
              <a:ext uri="{FF2B5EF4-FFF2-40B4-BE49-F238E27FC236}">
                <a16:creationId xmlns:a16="http://schemas.microsoft.com/office/drawing/2014/main" id="{52420376-A6F0-4C26-B42F-BFA88FCA567D}"/>
              </a:ext>
            </a:extLst>
          </p:cNvPr>
          <p:cNvSpPr/>
          <p:nvPr/>
        </p:nvSpPr>
        <p:spPr>
          <a:xfrm>
            <a:off x="12234" y="3944039"/>
            <a:ext cx="946330" cy="30129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26" action="ppaction://hlinksldjump"/>
            <a:extLst>
              <a:ext uri="{FF2B5EF4-FFF2-40B4-BE49-F238E27FC236}">
                <a16:creationId xmlns:a16="http://schemas.microsoft.com/office/drawing/2014/main" id="{FF8E8AE1-8A60-47F3-A594-1D03364EAF96}"/>
              </a:ext>
            </a:extLst>
          </p:cNvPr>
          <p:cNvSpPr/>
          <p:nvPr/>
        </p:nvSpPr>
        <p:spPr>
          <a:xfrm>
            <a:off x="89165" y="425927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extLst>
              <a:ext uri="{FF2B5EF4-FFF2-40B4-BE49-F238E27FC236}">
                <a16:creationId xmlns:a16="http://schemas.microsoft.com/office/drawing/2014/main" id="{150BCA86-E022-4D95-AF02-A097884A2D4E}"/>
              </a:ext>
            </a:extLst>
          </p:cNvPr>
          <p:cNvSpPr/>
          <p:nvPr/>
        </p:nvSpPr>
        <p:spPr>
          <a:xfrm>
            <a:off x="103549" y="4744083"/>
            <a:ext cx="964456"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27" action="ppaction://hlinksldjump"/>
            <a:extLst>
              <a:ext uri="{FF2B5EF4-FFF2-40B4-BE49-F238E27FC236}">
                <a16:creationId xmlns:a16="http://schemas.microsoft.com/office/drawing/2014/main" id="{47A4ACDF-7CC7-4F2A-86C6-5EDEC5DEDC6A}"/>
              </a:ext>
            </a:extLst>
          </p:cNvPr>
          <p:cNvSpPr/>
          <p:nvPr/>
        </p:nvSpPr>
        <p:spPr>
          <a:xfrm>
            <a:off x="171763" y="4545904"/>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8" name="Rectangle 67">
            <a:hlinkClick r:id="rId28" action="ppaction://hlinksldjump"/>
            <a:extLst>
              <a:ext uri="{FF2B5EF4-FFF2-40B4-BE49-F238E27FC236}">
                <a16:creationId xmlns:a16="http://schemas.microsoft.com/office/drawing/2014/main" id="{BA12D576-5AB5-415F-8577-C370F6B09B3F}"/>
              </a:ext>
            </a:extLst>
          </p:cNvPr>
          <p:cNvSpPr/>
          <p:nvPr/>
        </p:nvSpPr>
        <p:spPr>
          <a:xfrm>
            <a:off x="171763" y="4706748"/>
            <a:ext cx="910778" cy="2334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9" name="Rectangle 68">
            <a:hlinkClick r:id="rId29" action="ppaction://hlinksldjump"/>
            <a:extLst>
              <a:ext uri="{FF2B5EF4-FFF2-40B4-BE49-F238E27FC236}">
                <a16:creationId xmlns:a16="http://schemas.microsoft.com/office/drawing/2014/main" id="{4D8F9CF6-59D7-4CEB-BB4A-1E5B7E304D52}"/>
              </a:ext>
            </a:extLst>
          </p:cNvPr>
          <p:cNvSpPr/>
          <p:nvPr/>
        </p:nvSpPr>
        <p:spPr>
          <a:xfrm>
            <a:off x="-11186" y="4936335"/>
            <a:ext cx="910778" cy="20716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custDataLst>
      <p:custData r:id="rId1"/>
      <p:custData r:id="rId2"/>
    </p:custDataLst>
    <p:extLst>
      <p:ext uri="{BB962C8B-B14F-4D97-AF65-F5344CB8AC3E}">
        <p14:creationId xmlns:p14="http://schemas.microsoft.com/office/powerpoint/2010/main" val="298231046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xmlns:a16="http://schemas.microsoft.com/office/drawing/2014/main">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0987B-8496-41B5-BA9B-BE2F83F10C80}"/>
              </a:ext>
            </a:extLst>
          </p:cNvPr>
          <p:cNvSpPr>
            <a:spLocks noGrp="1"/>
          </p:cNvSpPr>
          <p:nvPr>
            <p:ph type="title"/>
          </p:nvPr>
        </p:nvSpPr>
        <p:spPr/>
        <p:txBody>
          <a:bodyPr/>
          <a:lstStyle/>
          <a:p>
            <a:r>
              <a:rPr lang="en-GB" spc="-5" noProof="0" dirty="0">
                <a:latin typeface="Neue Frutiger World" panose="020B0603040304020203" pitchFamily="34" charset="0"/>
                <a:cs typeface="Neue Frutiger World" panose="020B0603040304020203" pitchFamily="34" charset="0"/>
              </a:rPr>
              <a:t>Length</a:t>
            </a:r>
            <a:r>
              <a:rPr lang="en-GB" spc="40" noProof="0" dirty="0">
                <a:latin typeface="Neue Frutiger World" panose="020B0603040304020203" pitchFamily="34" charset="0"/>
                <a:cs typeface="Neue Frutiger World" panose="020B0603040304020203" pitchFamily="34" charset="0"/>
              </a:rPr>
              <a:t> </a:t>
            </a:r>
            <a:r>
              <a:rPr lang="en-GB" spc="-5" noProof="0" dirty="0">
                <a:latin typeface="Neue Frutiger World" panose="020B0603040304020203" pitchFamily="34" charset="0"/>
                <a:cs typeface="Neue Frutiger World" panose="020B0603040304020203" pitchFamily="34" charset="0"/>
              </a:rPr>
              <a:t>of</a:t>
            </a:r>
            <a:r>
              <a:rPr lang="en-GB" noProof="0" dirty="0">
                <a:latin typeface="Neue Frutiger World" panose="020B0603040304020203" pitchFamily="34" charset="0"/>
                <a:cs typeface="Neue Frutiger World" panose="020B0603040304020203" pitchFamily="34" charset="0"/>
              </a:rPr>
              <a:t> </a:t>
            </a:r>
            <a:r>
              <a:rPr lang="en-GB" spc="-15" noProof="0" dirty="0">
                <a:latin typeface="Neue Frutiger World" panose="020B0603040304020203" pitchFamily="34" charset="0"/>
                <a:cs typeface="Neue Frutiger World" panose="020B0603040304020203" pitchFamily="34" charset="0"/>
              </a:rPr>
              <a:t>hospital</a:t>
            </a:r>
            <a:r>
              <a:rPr lang="en-GB" spc="45" noProof="0" dirty="0">
                <a:latin typeface="Neue Frutiger World" panose="020B0603040304020203" pitchFamily="34" charset="0"/>
                <a:cs typeface="Neue Frutiger World" panose="020B0603040304020203" pitchFamily="34" charset="0"/>
              </a:rPr>
              <a:t> </a:t>
            </a:r>
            <a:r>
              <a:rPr lang="en-GB" spc="-15" noProof="0" dirty="0">
                <a:latin typeface="Neue Frutiger World" panose="020B0603040304020203" pitchFamily="34" charset="0"/>
                <a:cs typeface="Neue Frutiger World" panose="020B0603040304020203" pitchFamily="34" charset="0"/>
              </a:rPr>
              <a:t>stay</a:t>
            </a:r>
            <a:r>
              <a:rPr lang="en-GB" spc="-20" noProof="0" dirty="0">
                <a:latin typeface="Neue Frutiger World" panose="020B0603040304020203" pitchFamily="34" charset="0"/>
                <a:cs typeface="Neue Frutiger World" panose="020B0603040304020203" pitchFamily="34" charset="0"/>
              </a:rPr>
              <a:t> </a:t>
            </a:r>
            <a:r>
              <a:rPr lang="en-GB" spc="229" noProof="0" dirty="0">
                <a:latin typeface="Neue Frutiger World" panose="020B0603040304020203" pitchFamily="34" charset="0"/>
                <a:cs typeface="Neue Frutiger World" panose="020B0603040304020203" pitchFamily="34" charset="0"/>
              </a:rPr>
              <a:t>–</a:t>
            </a:r>
            <a:r>
              <a:rPr lang="en-GB" spc="45" noProof="0" dirty="0">
                <a:latin typeface="Neue Frutiger World" panose="020B0603040304020203" pitchFamily="34" charset="0"/>
                <a:cs typeface="Neue Frutiger World" panose="020B0603040304020203" pitchFamily="34" charset="0"/>
              </a:rPr>
              <a:t> </a:t>
            </a:r>
            <a:r>
              <a:rPr lang="en-GB" spc="-10" noProof="0" dirty="0">
                <a:latin typeface="Neue Frutiger World" panose="020B0603040304020203" pitchFamily="34" charset="0"/>
                <a:cs typeface="Neue Frutiger World" panose="020B0603040304020203" pitchFamily="34" charset="0"/>
              </a:rPr>
              <a:t>conversation</a:t>
            </a:r>
            <a:r>
              <a:rPr lang="en-GB" spc="40" noProof="0" dirty="0">
                <a:latin typeface="Neue Frutiger World" panose="020B0603040304020203" pitchFamily="34" charset="0"/>
                <a:cs typeface="Neue Frutiger World" panose="020B0603040304020203" pitchFamily="34" charset="0"/>
              </a:rPr>
              <a:t> </a:t>
            </a:r>
            <a:r>
              <a:rPr lang="en-GB" spc="-15" noProof="0" dirty="0">
                <a:latin typeface="Neue Frutiger World" panose="020B0603040304020203" pitchFamily="34" charset="0"/>
                <a:cs typeface="Neue Frutiger World" panose="020B0603040304020203" pitchFamily="34" charset="0"/>
              </a:rPr>
              <a:t>starter</a:t>
            </a:r>
            <a:r>
              <a:rPr lang="en-GB" spc="5" noProof="0" dirty="0">
                <a:latin typeface="Neue Frutiger World" panose="020B0603040304020203" pitchFamily="34" charset="0"/>
                <a:cs typeface="Neue Frutiger World" panose="020B0603040304020203" pitchFamily="34" charset="0"/>
              </a:rPr>
              <a:t> </a:t>
            </a:r>
            <a:r>
              <a:rPr lang="en-GB" spc="-20" noProof="0" dirty="0">
                <a:latin typeface="Neue Frutiger World" panose="020B0603040304020203" pitchFamily="34" charset="0"/>
                <a:cs typeface="Neue Frutiger World" panose="020B0603040304020203" pitchFamily="34" charset="0"/>
              </a:rPr>
              <a:t>2</a:t>
            </a:r>
            <a:endParaRPr lang="en-GB" noProof="0" dirty="0">
              <a:latin typeface="Neue Frutiger World" panose="020B0603040304020203" pitchFamily="34" charset="0"/>
              <a:cs typeface="Neue Frutiger World" panose="020B0603040304020203" pitchFamily="34" charset="0"/>
            </a:endParaRPr>
          </a:p>
        </p:txBody>
      </p:sp>
      <p:sp>
        <p:nvSpPr>
          <p:cNvPr id="4" name="Slide Number Placeholder 3">
            <a:extLst>
              <a:ext uri="{FF2B5EF4-FFF2-40B4-BE49-F238E27FC236}">
                <a16:creationId xmlns:a16="http://schemas.microsoft.com/office/drawing/2014/main" id="{416EA180-16ED-4812-B35D-A9C89A11D86D}"/>
              </a:ext>
            </a:extLst>
          </p:cNvPr>
          <p:cNvSpPr>
            <a:spLocks noGrp="1"/>
          </p:cNvSpPr>
          <p:nvPr>
            <p:ph type="sldNum" sz="quarter" idx="18"/>
          </p:nvPr>
        </p:nvSpPr>
        <p:spPr>
          <a:xfrm>
            <a:off x="7964331" y="4871186"/>
            <a:ext cx="199973" cy="150200"/>
          </a:xfrm>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20</a:t>
            </a:fld>
            <a:endParaRPr lang="en-US" noProof="0" dirty="0">
              <a:latin typeface="Neue Frutiger World" panose="020B0603040304020203" pitchFamily="34" charset="0"/>
              <a:cs typeface="Neue Frutiger World" panose="020B0603040304020203" pitchFamily="34" charset="0"/>
            </a:endParaRPr>
          </a:p>
        </p:txBody>
      </p:sp>
      <p:sp>
        <p:nvSpPr>
          <p:cNvPr id="6" name="object 4">
            <a:extLst>
              <a:ext uri="{FF2B5EF4-FFF2-40B4-BE49-F238E27FC236}">
                <a16:creationId xmlns:a16="http://schemas.microsoft.com/office/drawing/2014/main" id="{3828BEEE-587C-45DD-B578-D3E0E1FF31F9}"/>
              </a:ext>
            </a:extLst>
          </p:cNvPr>
          <p:cNvSpPr txBox="1"/>
          <p:nvPr/>
        </p:nvSpPr>
        <p:spPr>
          <a:xfrm>
            <a:off x="1547664" y="735723"/>
            <a:ext cx="3487561" cy="1536639"/>
          </a:xfrm>
          <a:prstGeom prst="rect">
            <a:avLst/>
          </a:prstGeom>
        </p:spPr>
        <p:txBody>
          <a:bodyPr vert="horz" wrap="square" lIns="0" tIns="92710" rIns="0" bIns="0" rtlCol="0">
            <a:spAutoFit/>
          </a:bodyPr>
          <a:lstStyle/>
          <a:p>
            <a:pPr marL="12699">
              <a:spcBef>
                <a:spcPts val="730"/>
              </a:spcBef>
            </a:pPr>
            <a:r>
              <a:rPr sz="1300" b="1" dirty="0">
                <a:solidFill>
                  <a:srgbClr val="231F20"/>
                </a:solidFill>
                <a:latin typeface="Neue Frutiger World" panose="020B0603040304020203" pitchFamily="34" charset="0"/>
                <a:cs typeface="Neue Frutiger World" panose="020B0603040304020203" pitchFamily="34" charset="0"/>
              </a:rPr>
              <a:t>Open ended</a:t>
            </a:r>
            <a:r>
              <a:rPr sz="1300" b="1" spc="5"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question:</a:t>
            </a:r>
            <a:endParaRPr sz="1300" dirty="0">
              <a:latin typeface="Neue Frutiger World" panose="020B0603040304020203" pitchFamily="34" charset="0"/>
              <a:cs typeface="Neue Frutiger World" panose="020B0603040304020203" pitchFamily="34" charset="0"/>
            </a:endParaRPr>
          </a:p>
          <a:p>
            <a:pPr marL="12699" marR="5079">
              <a:lnSpc>
                <a:spcPct val="104200"/>
              </a:lnSpc>
              <a:spcBef>
                <a:spcPts val="350"/>
              </a:spcBef>
            </a:pPr>
            <a:r>
              <a:rPr sz="800" spc="-5" dirty="0">
                <a:solidFill>
                  <a:srgbClr val="231F20"/>
                </a:solidFill>
                <a:latin typeface="Neue Frutiger World" panose="020B0603040304020203" pitchFamily="34" charset="0"/>
                <a:cs typeface="Neue Frutiger World" panose="020B0603040304020203" pitchFamily="34" charset="0"/>
              </a:rPr>
              <a:t>How</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much</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5" dirty="0">
                <a:solidFill>
                  <a:srgbClr val="231F20"/>
                </a:solidFill>
                <a:latin typeface="Neue Frutiger World" panose="020B0603040304020203" pitchFamily="34" charset="0"/>
                <a:cs typeface="Neue Frutiger World" panose="020B0603040304020203" pitchFamily="34" charset="0"/>
              </a:rPr>
              <a:t> an</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mpac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o</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you</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believ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elayed</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reatmen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ngth</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lang="en-GB"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ospital</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tay</a:t>
            </a:r>
            <a:r>
              <a:rPr sz="800" spc="-2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for</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atient?</a:t>
            </a:r>
            <a:endParaRPr sz="800" dirty="0">
              <a:latin typeface="Neue Frutiger World" panose="020B0603040304020203" pitchFamily="34" charset="0"/>
              <a:cs typeface="Neue Frutiger World" panose="020B0603040304020203" pitchFamily="34" charset="0"/>
            </a:endParaRPr>
          </a:p>
          <a:p>
            <a:pPr>
              <a:lnSpc>
                <a:spcPct val="100000"/>
              </a:lnSpc>
            </a:pPr>
            <a:endParaRPr sz="900" dirty="0">
              <a:latin typeface="Neue Frutiger World" panose="020B0603040304020203" pitchFamily="34" charset="0"/>
              <a:cs typeface="Neue Frutiger World" panose="020B0603040304020203" pitchFamily="34" charset="0"/>
            </a:endParaRPr>
          </a:p>
          <a:p>
            <a:pPr>
              <a:spcBef>
                <a:spcPts val="10"/>
              </a:spcBef>
            </a:pPr>
            <a:endParaRPr sz="1050" dirty="0">
              <a:latin typeface="Neue Frutiger World" panose="020B0603040304020203" pitchFamily="34" charset="0"/>
              <a:cs typeface="Neue Frutiger World" panose="020B0603040304020203" pitchFamily="34" charset="0"/>
            </a:endParaRPr>
          </a:p>
          <a:p>
            <a:pPr marL="12699"/>
            <a:r>
              <a:rPr sz="1300" b="1" spc="-15" dirty="0">
                <a:solidFill>
                  <a:srgbClr val="231F20"/>
                </a:solidFill>
                <a:latin typeface="Neue Frutiger World" panose="020B0603040304020203" pitchFamily="34" charset="0"/>
                <a:cs typeface="Neue Frutiger World" panose="020B0603040304020203" pitchFamily="34" charset="0"/>
              </a:rPr>
              <a:t>Potential</a:t>
            </a:r>
            <a:r>
              <a:rPr sz="1300" b="1" spc="25" dirty="0">
                <a:solidFill>
                  <a:srgbClr val="231F20"/>
                </a:solidFill>
                <a:latin typeface="Neue Frutiger World" panose="020B0603040304020203" pitchFamily="34" charset="0"/>
                <a:cs typeface="Neue Frutiger World" panose="020B0603040304020203" pitchFamily="34" charset="0"/>
              </a:rPr>
              <a:t> </a:t>
            </a:r>
            <a:r>
              <a:rPr sz="1300" b="1" dirty="0">
                <a:solidFill>
                  <a:srgbClr val="231F20"/>
                </a:solidFill>
                <a:latin typeface="Neue Frutiger World" panose="020B0603040304020203" pitchFamily="34" charset="0"/>
                <a:cs typeface="Neue Frutiger World" panose="020B0603040304020203" pitchFamily="34" charset="0"/>
              </a:rPr>
              <a:t>physician</a:t>
            </a:r>
            <a:r>
              <a:rPr sz="1300" b="1" spc="30"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12699" marR="46986">
              <a:lnSpc>
                <a:spcPct val="104200"/>
              </a:lnSpc>
              <a:spcBef>
                <a:spcPts val="350"/>
              </a:spcBef>
            </a:pPr>
            <a:r>
              <a:rPr sz="800" dirty="0">
                <a:solidFill>
                  <a:srgbClr val="231F20"/>
                </a:solidFill>
                <a:latin typeface="Neue Frutiger World" panose="020B0603040304020203" pitchFamily="34" charset="0"/>
                <a:cs typeface="Neue Frutiger World" panose="020B0603040304020203" pitchFamily="34" charset="0"/>
              </a:rPr>
              <a:t>When</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I</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ee</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f </a:t>
            </a: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ook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uperficial</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I</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don’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usuall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sum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ads</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ed</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ell,</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but</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I</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ill</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blood</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cultures</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done</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n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a:t>
            </a:r>
            <a:r>
              <a:rPr sz="80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ule</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ut.</a:t>
            </a:r>
            <a:endParaRPr sz="800" dirty="0">
              <a:latin typeface="Neue Frutiger World" panose="020B0603040304020203" pitchFamily="34" charset="0"/>
              <a:cs typeface="Neue Frutiger World" panose="020B0603040304020203" pitchFamily="34" charset="0"/>
            </a:endParaRPr>
          </a:p>
        </p:txBody>
      </p:sp>
      <p:sp>
        <p:nvSpPr>
          <p:cNvPr id="7" name="object 5">
            <a:extLst>
              <a:ext uri="{FF2B5EF4-FFF2-40B4-BE49-F238E27FC236}">
                <a16:creationId xmlns:a16="http://schemas.microsoft.com/office/drawing/2014/main" id="{2D7C942F-709F-4822-97D6-E17B57A60950}"/>
              </a:ext>
            </a:extLst>
          </p:cNvPr>
          <p:cNvSpPr txBox="1"/>
          <p:nvPr/>
        </p:nvSpPr>
        <p:spPr>
          <a:xfrm>
            <a:off x="5188894" y="771550"/>
            <a:ext cx="3487562" cy="2760307"/>
          </a:xfrm>
          <a:prstGeom prst="rect">
            <a:avLst/>
          </a:prstGeom>
        </p:spPr>
        <p:txBody>
          <a:bodyPr vert="horz" wrap="square" lIns="0" tIns="92710" rIns="0" bIns="0" rtlCol="0">
            <a:spAutoFit/>
          </a:bodyPr>
          <a:lstStyle/>
          <a:p>
            <a:pPr marL="50796">
              <a:spcBef>
                <a:spcPts val="730"/>
              </a:spcBef>
            </a:pPr>
            <a:r>
              <a:rPr sz="1300" b="1" spc="-5" dirty="0">
                <a:solidFill>
                  <a:srgbClr val="231F20"/>
                </a:solidFill>
                <a:latin typeface="Neue Frutiger World" panose="020B0603040304020203" pitchFamily="34" charset="0"/>
                <a:cs typeface="Neue Frutiger World" panose="020B0603040304020203" pitchFamily="34" charset="0"/>
              </a:rPr>
              <a:t>Rep</a:t>
            </a:r>
            <a:r>
              <a:rPr sz="1300" b="1"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50796" marR="43176">
              <a:lnSpc>
                <a:spcPct val="104200"/>
              </a:lnSpc>
              <a:spcBef>
                <a:spcPts val="350"/>
              </a:spcBef>
            </a:pP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may</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urprise </a:t>
            </a:r>
            <a:r>
              <a:rPr sz="800" dirty="0">
                <a:solidFill>
                  <a:srgbClr val="231F20"/>
                </a:solidFill>
                <a:latin typeface="Neue Frutiger World" panose="020B0603040304020203" pitchFamily="34" charset="0"/>
                <a:cs typeface="Neue Frutiger World" panose="020B0603040304020203" pitchFamily="34" charset="0"/>
              </a:rPr>
              <a:t>you</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ear</a:t>
            </a:r>
            <a:r>
              <a:rPr sz="800" spc="-10" dirty="0">
                <a:solidFill>
                  <a:srgbClr val="231F20"/>
                </a:solidFill>
                <a:latin typeface="Neue Frutiger World" panose="020B0603040304020203" pitchFamily="34" charset="0"/>
                <a:cs typeface="Neue Frutiger World" panose="020B0603040304020203" pitchFamily="34" charset="0"/>
              </a:rPr>
              <a:t> this</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but,</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ven</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hen</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mptoms</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limited</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ocket,</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travascular </a:t>
            </a:r>
            <a:r>
              <a:rPr sz="800" spc="-5" dirty="0">
                <a:solidFill>
                  <a:srgbClr val="231F20"/>
                </a:solidFill>
                <a:latin typeface="Neue Frutiger World" panose="020B0603040304020203" pitchFamily="34" charset="0"/>
                <a:cs typeface="Neue Frutiger World" panose="020B0603040304020203" pitchFamily="34" charset="0"/>
              </a:rPr>
              <a:t>segments</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th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ads</a:t>
            </a:r>
            <a:r>
              <a:rPr sz="800" spc="-2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ill</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sitiv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blood</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culture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72%</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patients.</a:t>
            </a:r>
            <a:r>
              <a:rPr sz="800" spc="-7" baseline="30864" dirty="0">
                <a:solidFill>
                  <a:srgbClr val="231F20"/>
                </a:solidFill>
                <a:latin typeface="Neue Frutiger World" panose="020B0603040304020203" pitchFamily="34" charset="0"/>
                <a:cs typeface="Neue Frutiger World" panose="020B0603040304020203" pitchFamily="34" charset="0"/>
              </a:rPr>
              <a:t>6</a:t>
            </a:r>
            <a:r>
              <a:rPr sz="800" spc="120" baseline="30864"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i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 </a:t>
            </a:r>
            <a:r>
              <a:rPr sz="800" spc="5" dirty="0">
                <a:solidFill>
                  <a:srgbClr val="231F20"/>
                </a:solidFill>
                <a:latin typeface="Neue Frutiger World" panose="020B0603040304020203" pitchFamily="34" charset="0"/>
                <a:cs typeface="Neue Frutiger World" panose="020B0603040304020203" pitchFamily="34" charset="0"/>
              </a:rPr>
              <a:t>why</a:t>
            </a:r>
            <a:r>
              <a:rPr sz="800" spc="-15" dirty="0">
                <a:solidFill>
                  <a:srgbClr val="231F20"/>
                </a:solidFill>
                <a:latin typeface="Neue Frutiger World" panose="020B0603040304020203" pitchFamily="34" charset="0"/>
                <a:cs typeface="Neue Frutiger World" panose="020B0603040304020203" pitchFamily="34" charset="0"/>
              </a:rPr>
              <a:t> it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mportant</a:t>
            </a:r>
            <a:r>
              <a:rPr sz="800" spc="1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quickly</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agnos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d</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extrac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ll</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rdwar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year</a:t>
            </a:r>
            <a:r>
              <a:rPr sz="800" spc="-5" dirty="0">
                <a:solidFill>
                  <a:srgbClr val="231F20"/>
                </a:solidFill>
                <a:latin typeface="Neue Frutiger World" panose="020B0603040304020203" pitchFamily="34" charset="0"/>
                <a:cs typeface="Neue Frutiger World" panose="020B0603040304020203" pitchFamily="34" charset="0"/>
              </a:rPr>
              <a:t> mortality</a:t>
            </a:r>
            <a:r>
              <a:rPr sz="800" spc="-15" dirty="0">
                <a:solidFill>
                  <a:srgbClr val="231F20"/>
                </a:solidFill>
                <a:latin typeface="Neue Frutiger World" panose="020B0603040304020203" pitchFamily="34" charset="0"/>
                <a:cs typeface="Neue Frutiger World" panose="020B0603040304020203" pitchFamily="34" charset="0"/>
              </a:rPr>
              <a:t> rate</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about</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2%,</a:t>
            </a:r>
            <a:r>
              <a:rPr sz="800" baseline="30864" dirty="0">
                <a:solidFill>
                  <a:srgbClr val="231F20"/>
                </a:solidFill>
                <a:latin typeface="Neue Frutiger World" panose="020B0603040304020203" pitchFamily="34" charset="0"/>
                <a:cs typeface="Neue Frutiger World" panose="020B0603040304020203" pitchFamily="34" charset="0"/>
              </a:rPr>
              <a:t>12</a:t>
            </a:r>
            <a:r>
              <a:rPr lang="en-GB" sz="800" baseline="30864"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owever </a:t>
            </a:r>
            <a:r>
              <a:rPr sz="800" spc="-5" dirty="0">
                <a:solidFill>
                  <a:srgbClr val="231F20"/>
                </a:solidFill>
                <a:latin typeface="Neue Frutiger World" panose="020B0603040304020203" pitchFamily="34" charset="0"/>
                <a:cs typeface="Neue Frutiger World" panose="020B0603040304020203" pitchFamily="34" charset="0"/>
              </a:rPr>
              <a:t>if</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rogresses</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ic</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that</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number</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crease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dramatically.</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ic</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as</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e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hown</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year</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mortality</a:t>
            </a:r>
            <a:r>
              <a:rPr sz="800" spc="-1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31%</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nd</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ndocarditis</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ven</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igher</a:t>
            </a:r>
            <a:r>
              <a:rPr sz="800" spc="-10" dirty="0">
                <a:solidFill>
                  <a:srgbClr val="231F20"/>
                </a:solidFill>
                <a:latin typeface="Neue Frutiger World" panose="020B0603040304020203" pitchFamily="34" charset="0"/>
                <a:cs typeface="Neue Frutiger World" panose="020B0603040304020203" pitchFamily="34" charset="0"/>
              </a:rPr>
              <a:t> than</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at.</a:t>
            </a:r>
            <a:r>
              <a:rPr sz="800" spc="-15" baseline="30864" dirty="0">
                <a:solidFill>
                  <a:srgbClr val="231F20"/>
                </a:solidFill>
                <a:latin typeface="Neue Frutiger World" panose="020B0603040304020203" pitchFamily="34" charset="0"/>
                <a:cs typeface="Neue Frutiger World" panose="020B0603040304020203" pitchFamily="34" charset="0"/>
              </a:rPr>
              <a:t>12</a:t>
            </a:r>
            <a:r>
              <a:rPr sz="800" baseline="30864"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mportant</a:t>
            </a:r>
            <a:r>
              <a:rPr sz="800" spc="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quickly</a:t>
            </a:r>
            <a:r>
              <a:rPr sz="800" spc="-20" dirty="0">
                <a:solidFill>
                  <a:srgbClr val="231F20"/>
                </a:solidFill>
                <a:latin typeface="Neue Frutiger World" panose="020B0603040304020203" pitchFamily="34" charset="0"/>
                <a:cs typeface="Neue Frutiger World" panose="020B0603040304020203" pitchFamily="34" charset="0"/>
              </a:rPr>
              <a:t> trea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ocket</a:t>
            </a:r>
            <a:r>
              <a:rPr sz="800" spc="1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ions</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f</a:t>
            </a:r>
            <a:r>
              <a:rPr sz="800" spc="-10" dirty="0">
                <a:solidFill>
                  <a:srgbClr val="231F20"/>
                </a:solidFill>
                <a:latin typeface="Neue Frutiger World" panose="020B0603040304020203" pitchFamily="34" charset="0"/>
                <a:cs typeface="Neue Frutiger World" panose="020B0603040304020203" pitchFamily="34" charset="0"/>
              </a:rPr>
              <a:t> the</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lead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fected</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at</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nitial</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iagnosis,</a:t>
            </a:r>
            <a:r>
              <a:rPr sz="800" spc="1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oe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have</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pportunity</a:t>
            </a:r>
            <a:r>
              <a:rPr sz="800" spc="-2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lang="en-GB"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rogress</a:t>
            </a:r>
            <a:r>
              <a:rPr sz="80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to</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systemic</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fection.</a:t>
            </a:r>
            <a:r>
              <a:rPr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ntibiotics</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re</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not</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conservativ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hoice</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these</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patients</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s</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h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elapse</a:t>
            </a:r>
            <a:r>
              <a:rPr sz="800" spc="5"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rate</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n</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be</a:t>
            </a:r>
            <a:r>
              <a:rPr sz="800" spc="5" dirty="0">
                <a:solidFill>
                  <a:srgbClr val="231F20"/>
                </a:solidFill>
                <a:latin typeface="Neue Frutiger World" panose="020B0603040304020203" pitchFamily="34" charset="0"/>
                <a:cs typeface="Neue Frutiger World" panose="020B0603040304020203" pitchFamily="34" charset="0"/>
              </a:rPr>
              <a:t> 50-100%</a:t>
            </a:r>
            <a:r>
              <a:rPr lang="en-US" sz="800" spc="5" dirty="0">
                <a:solidFill>
                  <a:srgbClr val="231F20"/>
                </a:solidFill>
                <a:latin typeface="Neue Frutiger World" panose="020B0603040304020203" pitchFamily="34" charset="0"/>
                <a:cs typeface="Neue Frutiger World" panose="020B0603040304020203" pitchFamily="34" charset="0"/>
              </a:rPr>
              <a:t>.</a:t>
            </a:r>
            <a:r>
              <a:rPr sz="800" spc="22" baseline="30864" dirty="0">
                <a:solidFill>
                  <a:srgbClr val="231F20"/>
                </a:solidFill>
                <a:latin typeface="Neue Frutiger World" panose="020B0603040304020203" pitchFamily="34" charset="0"/>
                <a:cs typeface="Neue Frutiger World" panose="020B0603040304020203" pitchFamily="34" charset="0"/>
              </a:rPr>
              <a:t>5-9</a:t>
            </a:r>
            <a:endParaRPr sz="800" baseline="30864" dirty="0">
              <a:latin typeface="Neue Frutiger World" panose="020B0603040304020203" pitchFamily="34" charset="0"/>
              <a:cs typeface="Neue Frutiger World" panose="020B0603040304020203" pitchFamily="34" charset="0"/>
            </a:endParaRPr>
          </a:p>
          <a:p>
            <a:pPr>
              <a:lnSpc>
                <a:spcPct val="100000"/>
              </a:lnSpc>
            </a:pPr>
            <a:endParaRPr sz="800" dirty="0">
              <a:latin typeface="Neue Frutiger World" panose="020B0603040304020203" pitchFamily="34" charset="0"/>
              <a:cs typeface="Neue Frutiger World" panose="020B0603040304020203" pitchFamily="34" charset="0"/>
            </a:endParaRPr>
          </a:p>
          <a:p>
            <a:pPr>
              <a:spcBef>
                <a:spcPts val="40"/>
              </a:spcBef>
            </a:pPr>
            <a:endParaRPr sz="800" dirty="0">
              <a:latin typeface="Neue Frutiger World" panose="020B0603040304020203" pitchFamily="34" charset="0"/>
              <a:cs typeface="Neue Frutiger World" panose="020B0603040304020203" pitchFamily="34" charset="0"/>
            </a:endParaRPr>
          </a:p>
          <a:p>
            <a:pPr marL="50796" marR="63495">
              <a:lnSpc>
                <a:spcPct val="104200"/>
              </a:lnSpc>
            </a:pPr>
            <a:r>
              <a:rPr sz="800" dirty="0">
                <a:solidFill>
                  <a:srgbClr val="0077CD"/>
                </a:solidFill>
                <a:latin typeface="Neue Frutiger World" panose="020B0603040304020203" pitchFamily="34" charset="0"/>
                <a:cs typeface="Neue Frutiger World" panose="020B0603040304020203" pitchFamily="34" charset="0"/>
              </a:rPr>
              <a:t>I</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ould</a:t>
            </a:r>
            <a:r>
              <a:rPr sz="800" spc="1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love</a:t>
            </a:r>
            <a:r>
              <a:rPr sz="800" spc="1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0" dirty="0">
                <a:solidFill>
                  <a:srgbClr val="0077CD"/>
                </a:solidFill>
                <a:latin typeface="Neue Frutiger World" panose="020B0603040304020203" pitchFamily="34" charset="0"/>
                <a:cs typeface="Neue Frutiger World" panose="020B0603040304020203" pitchFamily="34" charset="0"/>
              </a:rPr>
              <a:t> work </a:t>
            </a:r>
            <a:r>
              <a:rPr sz="800" spc="-5" dirty="0">
                <a:solidFill>
                  <a:srgbClr val="0077CD"/>
                </a:solidFill>
                <a:latin typeface="Neue Frutiger World" panose="020B0603040304020203" pitchFamily="34" charset="0"/>
                <a:cs typeface="Neue Frutiger World" panose="020B0603040304020203" pitchFamily="34" charset="0"/>
              </a:rPr>
              <a:t>with </a:t>
            </a:r>
            <a:r>
              <a:rPr sz="800" dirty="0">
                <a:solidFill>
                  <a:srgbClr val="0077CD"/>
                </a:solidFill>
                <a:latin typeface="Neue Frutiger World" panose="020B0603040304020203" pitchFamily="34" charset="0"/>
                <a:cs typeface="Neue Frutiger World" panose="020B0603040304020203" pitchFamily="34" charset="0"/>
              </a:rPr>
              <a:t>you</a:t>
            </a:r>
            <a:r>
              <a:rPr sz="800" spc="10"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2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set</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up</a:t>
            </a:r>
            <a:r>
              <a:rPr sz="800" spc="2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ome</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time</a:t>
            </a:r>
            <a:r>
              <a:rPr sz="800" spc="1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peak</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ith </a:t>
            </a:r>
            <a:r>
              <a:rPr sz="800" dirty="0">
                <a:solidFill>
                  <a:srgbClr val="0077CD"/>
                </a:solidFill>
                <a:latin typeface="Neue Frutiger World" panose="020B0603040304020203" pitchFamily="34" charset="0"/>
                <a:cs typeface="Neue Frutiger World" panose="020B0603040304020203" pitchFamily="34" charset="0"/>
              </a:rPr>
              <a:t>your</a:t>
            </a:r>
            <a:r>
              <a:rPr sz="800" spc="-5" dirty="0">
                <a:solidFill>
                  <a:srgbClr val="0077CD"/>
                </a:solidFill>
                <a:latin typeface="Neue Frutiger World" panose="020B0603040304020203" pitchFamily="34" charset="0"/>
                <a:cs typeface="Neue Frutiger World" panose="020B0603040304020203" pitchFamily="34" charset="0"/>
              </a:rPr>
              <a:t> </a:t>
            </a:r>
            <a:r>
              <a:rPr lang="en-GB" sz="800" spc="-10" dirty="0">
                <a:solidFill>
                  <a:srgbClr val="0077CD"/>
                </a:solidFill>
                <a:latin typeface="Neue Frutiger World" panose="020B0603040304020203" pitchFamily="34" charset="0"/>
                <a:cs typeface="Neue Frutiger World" panose="020B0603040304020203" pitchFamily="34" charset="0"/>
              </a:rPr>
              <a:t>colleagues</a:t>
            </a:r>
            <a:r>
              <a:rPr sz="800" spc="15" dirty="0">
                <a:solidFill>
                  <a:srgbClr val="0077CD"/>
                </a:solidFill>
                <a:latin typeface="Neue Frutiger World" panose="020B0603040304020203" pitchFamily="34" charset="0"/>
                <a:cs typeface="Neue Frutiger World" panose="020B0603040304020203" pitchFamily="34" charset="0"/>
              </a:rPr>
              <a:t> </a:t>
            </a:r>
            <a:r>
              <a:rPr sz="800" spc="-15" dirty="0">
                <a:solidFill>
                  <a:srgbClr val="0077CD"/>
                </a:solidFill>
                <a:latin typeface="Neue Frutiger World" panose="020B0603040304020203" pitchFamily="34" charset="0"/>
                <a:cs typeface="Neue Frutiger World" panose="020B0603040304020203" pitchFamily="34" charset="0"/>
              </a:rPr>
              <a:t>that</a:t>
            </a:r>
            <a:r>
              <a:rPr lang="en-GB"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do</a:t>
            </a:r>
            <a:r>
              <a:rPr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not</a:t>
            </a:r>
            <a:r>
              <a:rPr sz="800" spc="10" dirty="0">
                <a:solidFill>
                  <a:srgbClr val="0077CD"/>
                </a:solidFill>
                <a:latin typeface="Neue Frutiger World" panose="020B0603040304020203" pitchFamily="34" charset="0"/>
                <a:cs typeface="Neue Frutiger World" panose="020B0603040304020203" pitchFamily="34" charset="0"/>
              </a:rPr>
              <a:t> </a:t>
            </a:r>
            <a:r>
              <a:rPr sz="800" spc="-15" dirty="0">
                <a:solidFill>
                  <a:srgbClr val="0077CD"/>
                </a:solidFill>
                <a:latin typeface="Neue Frutiger World" panose="020B0603040304020203" pitchFamily="34" charset="0"/>
                <a:cs typeface="Neue Frutiger World" panose="020B0603040304020203" pitchFamily="34" charset="0"/>
              </a:rPr>
              <a:t>extract</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devices.</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y</a:t>
            </a:r>
            <a:r>
              <a:rPr sz="800" spc="-1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may</a:t>
            </a:r>
            <a:r>
              <a:rPr sz="800" spc="-2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reat</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ome</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patients</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ith</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antibiotics</a:t>
            </a:r>
            <a:r>
              <a:rPr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before</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y</a:t>
            </a:r>
            <a:r>
              <a:rPr lang="en-GB"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end</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m</a:t>
            </a:r>
            <a:r>
              <a:rPr sz="800" spc="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a:t>
            </a:r>
            <a:r>
              <a:rPr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for </a:t>
            </a:r>
            <a:r>
              <a:rPr sz="800" spc="-5" dirty="0">
                <a:solidFill>
                  <a:srgbClr val="0077CD"/>
                </a:solidFill>
                <a:latin typeface="Neue Frutiger World" panose="020B0603040304020203" pitchFamily="34" charset="0"/>
                <a:cs typeface="Neue Frutiger World" panose="020B0603040304020203" pitchFamily="34" charset="0"/>
              </a:rPr>
              <a:t>an</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extraction.</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is</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information</a:t>
            </a:r>
            <a:r>
              <a:rPr sz="800" spc="1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may</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way</a:t>
            </a:r>
            <a:r>
              <a:rPr sz="800" spc="-2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m</a:t>
            </a:r>
            <a:r>
              <a:rPr sz="800" spc="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sz="800" spc="10"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end</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them</a:t>
            </a:r>
            <a:r>
              <a:rPr sz="800" spc="5" dirty="0">
                <a:solidFill>
                  <a:srgbClr val="0077CD"/>
                </a:solidFill>
                <a:latin typeface="Neue Frutiger World" panose="020B0603040304020203" pitchFamily="34" charset="0"/>
                <a:cs typeface="Neue Frutiger World" panose="020B0603040304020203" pitchFamily="34" charset="0"/>
              </a:rPr>
              <a:t> </a:t>
            </a:r>
            <a:r>
              <a:rPr sz="800" spc="-20" dirty="0">
                <a:solidFill>
                  <a:srgbClr val="0077CD"/>
                </a:solidFill>
                <a:latin typeface="Neue Frutiger World" panose="020B0603040304020203" pitchFamily="34" charset="0"/>
                <a:cs typeface="Neue Frutiger World" panose="020B0603040304020203" pitchFamily="34" charset="0"/>
              </a:rPr>
              <a:t>to</a:t>
            </a:r>
            <a:r>
              <a:rPr lang="en-GB" sz="800" spc="-20"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 </a:t>
            </a:r>
            <a:r>
              <a:rPr sz="800" spc="-10" dirty="0">
                <a:solidFill>
                  <a:srgbClr val="0077CD"/>
                </a:solidFill>
                <a:latin typeface="Neue Frutiger World" panose="020B0603040304020203" pitchFamily="34" charset="0"/>
                <a:cs typeface="Neue Frutiger World" panose="020B0603040304020203" pitchFamily="34" charset="0"/>
              </a:rPr>
              <a:t>for</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a</a:t>
            </a:r>
            <a:r>
              <a:rPr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consult</a:t>
            </a:r>
            <a:r>
              <a:rPr sz="800" spc="10"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right</a:t>
            </a:r>
            <a:r>
              <a:rPr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away.</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Is</a:t>
            </a:r>
            <a:r>
              <a:rPr sz="800" spc="5" dirty="0">
                <a:solidFill>
                  <a:srgbClr val="0077CD"/>
                </a:solidFill>
                <a:latin typeface="Neue Frutiger World" panose="020B0603040304020203" pitchFamily="34" charset="0"/>
                <a:cs typeface="Neue Frutiger World" panose="020B0603040304020203" pitchFamily="34" charset="0"/>
              </a:rPr>
              <a:t> </a:t>
            </a:r>
            <a:r>
              <a:rPr sz="800" spc="-15" dirty="0">
                <a:solidFill>
                  <a:srgbClr val="0077CD"/>
                </a:solidFill>
                <a:latin typeface="Neue Frutiger World" panose="020B0603040304020203" pitchFamily="34" charset="0"/>
                <a:cs typeface="Neue Frutiger World" panose="020B0603040304020203" pitchFamily="34" charset="0"/>
              </a:rPr>
              <a:t>that</a:t>
            </a:r>
            <a:r>
              <a:rPr sz="800" spc="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something</a:t>
            </a:r>
            <a:r>
              <a:rPr sz="800" spc="-20"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you</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would</a:t>
            </a:r>
            <a:r>
              <a:rPr sz="800" spc="5"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be</a:t>
            </a:r>
            <a:r>
              <a:rPr sz="800" spc="5" dirty="0">
                <a:solidFill>
                  <a:srgbClr val="0077CD"/>
                </a:solidFill>
                <a:latin typeface="Neue Frutiger World" panose="020B0603040304020203" pitchFamily="34" charset="0"/>
                <a:cs typeface="Neue Frutiger World" panose="020B0603040304020203" pitchFamily="34" charset="0"/>
              </a:rPr>
              <a:t> </a:t>
            </a:r>
            <a:r>
              <a:rPr sz="800" spc="-15" dirty="0">
                <a:solidFill>
                  <a:srgbClr val="0077CD"/>
                </a:solidFill>
                <a:latin typeface="Neue Frutiger World" panose="020B0603040304020203" pitchFamily="34" charset="0"/>
                <a:cs typeface="Neue Frutiger World" panose="020B0603040304020203" pitchFamily="34" charset="0"/>
              </a:rPr>
              <a:t>interested</a:t>
            </a:r>
            <a:r>
              <a:rPr sz="800" spc="10" dirty="0">
                <a:solidFill>
                  <a:srgbClr val="0077CD"/>
                </a:solidFill>
                <a:latin typeface="Neue Frutiger World" panose="020B0603040304020203" pitchFamily="34" charset="0"/>
                <a:cs typeface="Neue Frutiger World" panose="020B0603040304020203" pitchFamily="34" charset="0"/>
              </a:rPr>
              <a:t> </a:t>
            </a:r>
            <a:r>
              <a:rPr sz="800" dirty="0">
                <a:solidFill>
                  <a:srgbClr val="0077CD"/>
                </a:solidFill>
                <a:latin typeface="Neue Frutiger World" panose="020B0603040304020203" pitchFamily="34" charset="0"/>
                <a:cs typeface="Neue Frutiger World" panose="020B0603040304020203" pitchFamily="34" charset="0"/>
              </a:rPr>
              <a:t>in?</a:t>
            </a:r>
            <a:endParaRPr sz="800" dirty="0">
              <a:latin typeface="Neue Frutiger World" panose="020B0603040304020203" pitchFamily="34" charset="0"/>
              <a:cs typeface="Neue Frutiger World" panose="020B0603040304020203" pitchFamily="34" charset="0"/>
            </a:endParaRPr>
          </a:p>
        </p:txBody>
      </p:sp>
      <p:sp>
        <p:nvSpPr>
          <p:cNvPr id="8" name="object 6">
            <a:extLst>
              <a:ext uri="{FF2B5EF4-FFF2-40B4-BE49-F238E27FC236}">
                <a16:creationId xmlns:a16="http://schemas.microsoft.com/office/drawing/2014/main" id="{FC25B725-E4FC-4BC8-B62A-9907AC2B0AE6}"/>
              </a:ext>
            </a:extLst>
          </p:cNvPr>
          <p:cNvSpPr txBox="1"/>
          <p:nvPr/>
        </p:nvSpPr>
        <p:spPr>
          <a:xfrm>
            <a:off x="1547665" y="3777373"/>
            <a:ext cx="1944216" cy="1170641"/>
          </a:xfrm>
          <a:prstGeom prst="rect">
            <a:avLst/>
          </a:prstGeom>
        </p:spPr>
        <p:txBody>
          <a:bodyPr vert="horz" wrap="square" lIns="0" tIns="12700" rIns="0" bIns="0" rtlCol="0">
            <a:spAutoFit/>
          </a:bodyPr>
          <a:lstStyle/>
          <a:p>
            <a:pPr marL="104766" indent="-92702">
              <a:spcBef>
                <a:spcPts val="100"/>
              </a:spcBef>
              <a:buSzPct val="87500"/>
              <a:buAutoNum type="arabicPlain"/>
              <a:tabLst>
                <a:tab pos="105401" algn="l"/>
              </a:tabLst>
            </a:pPr>
            <a:r>
              <a:rPr sz="800" b="1" spc="5" dirty="0">
                <a:solidFill>
                  <a:srgbClr val="0077CD"/>
                </a:solidFill>
                <a:latin typeface="Neue Frutiger World" panose="020B0603040304020203" pitchFamily="34" charset="0"/>
                <a:cs typeface="Neue Frutiger World" panose="020B0603040304020203" pitchFamily="34" charset="0"/>
              </a:rPr>
              <a:t>year</a:t>
            </a:r>
            <a:r>
              <a:rPr sz="800" b="1" spc="-30" dirty="0">
                <a:solidFill>
                  <a:srgbClr val="0077CD"/>
                </a:solidFill>
                <a:latin typeface="Neue Frutiger World" panose="020B0603040304020203" pitchFamily="34" charset="0"/>
                <a:cs typeface="Neue Frutiger World" panose="020B0603040304020203" pitchFamily="34" charset="0"/>
              </a:rPr>
              <a:t> </a:t>
            </a:r>
            <a:r>
              <a:rPr sz="800" b="1" spc="-5" dirty="0">
                <a:solidFill>
                  <a:srgbClr val="0077CD"/>
                </a:solidFill>
                <a:latin typeface="Neue Frutiger World" panose="020B0603040304020203" pitchFamily="34" charset="0"/>
                <a:cs typeface="Neue Frutiger World" panose="020B0603040304020203" pitchFamily="34" charset="0"/>
              </a:rPr>
              <a:t>mortality</a:t>
            </a:r>
            <a:endParaRPr sz="800" dirty="0">
              <a:latin typeface="Neue Frutiger World" panose="020B0603040304020203" pitchFamily="34" charset="0"/>
              <a:cs typeface="Neue Frutiger World" panose="020B0603040304020203" pitchFamily="34" charset="0"/>
            </a:endParaRPr>
          </a:p>
          <a:p>
            <a:pPr marL="12699">
              <a:spcBef>
                <a:spcPts val="40"/>
              </a:spcBef>
            </a:pPr>
            <a:r>
              <a:rPr sz="800" b="1" dirty="0">
                <a:solidFill>
                  <a:srgbClr val="0077CD"/>
                </a:solidFill>
                <a:latin typeface="Neue Frutiger World" panose="020B0603040304020203" pitchFamily="34" charset="0"/>
                <a:cs typeface="Neue Frutiger World" panose="020B0603040304020203" pitchFamily="34" charset="0"/>
              </a:rPr>
              <a:t>(Extraction</a:t>
            </a:r>
            <a:r>
              <a:rPr sz="800" b="1" spc="-15" dirty="0">
                <a:solidFill>
                  <a:srgbClr val="0077CD"/>
                </a:solidFill>
                <a:latin typeface="Neue Frutiger World" panose="020B0603040304020203" pitchFamily="34" charset="0"/>
                <a:cs typeface="Neue Frutiger World" panose="020B0603040304020203" pitchFamily="34" charset="0"/>
              </a:rPr>
              <a:t> </a:t>
            </a:r>
            <a:r>
              <a:rPr sz="800" b="1" dirty="0">
                <a:solidFill>
                  <a:srgbClr val="0077CD"/>
                </a:solidFill>
                <a:latin typeface="Neue Frutiger World" panose="020B0603040304020203" pitchFamily="34" charset="0"/>
                <a:cs typeface="Neue Frutiger World" panose="020B0603040304020203" pitchFamily="34" charset="0"/>
              </a:rPr>
              <a:t>vs.</a:t>
            </a:r>
            <a:r>
              <a:rPr sz="800" b="1" spc="10" dirty="0">
                <a:solidFill>
                  <a:srgbClr val="0077CD"/>
                </a:solidFill>
                <a:latin typeface="Neue Frutiger World" panose="020B0603040304020203" pitchFamily="34" charset="0"/>
                <a:cs typeface="Neue Frutiger World" panose="020B0603040304020203" pitchFamily="34" charset="0"/>
              </a:rPr>
              <a:t> </a:t>
            </a:r>
            <a:r>
              <a:rPr lang="sv-SE" sz="800" b="1" spc="5" dirty="0">
                <a:solidFill>
                  <a:srgbClr val="0077CD"/>
                </a:solidFill>
                <a:latin typeface="Neue Frutiger World" panose="020B0603040304020203" pitchFamily="34" charset="0"/>
                <a:cs typeface="Neue Frutiger World" panose="020B0603040304020203" pitchFamily="34" charset="0"/>
              </a:rPr>
              <a:t>n</a:t>
            </a:r>
            <a:r>
              <a:rPr sz="800" b="1" spc="5" dirty="0">
                <a:solidFill>
                  <a:srgbClr val="0077CD"/>
                </a:solidFill>
                <a:latin typeface="Neue Frutiger World" panose="020B0603040304020203" pitchFamily="34" charset="0"/>
                <a:cs typeface="Neue Frutiger World" panose="020B0603040304020203" pitchFamily="34" charset="0"/>
              </a:rPr>
              <a:t>o</a:t>
            </a:r>
            <a:r>
              <a:rPr sz="800" b="1" spc="10" dirty="0">
                <a:solidFill>
                  <a:srgbClr val="0077CD"/>
                </a:solidFill>
                <a:latin typeface="Neue Frutiger World" panose="020B0603040304020203" pitchFamily="34" charset="0"/>
                <a:cs typeface="Neue Frutiger World" panose="020B0603040304020203" pitchFamily="34" charset="0"/>
              </a:rPr>
              <a:t> </a:t>
            </a:r>
            <a:r>
              <a:rPr sz="800" b="1" spc="-5" dirty="0">
                <a:solidFill>
                  <a:srgbClr val="0077CD"/>
                </a:solidFill>
                <a:latin typeface="Neue Frutiger World" panose="020B0603040304020203" pitchFamily="34" charset="0"/>
                <a:cs typeface="Neue Frutiger World" panose="020B0603040304020203" pitchFamily="34" charset="0"/>
              </a:rPr>
              <a:t>extraction):</a:t>
            </a:r>
            <a:endParaRPr sz="800" dirty="0">
              <a:latin typeface="Neue Frutiger World" panose="020B0603040304020203" pitchFamily="34" charset="0"/>
              <a:cs typeface="Neue Frutiger World" panose="020B0603040304020203" pitchFamily="34" charset="0"/>
            </a:endParaRPr>
          </a:p>
          <a:p>
            <a:pPr marL="215882" lvl="1" indent="-76194">
              <a:spcBef>
                <a:spcPts val="270"/>
              </a:spcBef>
              <a:buChar char="•"/>
              <a:tabLst>
                <a:tab pos="215882" algn="l"/>
              </a:tabLst>
            </a:pPr>
            <a:r>
              <a:rPr sz="800" spc="5" dirty="0">
                <a:solidFill>
                  <a:srgbClr val="231F20"/>
                </a:solidFill>
                <a:latin typeface="Neue Frutiger World" panose="020B0603040304020203" pitchFamily="34" charset="0"/>
                <a:cs typeface="Neue Frutiger World" panose="020B0603040304020203" pitchFamily="34" charset="0"/>
              </a:rPr>
              <a:t>13.3%</a:t>
            </a:r>
            <a:r>
              <a:rPr sz="800" spc="-3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ith</a:t>
            </a:r>
            <a:r>
              <a:rPr sz="800" spc="-1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IED</a:t>
            </a:r>
            <a:r>
              <a:rPr sz="800" spc="-10" dirty="0">
                <a:solidFill>
                  <a:srgbClr val="231F20"/>
                </a:solidFill>
                <a:latin typeface="Neue Frutiger World" panose="020B0603040304020203" pitchFamily="34" charset="0"/>
                <a:cs typeface="Neue Frutiger World" panose="020B0603040304020203" pitchFamily="34" charset="0"/>
              </a:rPr>
              <a:t> extraction</a:t>
            </a:r>
            <a:endParaRPr sz="800" dirty="0">
              <a:latin typeface="Neue Frutiger World" panose="020B0603040304020203" pitchFamily="34" charset="0"/>
              <a:cs typeface="Neue Frutiger World" panose="020B0603040304020203" pitchFamily="34" charset="0"/>
            </a:endParaRPr>
          </a:p>
          <a:p>
            <a:pPr marL="215882" lvl="1" indent="-76194">
              <a:spcBef>
                <a:spcPts val="275"/>
              </a:spcBef>
              <a:buChar char="•"/>
              <a:tabLst>
                <a:tab pos="215882" algn="l"/>
              </a:tabLst>
            </a:pPr>
            <a:r>
              <a:rPr sz="800" spc="-5" dirty="0">
                <a:solidFill>
                  <a:srgbClr val="231F20"/>
                </a:solidFill>
                <a:latin typeface="Neue Frutiger World" panose="020B0603040304020203" pitchFamily="34" charset="0"/>
                <a:cs typeface="Neue Frutiger World" panose="020B0603040304020203" pitchFamily="34" charset="0"/>
              </a:rPr>
              <a:t>38.1%</a:t>
            </a:r>
            <a:r>
              <a:rPr sz="800" spc="-4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ith</a:t>
            </a:r>
            <a:r>
              <a:rPr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ntibiotics</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nly</a:t>
            </a:r>
            <a:endParaRPr sz="800" dirty="0">
              <a:latin typeface="Neue Frutiger World" panose="020B0603040304020203" pitchFamily="34" charset="0"/>
              <a:cs typeface="Neue Frutiger World" panose="020B0603040304020203" pitchFamily="34" charset="0"/>
            </a:endParaRPr>
          </a:p>
          <a:p>
            <a:pPr marL="12699" marR="5079">
              <a:lnSpc>
                <a:spcPct val="102600"/>
              </a:lnSpc>
              <a:spcBef>
                <a:spcPts val="560"/>
              </a:spcBef>
            </a:pPr>
            <a:r>
              <a:rPr sz="650" spc="10" dirty="0">
                <a:solidFill>
                  <a:srgbClr val="545860"/>
                </a:solidFill>
                <a:latin typeface="Neue Frutiger World" panose="020B0603040304020203" pitchFamily="34" charset="0"/>
                <a:cs typeface="Neue Frutiger World" panose="020B0603040304020203" pitchFamily="34" charset="0"/>
              </a:rPr>
              <a:t>Le, </a:t>
            </a:r>
            <a:r>
              <a:rPr sz="650" spc="20" dirty="0">
                <a:solidFill>
                  <a:srgbClr val="545860"/>
                </a:solidFill>
                <a:latin typeface="Neue Frutiger World" panose="020B0603040304020203" pitchFamily="34" charset="0"/>
                <a:cs typeface="Neue Frutiger World" panose="020B0603040304020203" pitchFamily="34" charset="0"/>
              </a:rPr>
              <a:t>K. </a:t>
            </a:r>
            <a:r>
              <a:rPr sz="650" spc="-10" dirty="0">
                <a:solidFill>
                  <a:srgbClr val="545860"/>
                </a:solidFill>
                <a:latin typeface="Neue Frutiger World" panose="020B0603040304020203" pitchFamily="34" charset="0"/>
                <a:cs typeface="Neue Frutiger World" panose="020B0603040304020203" pitchFamily="34" charset="0"/>
              </a:rPr>
              <a:t>Y., </a:t>
            </a:r>
            <a:r>
              <a:rPr sz="650" spc="-5" dirty="0">
                <a:solidFill>
                  <a:srgbClr val="545860"/>
                </a:solidFill>
                <a:latin typeface="Neue Frutiger World" panose="020B0603040304020203" pitchFamily="34" charset="0"/>
                <a:cs typeface="Neue Frutiger World" panose="020B0603040304020203" pitchFamily="34" charset="0"/>
              </a:rPr>
              <a:t>et </a:t>
            </a:r>
            <a:r>
              <a:rPr sz="650" spc="5" dirty="0">
                <a:solidFill>
                  <a:srgbClr val="545860"/>
                </a:solidFill>
                <a:latin typeface="Neue Frutiger World" panose="020B0603040304020203" pitchFamily="34" charset="0"/>
                <a:cs typeface="Neue Frutiger World" panose="020B0603040304020203" pitchFamily="34" charset="0"/>
              </a:rPr>
              <a:t>al. (2011, Nov). Impact </a:t>
            </a:r>
            <a:r>
              <a:rPr sz="650" dirty="0">
                <a:solidFill>
                  <a:srgbClr val="545860"/>
                </a:solidFill>
                <a:latin typeface="Neue Frutiger World" panose="020B0603040304020203" pitchFamily="34" charset="0"/>
                <a:cs typeface="Neue Frutiger World" panose="020B0603040304020203" pitchFamily="34" charset="0"/>
              </a:rPr>
              <a:t>of </a:t>
            </a:r>
            <a:r>
              <a:rPr sz="650" spc="5" dirty="0">
                <a:solidFill>
                  <a:srgbClr val="545860"/>
                </a:solidFill>
                <a:latin typeface="Neue Frutiger World" panose="020B0603040304020203" pitchFamily="34" charset="0"/>
                <a:cs typeface="Neue Frutiger World" panose="020B0603040304020203" pitchFamily="34" charset="0"/>
              </a:rPr>
              <a:t>timing </a:t>
            </a:r>
            <a:r>
              <a:rPr sz="650" dirty="0">
                <a:solidFill>
                  <a:srgbClr val="545860"/>
                </a:solidFill>
                <a:latin typeface="Neue Frutiger World" panose="020B0603040304020203" pitchFamily="34" charset="0"/>
                <a:cs typeface="Neue Frutiger World" panose="020B0603040304020203" pitchFamily="34" charset="0"/>
              </a:rPr>
              <a:t>of </a:t>
            </a:r>
            <a:r>
              <a:rPr sz="650" spc="10" dirty="0">
                <a:solidFill>
                  <a:srgbClr val="545860"/>
                </a:solidFill>
                <a:latin typeface="Neue Frutiger World" panose="020B0603040304020203" pitchFamily="34" charset="0"/>
                <a:cs typeface="Neue Frutiger World" panose="020B0603040304020203" pitchFamily="34" charset="0"/>
              </a:rPr>
              <a:t>device</a:t>
            </a:r>
            <a:r>
              <a:rPr lang="en-GB" sz="650" spc="10"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removal on </a:t>
            </a:r>
            <a:r>
              <a:rPr sz="650" spc="10" dirty="0">
                <a:solidFill>
                  <a:srgbClr val="545860"/>
                </a:solidFill>
                <a:latin typeface="Neue Frutiger World" panose="020B0603040304020203" pitchFamily="34" charset="0"/>
                <a:cs typeface="Neue Frutiger World" panose="020B0603040304020203" pitchFamily="34" charset="0"/>
              </a:rPr>
              <a:t>mortality</a:t>
            </a:r>
            <a:r>
              <a:rPr sz="650" spc="5" dirty="0">
                <a:solidFill>
                  <a:srgbClr val="545860"/>
                </a:solidFill>
                <a:latin typeface="Neue Frutiger World" panose="020B0603040304020203" pitchFamily="34" charset="0"/>
                <a:cs typeface="Neue Frutiger World" panose="020B0603040304020203" pitchFamily="34" charset="0"/>
              </a:rPr>
              <a:t> </a:t>
            </a:r>
            <a:r>
              <a:rPr sz="650" dirty="0">
                <a:solidFill>
                  <a:srgbClr val="545860"/>
                </a:solidFill>
                <a:latin typeface="Neue Frutiger World" panose="020B0603040304020203" pitchFamily="34" charset="0"/>
                <a:cs typeface="Neue Frutiger World" panose="020B0603040304020203" pitchFamily="34" charset="0"/>
              </a:rPr>
              <a:t>in</a:t>
            </a:r>
            <a:r>
              <a:rPr sz="650" spc="5" dirty="0">
                <a:solidFill>
                  <a:srgbClr val="545860"/>
                </a:solidFill>
                <a:latin typeface="Neue Frutiger World" panose="020B0603040304020203" pitchFamily="34" charset="0"/>
                <a:cs typeface="Neue Frutiger World" panose="020B0603040304020203" pitchFamily="34" charset="0"/>
              </a:rPr>
              <a:t> patients with cardiovascular</a:t>
            </a:r>
            <a:r>
              <a:rPr lang="en-GB" sz="650" spc="5"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implantable electronic </a:t>
            </a:r>
            <a:r>
              <a:rPr sz="650" spc="10" dirty="0">
                <a:solidFill>
                  <a:srgbClr val="545860"/>
                </a:solidFill>
                <a:latin typeface="Neue Frutiger World" panose="020B0603040304020203" pitchFamily="34" charset="0"/>
                <a:cs typeface="Neue Frutiger World" panose="020B0603040304020203" pitchFamily="34" charset="0"/>
              </a:rPr>
              <a:t>device infections. </a:t>
            </a:r>
            <a:r>
              <a:rPr sz="650" spc="5" dirty="0">
                <a:solidFill>
                  <a:srgbClr val="545860"/>
                </a:solidFill>
                <a:latin typeface="Neue Frutiger World" panose="020B0603040304020203" pitchFamily="34" charset="0"/>
                <a:cs typeface="Neue Frutiger World" panose="020B0603040304020203" pitchFamily="34" charset="0"/>
              </a:rPr>
              <a:t>Heart</a:t>
            </a:r>
            <a:r>
              <a:rPr lang="en-GB" sz="650" spc="5" dirty="0">
                <a:solidFill>
                  <a:srgbClr val="545860"/>
                </a:solidFill>
                <a:latin typeface="Neue Frutiger World" panose="020B0603040304020203" pitchFamily="34" charset="0"/>
                <a:cs typeface="Neue Frutiger World" panose="020B0603040304020203" pitchFamily="34" charset="0"/>
              </a:rPr>
              <a:t> </a:t>
            </a:r>
            <a:r>
              <a:rPr sz="650" spc="10" dirty="0">
                <a:solidFill>
                  <a:srgbClr val="545860"/>
                </a:solidFill>
                <a:latin typeface="Neue Frutiger World" panose="020B0603040304020203" pitchFamily="34" charset="0"/>
                <a:cs typeface="Neue Frutiger World" panose="020B0603040304020203" pitchFamily="34" charset="0"/>
              </a:rPr>
              <a:t>Rhythm,</a:t>
            </a:r>
            <a:r>
              <a:rPr sz="650" spc="5" dirty="0">
                <a:solidFill>
                  <a:srgbClr val="545860"/>
                </a:solidFill>
                <a:latin typeface="Neue Frutiger World" panose="020B0603040304020203" pitchFamily="34" charset="0"/>
                <a:cs typeface="Neue Frutiger World" panose="020B0603040304020203" pitchFamily="34" charset="0"/>
              </a:rPr>
              <a:t> 8(11),</a:t>
            </a:r>
            <a:r>
              <a:rPr sz="650" spc="10"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1678-1685. </a:t>
            </a:r>
            <a:r>
              <a:rPr sz="650" spc="-5" dirty="0">
                <a:solidFill>
                  <a:srgbClr val="545860"/>
                </a:solidFill>
                <a:latin typeface="Neue Frutiger World" panose="020B0603040304020203" pitchFamily="34" charset="0"/>
                <a:cs typeface="Neue Frutiger World" panose="020B0603040304020203" pitchFamily="34" charset="0"/>
              </a:rPr>
              <a:t>https://doi.org/10.1016/j.</a:t>
            </a:r>
            <a:r>
              <a:rPr lang="en-GB" sz="650" spc="-5"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hrthm.2011.05.015.</a:t>
            </a:r>
            <a:endParaRPr sz="650" dirty="0">
              <a:latin typeface="Neue Frutiger World" panose="020B0603040304020203" pitchFamily="34" charset="0"/>
              <a:cs typeface="Neue Frutiger World" panose="020B0603040304020203" pitchFamily="34" charset="0"/>
            </a:endParaRPr>
          </a:p>
        </p:txBody>
      </p:sp>
      <p:sp>
        <p:nvSpPr>
          <p:cNvPr id="9" name="object 7">
            <a:extLst>
              <a:ext uri="{FF2B5EF4-FFF2-40B4-BE49-F238E27FC236}">
                <a16:creationId xmlns:a16="http://schemas.microsoft.com/office/drawing/2014/main" id="{860E09F2-0828-40F4-A416-1678402A1D42}"/>
              </a:ext>
            </a:extLst>
          </p:cNvPr>
          <p:cNvSpPr txBox="1"/>
          <p:nvPr/>
        </p:nvSpPr>
        <p:spPr>
          <a:xfrm>
            <a:off x="3716066" y="3771201"/>
            <a:ext cx="2115820" cy="1174360"/>
          </a:xfrm>
          <a:prstGeom prst="rect">
            <a:avLst/>
          </a:prstGeom>
        </p:spPr>
        <p:txBody>
          <a:bodyPr vert="horz" wrap="square" lIns="0" tIns="12700" rIns="0" bIns="0" rtlCol="0">
            <a:spAutoFit/>
          </a:bodyPr>
          <a:lstStyle/>
          <a:p>
            <a:pPr marL="104766" indent="-92702">
              <a:spcBef>
                <a:spcPts val="100"/>
              </a:spcBef>
              <a:buSzPct val="87500"/>
              <a:buAutoNum type="arabicPlain"/>
              <a:tabLst>
                <a:tab pos="105401" algn="l"/>
              </a:tabLst>
            </a:pPr>
            <a:r>
              <a:rPr sz="800" b="1" spc="5" dirty="0">
                <a:solidFill>
                  <a:srgbClr val="0077CD"/>
                </a:solidFill>
                <a:latin typeface="Neue Frutiger World" panose="020B0603040304020203" pitchFamily="34" charset="0"/>
                <a:cs typeface="Neue Frutiger World" panose="020B0603040304020203" pitchFamily="34" charset="0"/>
              </a:rPr>
              <a:t>year</a:t>
            </a:r>
            <a:r>
              <a:rPr sz="800" b="1" spc="-30" dirty="0">
                <a:solidFill>
                  <a:srgbClr val="0077CD"/>
                </a:solidFill>
                <a:latin typeface="Neue Frutiger World" panose="020B0603040304020203" pitchFamily="34" charset="0"/>
                <a:cs typeface="Neue Frutiger World" panose="020B0603040304020203" pitchFamily="34" charset="0"/>
              </a:rPr>
              <a:t> </a:t>
            </a:r>
            <a:r>
              <a:rPr sz="800" b="1" spc="-5" dirty="0">
                <a:solidFill>
                  <a:srgbClr val="0077CD"/>
                </a:solidFill>
                <a:latin typeface="Neue Frutiger World" panose="020B0603040304020203" pitchFamily="34" charset="0"/>
                <a:cs typeface="Neue Frutiger World" panose="020B0603040304020203" pitchFamily="34" charset="0"/>
              </a:rPr>
              <a:t>mortality</a:t>
            </a:r>
            <a:endParaRPr sz="800" dirty="0">
              <a:latin typeface="Neue Frutiger World" panose="020B0603040304020203" pitchFamily="34" charset="0"/>
              <a:cs typeface="Neue Frutiger World" panose="020B0603040304020203" pitchFamily="34" charset="0"/>
            </a:endParaRPr>
          </a:p>
          <a:p>
            <a:pPr marL="12699">
              <a:spcBef>
                <a:spcPts val="40"/>
              </a:spcBef>
            </a:pPr>
            <a:r>
              <a:rPr sz="800" b="1" dirty="0">
                <a:solidFill>
                  <a:srgbClr val="0077CD"/>
                </a:solidFill>
                <a:latin typeface="Neue Frutiger World" panose="020B0603040304020203" pitchFamily="34" charset="0"/>
                <a:cs typeface="Neue Frutiger World" panose="020B0603040304020203" pitchFamily="34" charset="0"/>
              </a:rPr>
              <a:t>(Extraction</a:t>
            </a:r>
            <a:r>
              <a:rPr sz="800" b="1" spc="-15" dirty="0">
                <a:solidFill>
                  <a:srgbClr val="0077CD"/>
                </a:solidFill>
                <a:latin typeface="Neue Frutiger World" panose="020B0603040304020203" pitchFamily="34" charset="0"/>
                <a:cs typeface="Neue Frutiger World" panose="020B0603040304020203" pitchFamily="34" charset="0"/>
              </a:rPr>
              <a:t> </a:t>
            </a:r>
            <a:r>
              <a:rPr sz="800" b="1" dirty="0">
                <a:solidFill>
                  <a:srgbClr val="0077CD"/>
                </a:solidFill>
                <a:latin typeface="Neue Frutiger World" panose="020B0603040304020203" pitchFamily="34" charset="0"/>
                <a:cs typeface="Neue Frutiger World" panose="020B0603040304020203" pitchFamily="34" charset="0"/>
              </a:rPr>
              <a:t>vs.</a:t>
            </a:r>
            <a:r>
              <a:rPr sz="800" b="1" spc="5" dirty="0">
                <a:solidFill>
                  <a:srgbClr val="0077CD"/>
                </a:solidFill>
                <a:latin typeface="Neue Frutiger World" panose="020B0603040304020203" pitchFamily="34" charset="0"/>
                <a:cs typeface="Neue Frutiger World" panose="020B0603040304020203" pitchFamily="34" charset="0"/>
              </a:rPr>
              <a:t> </a:t>
            </a:r>
            <a:r>
              <a:rPr lang="sv-SE" sz="800" b="1" spc="-10" dirty="0">
                <a:solidFill>
                  <a:srgbClr val="0077CD"/>
                </a:solidFill>
                <a:latin typeface="Neue Frutiger World" panose="020B0603040304020203" pitchFamily="34" charset="0"/>
                <a:cs typeface="Neue Frutiger World" panose="020B0603040304020203" pitchFamily="34" charset="0"/>
              </a:rPr>
              <a:t>l</a:t>
            </a:r>
            <a:r>
              <a:rPr sz="800" b="1" spc="-10" dirty="0">
                <a:solidFill>
                  <a:srgbClr val="0077CD"/>
                </a:solidFill>
                <a:latin typeface="Neue Frutiger World" panose="020B0603040304020203" pitchFamily="34" charset="0"/>
                <a:cs typeface="Neue Frutiger World" panose="020B0603040304020203" pitchFamily="34" charset="0"/>
              </a:rPr>
              <a:t>ate</a:t>
            </a:r>
            <a:r>
              <a:rPr sz="800" b="1" dirty="0">
                <a:solidFill>
                  <a:srgbClr val="0077CD"/>
                </a:solidFill>
                <a:latin typeface="Neue Frutiger World" panose="020B0603040304020203" pitchFamily="34" charset="0"/>
                <a:cs typeface="Neue Frutiger World" panose="020B0603040304020203" pitchFamily="34" charset="0"/>
              </a:rPr>
              <a:t> </a:t>
            </a:r>
            <a:r>
              <a:rPr lang="sv-SE" sz="800" b="1" dirty="0">
                <a:solidFill>
                  <a:srgbClr val="0077CD"/>
                </a:solidFill>
                <a:latin typeface="Neue Frutiger World" panose="020B0603040304020203" pitchFamily="34" charset="0"/>
                <a:cs typeface="Neue Frutiger World" panose="020B0603040304020203" pitchFamily="34" charset="0"/>
              </a:rPr>
              <a:t>e</a:t>
            </a:r>
            <a:r>
              <a:rPr sz="800" b="1" dirty="0" err="1">
                <a:solidFill>
                  <a:srgbClr val="0077CD"/>
                </a:solidFill>
                <a:latin typeface="Neue Frutiger World" panose="020B0603040304020203" pitchFamily="34" charset="0"/>
                <a:cs typeface="Neue Frutiger World" panose="020B0603040304020203" pitchFamily="34" charset="0"/>
              </a:rPr>
              <a:t>xtraction</a:t>
            </a:r>
            <a:r>
              <a:rPr sz="800" b="1" dirty="0">
                <a:solidFill>
                  <a:srgbClr val="0077CD"/>
                </a:solidFill>
                <a:latin typeface="Neue Frutiger World" panose="020B0603040304020203" pitchFamily="34" charset="0"/>
                <a:cs typeface="Neue Frutiger World" panose="020B0603040304020203" pitchFamily="34" charset="0"/>
              </a:rPr>
              <a:t>):</a:t>
            </a:r>
            <a:endParaRPr sz="800" dirty="0">
              <a:latin typeface="Neue Frutiger World" panose="020B0603040304020203" pitchFamily="34" charset="0"/>
              <a:cs typeface="Neue Frutiger World" panose="020B0603040304020203" pitchFamily="34" charset="0"/>
            </a:endParaRPr>
          </a:p>
          <a:p>
            <a:pPr marL="215882" lvl="1" indent="-76194">
              <a:spcBef>
                <a:spcPts val="270"/>
              </a:spcBef>
              <a:buChar char="•"/>
              <a:tabLst>
                <a:tab pos="215882" algn="l"/>
              </a:tabLst>
            </a:pPr>
            <a:r>
              <a:rPr sz="800" spc="10" dirty="0">
                <a:solidFill>
                  <a:srgbClr val="231F20"/>
                </a:solidFill>
                <a:latin typeface="Neue Frutiger World" panose="020B0603040304020203" pitchFamily="34" charset="0"/>
                <a:cs typeface="Neue Frutiger World" panose="020B0603040304020203" pitchFamily="34" charset="0"/>
              </a:rPr>
              <a:t>16.9%</a:t>
            </a:r>
            <a:r>
              <a:rPr sz="800" spc="-3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hen </a:t>
            </a:r>
            <a:r>
              <a:rPr sz="800" spc="-10" dirty="0">
                <a:solidFill>
                  <a:srgbClr val="231F20"/>
                </a:solidFill>
                <a:latin typeface="Neue Frutiger World" panose="020B0603040304020203" pitchFamily="34" charset="0"/>
                <a:cs typeface="Neue Frutiger World" panose="020B0603040304020203" pitchFamily="34" charset="0"/>
              </a:rPr>
              <a:t>extraction</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3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within</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10</a:t>
            </a:r>
            <a:r>
              <a:rPr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ays</a:t>
            </a:r>
            <a:endParaRPr sz="800" dirty="0">
              <a:latin typeface="Neue Frutiger World" panose="020B0603040304020203" pitchFamily="34" charset="0"/>
              <a:cs typeface="Neue Frutiger World" panose="020B0603040304020203" pitchFamily="34" charset="0"/>
            </a:endParaRPr>
          </a:p>
          <a:p>
            <a:pPr marL="215882" lvl="1" indent="-76194">
              <a:spcBef>
                <a:spcPts val="275"/>
              </a:spcBef>
              <a:buChar char="•"/>
              <a:tabLst>
                <a:tab pos="215882" algn="l"/>
              </a:tabLst>
            </a:pPr>
            <a:r>
              <a:rPr sz="800" spc="10" dirty="0">
                <a:solidFill>
                  <a:srgbClr val="231F20"/>
                </a:solidFill>
                <a:latin typeface="Neue Frutiger World" panose="020B0603040304020203" pitchFamily="34" charset="0"/>
                <a:cs typeface="Neue Frutiger World" panose="020B0603040304020203" pitchFamily="34" charset="0"/>
              </a:rPr>
              <a:t>33.9%</a:t>
            </a:r>
            <a:r>
              <a:rPr sz="800" spc="-2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when </a:t>
            </a:r>
            <a:r>
              <a:rPr sz="800" spc="-10" dirty="0">
                <a:solidFill>
                  <a:srgbClr val="231F20"/>
                </a:solidFill>
                <a:latin typeface="Neue Frutiger World" panose="020B0603040304020203" pitchFamily="34" charset="0"/>
                <a:cs typeface="Neue Frutiger World" panose="020B0603040304020203" pitchFamily="34" charset="0"/>
              </a:rPr>
              <a:t>extraction</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is</a:t>
            </a:r>
            <a:r>
              <a:rPr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after</a:t>
            </a:r>
            <a:r>
              <a:rPr sz="800" spc="-1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10</a:t>
            </a:r>
            <a:r>
              <a:rPr sz="800" spc="-5" dirty="0">
                <a:solidFill>
                  <a:srgbClr val="231F20"/>
                </a:solidFill>
                <a:latin typeface="Neue Frutiger World" panose="020B0603040304020203" pitchFamily="34" charset="0"/>
                <a:cs typeface="Neue Frutiger World" panose="020B0603040304020203" pitchFamily="34" charset="0"/>
              </a:rPr>
              <a:t> days.</a:t>
            </a:r>
            <a:endParaRPr sz="800" dirty="0">
              <a:latin typeface="Neue Frutiger World" panose="020B0603040304020203" pitchFamily="34" charset="0"/>
              <a:cs typeface="Neue Frutiger World" panose="020B0603040304020203" pitchFamily="34" charset="0"/>
            </a:endParaRPr>
          </a:p>
          <a:p>
            <a:pPr marL="12699" marR="55240">
              <a:lnSpc>
                <a:spcPct val="102600"/>
              </a:lnSpc>
              <a:spcBef>
                <a:spcPts val="560"/>
              </a:spcBef>
            </a:pPr>
            <a:r>
              <a:rPr sz="650" spc="5" dirty="0">
                <a:solidFill>
                  <a:srgbClr val="545860"/>
                </a:solidFill>
                <a:latin typeface="Neue Frutiger World" panose="020B0603040304020203" pitchFamily="34" charset="0"/>
                <a:cs typeface="Neue Frutiger World" panose="020B0603040304020203" pitchFamily="34" charset="0"/>
              </a:rPr>
              <a:t>Rungpradubvong, </a:t>
            </a:r>
            <a:r>
              <a:rPr sz="650" spc="-5" dirty="0">
                <a:solidFill>
                  <a:srgbClr val="545860"/>
                </a:solidFill>
                <a:latin typeface="Neue Frutiger World" panose="020B0603040304020203" pitchFamily="34" charset="0"/>
                <a:cs typeface="Neue Frutiger World" panose="020B0603040304020203" pitchFamily="34" charset="0"/>
              </a:rPr>
              <a:t>V.,</a:t>
            </a:r>
            <a:r>
              <a:rPr sz="650" spc="10"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et</a:t>
            </a:r>
            <a:r>
              <a:rPr sz="650" spc="5" dirty="0">
                <a:solidFill>
                  <a:srgbClr val="545860"/>
                </a:solidFill>
                <a:latin typeface="Neue Frutiger World" panose="020B0603040304020203" pitchFamily="34" charset="0"/>
                <a:cs typeface="Neue Frutiger World" panose="020B0603040304020203" pitchFamily="34" charset="0"/>
              </a:rPr>
              <a:t> al.</a:t>
            </a:r>
            <a:r>
              <a:rPr sz="650" spc="10"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2014). </a:t>
            </a:r>
            <a:r>
              <a:rPr sz="650" dirty="0">
                <a:solidFill>
                  <a:srgbClr val="545860"/>
                </a:solidFill>
                <a:latin typeface="Neue Frutiger World" panose="020B0603040304020203" pitchFamily="34" charset="0"/>
                <a:cs typeface="Neue Frutiger World" panose="020B0603040304020203" pitchFamily="34" charset="0"/>
              </a:rPr>
              <a:t>Outcomes</a:t>
            </a:r>
            <a:r>
              <a:rPr sz="650" spc="10" dirty="0">
                <a:solidFill>
                  <a:srgbClr val="545860"/>
                </a:solidFill>
                <a:latin typeface="Neue Frutiger World" panose="020B0603040304020203" pitchFamily="34" charset="0"/>
                <a:cs typeface="Neue Frutiger World" panose="020B0603040304020203" pitchFamily="34" charset="0"/>
              </a:rPr>
              <a:t> </a:t>
            </a:r>
            <a:r>
              <a:rPr sz="650" dirty="0">
                <a:solidFill>
                  <a:srgbClr val="545860"/>
                </a:solidFill>
                <a:latin typeface="Neue Frutiger World" panose="020B0603040304020203" pitchFamily="34" charset="0"/>
                <a:cs typeface="Neue Frutiger World" panose="020B0603040304020203" pitchFamily="34" charset="0"/>
              </a:rPr>
              <a:t>of</a:t>
            </a:r>
            <a:r>
              <a:rPr lang="en-GB" sz="650"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early and </a:t>
            </a:r>
            <a:r>
              <a:rPr sz="650" spc="10" dirty="0">
                <a:solidFill>
                  <a:srgbClr val="545860"/>
                </a:solidFill>
                <a:latin typeface="Neue Frutiger World" panose="020B0603040304020203" pitchFamily="34" charset="0"/>
                <a:cs typeface="Neue Frutiger World" panose="020B0603040304020203" pitchFamily="34" charset="0"/>
              </a:rPr>
              <a:t>delayed </a:t>
            </a:r>
            <a:r>
              <a:rPr sz="650" spc="5" dirty="0">
                <a:solidFill>
                  <a:srgbClr val="545860"/>
                </a:solidFill>
                <a:latin typeface="Neue Frutiger World" panose="020B0603040304020203" pitchFamily="34" charset="0"/>
                <a:cs typeface="Neue Frutiger World" panose="020B0603040304020203" pitchFamily="34" charset="0"/>
              </a:rPr>
              <a:t>removal </a:t>
            </a:r>
            <a:r>
              <a:rPr sz="650" dirty="0">
                <a:solidFill>
                  <a:srgbClr val="545860"/>
                </a:solidFill>
                <a:latin typeface="Neue Frutiger World" panose="020B0603040304020203" pitchFamily="34" charset="0"/>
                <a:cs typeface="Neue Frutiger World" panose="020B0603040304020203" pitchFamily="34" charset="0"/>
              </a:rPr>
              <a:t>in </a:t>
            </a:r>
            <a:r>
              <a:rPr sz="650" spc="5" dirty="0">
                <a:solidFill>
                  <a:srgbClr val="545860"/>
                </a:solidFill>
                <a:latin typeface="Neue Frutiger World" panose="020B0603040304020203" pitchFamily="34" charset="0"/>
                <a:cs typeface="Neue Frutiger World" panose="020B0603040304020203" pitchFamily="34" charset="0"/>
              </a:rPr>
              <a:t>patients with cardiac</a:t>
            </a:r>
            <a:r>
              <a:rPr lang="en-GB" sz="650" spc="5"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implantable electronic </a:t>
            </a:r>
            <a:r>
              <a:rPr sz="650" spc="10" dirty="0">
                <a:solidFill>
                  <a:srgbClr val="545860"/>
                </a:solidFill>
                <a:latin typeface="Neue Frutiger World" panose="020B0603040304020203" pitchFamily="34" charset="0"/>
                <a:cs typeface="Neue Frutiger World" panose="020B0603040304020203" pitchFamily="34" charset="0"/>
              </a:rPr>
              <a:t>device infection. </a:t>
            </a:r>
            <a:r>
              <a:rPr sz="650" dirty="0">
                <a:solidFill>
                  <a:srgbClr val="545860"/>
                </a:solidFill>
                <a:latin typeface="Neue Frutiger World" panose="020B0603040304020203" pitchFamily="34" charset="0"/>
                <a:cs typeface="Neue Frutiger World" panose="020B0603040304020203" pitchFamily="34" charset="0"/>
              </a:rPr>
              <a:t>Poster</a:t>
            </a:r>
            <a:r>
              <a:rPr lang="en-GB" sz="650"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Presentation. 2014 Heart </a:t>
            </a:r>
            <a:r>
              <a:rPr sz="650" spc="10" dirty="0">
                <a:solidFill>
                  <a:srgbClr val="545860"/>
                </a:solidFill>
                <a:latin typeface="Neue Frutiger World" panose="020B0603040304020203" pitchFamily="34" charset="0"/>
                <a:cs typeface="Neue Frutiger World" panose="020B0603040304020203" pitchFamily="34" charset="0"/>
              </a:rPr>
              <a:t>Rhythm </a:t>
            </a:r>
            <a:r>
              <a:rPr sz="650" spc="15" dirty="0">
                <a:solidFill>
                  <a:srgbClr val="545860"/>
                </a:solidFill>
                <a:latin typeface="Neue Frutiger World" panose="020B0603040304020203" pitchFamily="34" charset="0"/>
                <a:cs typeface="Neue Frutiger World" panose="020B0603040304020203" pitchFamily="34" charset="0"/>
              </a:rPr>
              <a:t>Society </a:t>
            </a:r>
            <a:r>
              <a:rPr sz="650" spc="5" dirty="0">
                <a:solidFill>
                  <a:srgbClr val="545860"/>
                </a:solidFill>
                <a:latin typeface="Neue Frutiger World" panose="020B0603040304020203" pitchFamily="34" charset="0"/>
                <a:cs typeface="Neue Frutiger World" panose="020B0603040304020203" pitchFamily="34" charset="0"/>
              </a:rPr>
              <a:t>Annual</a:t>
            </a:r>
            <a:r>
              <a:rPr lang="en-GB" sz="650" spc="5"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Scientific</a:t>
            </a:r>
            <a:r>
              <a:rPr sz="650" dirty="0">
                <a:solidFill>
                  <a:srgbClr val="545860"/>
                </a:solidFill>
                <a:latin typeface="Neue Frutiger World" panose="020B0603040304020203" pitchFamily="34" charset="0"/>
                <a:cs typeface="Neue Frutiger World" panose="020B0603040304020203" pitchFamily="34" charset="0"/>
              </a:rPr>
              <a:t> </a:t>
            </a:r>
            <a:r>
              <a:rPr sz="650" spc="10" dirty="0">
                <a:solidFill>
                  <a:srgbClr val="545860"/>
                </a:solidFill>
                <a:latin typeface="Neue Frutiger World" panose="020B0603040304020203" pitchFamily="34" charset="0"/>
                <a:cs typeface="Neue Frutiger World" panose="020B0603040304020203" pitchFamily="34" charset="0"/>
              </a:rPr>
              <a:t>Sessions.</a:t>
            </a:r>
            <a:endParaRPr sz="650" dirty="0">
              <a:latin typeface="Neue Frutiger World" panose="020B0603040304020203" pitchFamily="34" charset="0"/>
              <a:cs typeface="Neue Frutiger World" panose="020B0603040304020203" pitchFamily="34" charset="0"/>
            </a:endParaRPr>
          </a:p>
        </p:txBody>
      </p:sp>
      <p:grpSp>
        <p:nvGrpSpPr>
          <p:cNvPr id="10" name="object 8">
            <a:extLst>
              <a:ext uri="{FF2B5EF4-FFF2-40B4-BE49-F238E27FC236}">
                <a16:creationId xmlns:a16="http://schemas.microsoft.com/office/drawing/2014/main" id="{767718B8-1988-4020-A6E9-2860E1E79973}"/>
              </a:ext>
            </a:extLst>
          </p:cNvPr>
          <p:cNvGrpSpPr/>
          <p:nvPr/>
        </p:nvGrpSpPr>
        <p:grpSpPr>
          <a:xfrm>
            <a:off x="1747637" y="2710185"/>
            <a:ext cx="950594" cy="951230"/>
            <a:chOff x="918518" y="4270244"/>
            <a:chExt cx="950594" cy="951230"/>
          </a:xfrm>
        </p:grpSpPr>
        <p:sp>
          <p:nvSpPr>
            <p:cNvPr id="11" name="object 9">
              <a:extLst>
                <a:ext uri="{FF2B5EF4-FFF2-40B4-BE49-F238E27FC236}">
                  <a16:creationId xmlns:a16="http://schemas.microsoft.com/office/drawing/2014/main" id="{676C5D5A-1638-402B-9566-12AD9C3BF14F}"/>
                </a:ext>
              </a:extLst>
            </p:cNvPr>
            <p:cNvSpPr/>
            <p:nvPr/>
          </p:nvSpPr>
          <p:spPr>
            <a:xfrm>
              <a:off x="1280722" y="4633203"/>
              <a:ext cx="588010" cy="588645"/>
            </a:xfrm>
            <a:custGeom>
              <a:avLst/>
              <a:gdLst/>
              <a:ahLst/>
              <a:cxnLst/>
              <a:rect l="l" t="t" r="r" b="b"/>
              <a:pathLst>
                <a:path w="588010" h="588645">
                  <a:moveTo>
                    <a:pt x="293928" y="0"/>
                  </a:moveTo>
                  <a:lnTo>
                    <a:pt x="246252" y="3848"/>
                  </a:lnTo>
                  <a:lnTo>
                    <a:pt x="201024" y="14989"/>
                  </a:lnTo>
                  <a:lnTo>
                    <a:pt x="158852" y="32817"/>
                  </a:lnTo>
                  <a:lnTo>
                    <a:pt x="120338" y="56727"/>
                  </a:lnTo>
                  <a:lnTo>
                    <a:pt x="86090" y="86113"/>
                  </a:lnTo>
                  <a:lnTo>
                    <a:pt x="56711" y="120371"/>
                  </a:lnTo>
                  <a:lnTo>
                    <a:pt x="32807" y="158894"/>
                  </a:lnTo>
                  <a:lnTo>
                    <a:pt x="14984" y="201078"/>
                  </a:lnTo>
                  <a:lnTo>
                    <a:pt x="3847" y="246317"/>
                  </a:lnTo>
                  <a:lnTo>
                    <a:pt x="0" y="294004"/>
                  </a:lnTo>
                  <a:lnTo>
                    <a:pt x="3847" y="341696"/>
                  </a:lnTo>
                  <a:lnTo>
                    <a:pt x="14984" y="386937"/>
                  </a:lnTo>
                  <a:lnTo>
                    <a:pt x="32807" y="429123"/>
                  </a:lnTo>
                  <a:lnTo>
                    <a:pt x="56711" y="467648"/>
                  </a:lnTo>
                  <a:lnTo>
                    <a:pt x="86090" y="501907"/>
                  </a:lnTo>
                  <a:lnTo>
                    <a:pt x="120338" y="531294"/>
                  </a:lnTo>
                  <a:lnTo>
                    <a:pt x="158852" y="555205"/>
                  </a:lnTo>
                  <a:lnTo>
                    <a:pt x="201024" y="573033"/>
                  </a:lnTo>
                  <a:lnTo>
                    <a:pt x="246252" y="584174"/>
                  </a:lnTo>
                  <a:lnTo>
                    <a:pt x="293928" y="588022"/>
                  </a:lnTo>
                  <a:lnTo>
                    <a:pt x="341605" y="584174"/>
                  </a:lnTo>
                  <a:lnTo>
                    <a:pt x="386832" y="573033"/>
                  </a:lnTo>
                  <a:lnTo>
                    <a:pt x="429005" y="555205"/>
                  </a:lnTo>
                  <a:lnTo>
                    <a:pt x="460915" y="535393"/>
                  </a:lnTo>
                  <a:lnTo>
                    <a:pt x="293928" y="535393"/>
                  </a:lnTo>
                  <a:lnTo>
                    <a:pt x="252873" y="531935"/>
                  </a:lnTo>
                  <a:lnTo>
                    <a:pt x="213571" y="521746"/>
                  </a:lnTo>
                  <a:lnTo>
                    <a:pt x="176690" y="505106"/>
                  </a:lnTo>
                  <a:lnTo>
                    <a:pt x="142900" y="482295"/>
                  </a:lnTo>
                  <a:lnTo>
                    <a:pt x="180100" y="445084"/>
                  </a:lnTo>
                  <a:lnTo>
                    <a:pt x="105702" y="445084"/>
                  </a:lnTo>
                  <a:lnTo>
                    <a:pt x="82896" y="411282"/>
                  </a:lnTo>
                  <a:lnTo>
                    <a:pt x="66255" y="374388"/>
                  </a:lnTo>
                  <a:lnTo>
                    <a:pt x="56063" y="335072"/>
                  </a:lnTo>
                  <a:lnTo>
                    <a:pt x="52603" y="294004"/>
                  </a:lnTo>
                  <a:lnTo>
                    <a:pt x="57238" y="246544"/>
                  </a:lnTo>
                  <a:lnTo>
                    <a:pt x="70854" y="201579"/>
                  </a:lnTo>
                  <a:lnTo>
                    <a:pt x="93017" y="160154"/>
                  </a:lnTo>
                  <a:lnTo>
                    <a:pt x="123291" y="123316"/>
                  </a:lnTo>
                  <a:lnTo>
                    <a:pt x="160117" y="93035"/>
                  </a:lnTo>
                  <a:lnTo>
                    <a:pt x="201528" y="70869"/>
                  </a:lnTo>
                  <a:lnTo>
                    <a:pt x="246480" y="57251"/>
                  </a:lnTo>
                  <a:lnTo>
                    <a:pt x="293928" y="52616"/>
                  </a:lnTo>
                  <a:lnTo>
                    <a:pt x="460896" y="52616"/>
                  </a:lnTo>
                  <a:lnTo>
                    <a:pt x="429005" y="32817"/>
                  </a:lnTo>
                  <a:lnTo>
                    <a:pt x="386832" y="14989"/>
                  </a:lnTo>
                  <a:lnTo>
                    <a:pt x="341605" y="3848"/>
                  </a:lnTo>
                  <a:lnTo>
                    <a:pt x="293928" y="0"/>
                  </a:lnTo>
                  <a:close/>
                </a:path>
                <a:path w="588010" h="588645">
                  <a:moveTo>
                    <a:pt x="545148" y="142938"/>
                  </a:moveTo>
                  <a:lnTo>
                    <a:pt x="482155" y="142938"/>
                  </a:lnTo>
                  <a:lnTo>
                    <a:pt x="504959" y="176740"/>
                  </a:lnTo>
                  <a:lnTo>
                    <a:pt x="521595" y="213633"/>
                  </a:lnTo>
                  <a:lnTo>
                    <a:pt x="531783" y="252945"/>
                  </a:lnTo>
                  <a:lnTo>
                    <a:pt x="535241" y="294004"/>
                  </a:lnTo>
                  <a:lnTo>
                    <a:pt x="530608" y="341465"/>
                  </a:lnTo>
                  <a:lnTo>
                    <a:pt x="516996" y="386430"/>
                  </a:lnTo>
                  <a:lnTo>
                    <a:pt x="494838" y="427855"/>
                  </a:lnTo>
                  <a:lnTo>
                    <a:pt x="464565" y="464692"/>
                  </a:lnTo>
                  <a:lnTo>
                    <a:pt x="427740" y="494974"/>
                  </a:lnTo>
                  <a:lnTo>
                    <a:pt x="386329" y="517140"/>
                  </a:lnTo>
                  <a:lnTo>
                    <a:pt x="341377" y="530758"/>
                  </a:lnTo>
                  <a:lnTo>
                    <a:pt x="293928" y="535393"/>
                  </a:lnTo>
                  <a:lnTo>
                    <a:pt x="460915" y="535393"/>
                  </a:lnTo>
                  <a:lnTo>
                    <a:pt x="501767" y="501907"/>
                  </a:lnTo>
                  <a:lnTo>
                    <a:pt x="531146" y="467648"/>
                  </a:lnTo>
                  <a:lnTo>
                    <a:pt x="555049" y="429123"/>
                  </a:lnTo>
                  <a:lnTo>
                    <a:pt x="572872" y="386937"/>
                  </a:lnTo>
                  <a:lnTo>
                    <a:pt x="584010" y="341696"/>
                  </a:lnTo>
                  <a:lnTo>
                    <a:pt x="587857" y="294004"/>
                  </a:lnTo>
                  <a:lnTo>
                    <a:pt x="584010" y="246317"/>
                  </a:lnTo>
                  <a:lnTo>
                    <a:pt x="572872" y="201078"/>
                  </a:lnTo>
                  <a:lnTo>
                    <a:pt x="555049" y="158894"/>
                  </a:lnTo>
                  <a:lnTo>
                    <a:pt x="545148" y="142938"/>
                  </a:lnTo>
                  <a:close/>
                </a:path>
                <a:path w="588010" h="588645">
                  <a:moveTo>
                    <a:pt x="460896" y="52616"/>
                  </a:moveTo>
                  <a:lnTo>
                    <a:pt x="293928" y="52616"/>
                  </a:lnTo>
                  <a:lnTo>
                    <a:pt x="334984" y="56076"/>
                  </a:lnTo>
                  <a:lnTo>
                    <a:pt x="374286" y="66270"/>
                  </a:lnTo>
                  <a:lnTo>
                    <a:pt x="411166" y="82914"/>
                  </a:lnTo>
                  <a:lnTo>
                    <a:pt x="444957" y="105727"/>
                  </a:lnTo>
                  <a:lnTo>
                    <a:pt x="105702" y="445084"/>
                  </a:lnTo>
                  <a:lnTo>
                    <a:pt x="180100" y="445084"/>
                  </a:lnTo>
                  <a:lnTo>
                    <a:pt x="482155" y="142938"/>
                  </a:lnTo>
                  <a:lnTo>
                    <a:pt x="545148" y="142938"/>
                  </a:lnTo>
                  <a:lnTo>
                    <a:pt x="531146" y="120371"/>
                  </a:lnTo>
                  <a:lnTo>
                    <a:pt x="501767" y="86113"/>
                  </a:lnTo>
                  <a:lnTo>
                    <a:pt x="467518" y="56727"/>
                  </a:lnTo>
                  <a:lnTo>
                    <a:pt x="460896" y="52616"/>
                  </a:lnTo>
                  <a:close/>
                </a:path>
              </a:pathLst>
            </a:custGeom>
            <a:solidFill>
              <a:srgbClr val="FFA40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2" name="object 10">
              <a:extLst>
                <a:ext uri="{FF2B5EF4-FFF2-40B4-BE49-F238E27FC236}">
                  <a16:creationId xmlns:a16="http://schemas.microsoft.com/office/drawing/2014/main" id="{1779C108-D76F-4875-ACC6-907F7BDFCAC6}"/>
                </a:ext>
              </a:extLst>
            </p:cNvPr>
            <p:cNvSpPr/>
            <p:nvPr/>
          </p:nvSpPr>
          <p:spPr>
            <a:xfrm>
              <a:off x="918518" y="4270244"/>
              <a:ext cx="723265" cy="951230"/>
            </a:xfrm>
            <a:custGeom>
              <a:avLst/>
              <a:gdLst/>
              <a:ahLst/>
              <a:cxnLst/>
              <a:rect l="l" t="t" r="r" b="b"/>
              <a:pathLst>
                <a:path w="723264" h="951229">
                  <a:moveTo>
                    <a:pt x="394137" y="0"/>
                  </a:moveTo>
                  <a:lnTo>
                    <a:pt x="360387" y="6833"/>
                  </a:lnTo>
                  <a:lnTo>
                    <a:pt x="332796" y="25458"/>
                  </a:lnTo>
                  <a:lnTo>
                    <a:pt x="314177" y="53058"/>
                  </a:lnTo>
                  <a:lnTo>
                    <a:pt x="307345" y="86817"/>
                  </a:lnTo>
                  <a:lnTo>
                    <a:pt x="307345" y="89115"/>
                  </a:lnTo>
                  <a:lnTo>
                    <a:pt x="299285" y="86118"/>
                  </a:lnTo>
                  <a:lnTo>
                    <a:pt x="290871" y="83920"/>
                  </a:lnTo>
                  <a:lnTo>
                    <a:pt x="282151" y="82566"/>
                  </a:lnTo>
                  <a:lnTo>
                    <a:pt x="273169" y="82105"/>
                  </a:lnTo>
                  <a:lnTo>
                    <a:pt x="239422" y="88937"/>
                  </a:lnTo>
                  <a:lnTo>
                    <a:pt x="211835" y="107557"/>
                  </a:lnTo>
                  <a:lnTo>
                    <a:pt x="193220" y="135153"/>
                  </a:lnTo>
                  <a:lnTo>
                    <a:pt x="186390" y="168910"/>
                  </a:lnTo>
                  <a:lnTo>
                    <a:pt x="186390" y="479094"/>
                  </a:lnTo>
                  <a:lnTo>
                    <a:pt x="161371" y="434314"/>
                  </a:lnTo>
                  <a:lnTo>
                    <a:pt x="124665" y="399787"/>
                  </a:lnTo>
                  <a:lnTo>
                    <a:pt x="91702" y="390954"/>
                  </a:lnTo>
                  <a:lnTo>
                    <a:pt x="74817" y="391499"/>
                  </a:lnTo>
                  <a:lnTo>
                    <a:pt x="16942" y="425228"/>
                  </a:lnTo>
                  <a:lnTo>
                    <a:pt x="0" y="488307"/>
                  </a:lnTo>
                  <a:lnTo>
                    <a:pt x="10914" y="520877"/>
                  </a:lnTo>
                  <a:lnTo>
                    <a:pt x="182377" y="822210"/>
                  </a:lnTo>
                  <a:lnTo>
                    <a:pt x="209428" y="860456"/>
                  </a:lnTo>
                  <a:lnTo>
                    <a:pt x="259181" y="909142"/>
                  </a:lnTo>
                  <a:lnTo>
                    <a:pt x="297458" y="931960"/>
                  </a:lnTo>
                  <a:lnTo>
                    <a:pt x="339707" y="946116"/>
                  </a:lnTo>
                  <a:lnTo>
                    <a:pt x="384561" y="950976"/>
                  </a:lnTo>
                  <a:lnTo>
                    <a:pt x="472788" y="950976"/>
                  </a:lnTo>
                  <a:lnTo>
                    <a:pt x="455324" y="939293"/>
                  </a:lnTo>
                  <a:lnTo>
                    <a:pt x="438625" y="926601"/>
                  </a:lnTo>
                  <a:lnTo>
                    <a:pt x="422735" y="912942"/>
                  </a:lnTo>
                  <a:lnTo>
                    <a:pt x="407700" y="898359"/>
                  </a:lnTo>
                  <a:lnTo>
                    <a:pt x="384561" y="898359"/>
                  </a:lnTo>
                  <a:lnTo>
                    <a:pt x="319029" y="883954"/>
                  </a:lnTo>
                  <a:lnTo>
                    <a:pt x="264076" y="841705"/>
                  </a:lnTo>
                  <a:lnTo>
                    <a:pt x="234453" y="806441"/>
                  </a:lnTo>
                  <a:lnTo>
                    <a:pt x="56545" y="494703"/>
                  </a:lnTo>
                  <a:lnTo>
                    <a:pt x="52229" y="481846"/>
                  </a:lnTo>
                  <a:lnTo>
                    <a:pt x="53146" y="468768"/>
                  </a:lnTo>
                  <a:lnTo>
                    <a:pt x="88336" y="443483"/>
                  </a:lnTo>
                  <a:lnTo>
                    <a:pt x="95001" y="444588"/>
                  </a:lnTo>
                  <a:lnTo>
                    <a:pt x="192829" y="597357"/>
                  </a:lnTo>
                  <a:lnTo>
                    <a:pt x="202252" y="604253"/>
                  </a:lnTo>
                  <a:lnTo>
                    <a:pt x="214775" y="606336"/>
                  </a:lnTo>
                  <a:lnTo>
                    <a:pt x="222153" y="604659"/>
                  </a:lnTo>
                  <a:lnTo>
                    <a:pt x="235993" y="599979"/>
                  </a:lnTo>
                  <a:lnTo>
                    <a:pt x="250068" y="596652"/>
                  </a:lnTo>
                  <a:lnTo>
                    <a:pt x="264428" y="594648"/>
                  </a:lnTo>
                  <a:lnTo>
                    <a:pt x="279024" y="593979"/>
                  </a:lnTo>
                  <a:lnTo>
                    <a:pt x="288099" y="594251"/>
                  </a:lnTo>
                  <a:lnTo>
                    <a:pt x="297064" y="595055"/>
                  </a:lnTo>
                  <a:lnTo>
                    <a:pt x="305906" y="596368"/>
                  </a:lnTo>
                  <a:lnTo>
                    <a:pt x="314609" y="598170"/>
                  </a:lnTo>
                  <a:lnTo>
                    <a:pt x="317111" y="585103"/>
                  </a:lnTo>
                  <a:lnTo>
                    <a:pt x="320096" y="572215"/>
                  </a:lnTo>
                  <a:lnTo>
                    <a:pt x="323557" y="559516"/>
                  </a:lnTo>
                  <a:lnTo>
                    <a:pt x="327487" y="547014"/>
                  </a:lnTo>
                  <a:lnTo>
                    <a:pt x="315612" y="544561"/>
                  </a:lnTo>
                  <a:lnTo>
                    <a:pt x="303565" y="542793"/>
                  </a:lnTo>
                  <a:lnTo>
                    <a:pt x="291363" y="541722"/>
                  </a:lnTo>
                  <a:lnTo>
                    <a:pt x="279024" y="541362"/>
                  </a:lnTo>
                  <a:lnTo>
                    <a:pt x="268895" y="541607"/>
                  </a:lnTo>
                  <a:lnTo>
                    <a:pt x="258842" y="542336"/>
                  </a:lnTo>
                  <a:lnTo>
                    <a:pt x="248872" y="543543"/>
                  </a:lnTo>
                  <a:lnTo>
                    <a:pt x="238993" y="545223"/>
                  </a:lnTo>
                  <a:lnTo>
                    <a:pt x="238993" y="168910"/>
                  </a:lnTo>
                  <a:lnTo>
                    <a:pt x="241683" y="155617"/>
                  </a:lnTo>
                  <a:lnTo>
                    <a:pt x="249014" y="144748"/>
                  </a:lnTo>
                  <a:lnTo>
                    <a:pt x="259878" y="137413"/>
                  </a:lnTo>
                  <a:lnTo>
                    <a:pt x="273169" y="134721"/>
                  </a:lnTo>
                  <a:lnTo>
                    <a:pt x="286460" y="137413"/>
                  </a:lnTo>
                  <a:lnTo>
                    <a:pt x="297325" y="144748"/>
                  </a:lnTo>
                  <a:lnTo>
                    <a:pt x="304655" y="155617"/>
                  </a:lnTo>
                  <a:lnTo>
                    <a:pt x="307345" y="168910"/>
                  </a:lnTo>
                  <a:lnTo>
                    <a:pt x="307345" y="440550"/>
                  </a:lnTo>
                  <a:lnTo>
                    <a:pt x="309413" y="450791"/>
                  </a:lnTo>
                  <a:lnTo>
                    <a:pt x="315052" y="459155"/>
                  </a:lnTo>
                  <a:lnTo>
                    <a:pt x="323413" y="464796"/>
                  </a:lnTo>
                  <a:lnTo>
                    <a:pt x="333647" y="466864"/>
                  </a:lnTo>
                  <a:lnTo>
                    <a:pt x="343888" y="464796"/>
                  </a:lnTo>
                  <a:lnTo>
                    <a:pt x="352252" y="459155"/>
                  </a:lnTo>
                  <a:lnTo>
                    <a:pt x="357892" y="450791"/>
                  </a:lnTo>
                  <a:lnTo>
                    <a:pt x="359961" y="440550"/>
                  </a:lnTo>
                  <a:lnTo>
                    <a:pt x="359961" y="86817"/>
                  </a:lnTo>
                  <a:lnTo>
                    <a:pt x="362651" y="73518"/>
                  </a:lnTo>
                  <a:lnTo>
                    <a:pt x="369981" y="62650"/>
                  </a:lnTo>
                  <a:lnTo>
                    <a:pt x="380846" y="55318"/>
                  </a:lnTo>
                  <a:lnTo>
                    <a:pt x="394137" y="52628"/>
                  </a:lnTo>
                  <a:lnTo>
                    <a:pt x="407428" y="55318"/>
                  </a:lnTo>
                  <a:lnTo>
                    <a:pt x="418292" y="62650"/>
                  </a:lnTo>
                  <a:lnTo>
                    <a:pt x="425623" y="73518"/>
                  </a:lnTo>
                  <a:lnTo>
                    <a:pt x="428312" y="86817"/>
                  </a:lnTo>
                  <a:lnTo>
                    <a:pt x="428312" y="396011"/>
                  </a:lnTo>
                  <a:lnTo>
                    <a:pt x="440763" y="385620"/>
                  </a:lnTo>
                  <a:lnTo>
                    <a:pt x="453695" y="375813"/>
                  </a:lnTo>
                  <a:lnTo>
                    <a:pt x="467087" y="366609"/>
                  </a:lnTo>
                  <a:lnTo>
                    <a:pt x="480916" y="358025"/>
                  </a:lnTo>
                  <a:lnTo>
                    <a:pt x="480916" y="168910"/>
                  </a:lnTo>
                  <a:lnTo>
                    <a:pt x="483607" y="155617"/>
                  </a:lnTo>
                  <a:lnTo>
                    <a:pt x="490941" y="144748"/>
                  </a:lnTo>
                  <a:lnTo>
                    <a:pt x="501806" y="137413"/>
                  </a:lnTo>
                  <a:lnTo>
                    <a:pt x="515091" y="134721"/>
                  </a:lnTo>
                  <a:lnTo>
                    <a:pt x="528384" y="137413"/>
                  </a:lnTo>
                  <a:lnTo>
                    <a:pt x="539253" y="144748"/>
                  </a:lnTo>
                  <a:lnTo>
                    <a:pt x="546588" y="155617"/>
                  </a:lnTo>
                  <a:lnTo>
                    <a:pt x="549280" y="168910"/>
                  </a:lnTo>
                  <a:lnTo>
                    <a:pt x="549280" y="327228"/>
                  </a:lnTo>
                  <a:lnTo>
                    <a:pt x="562137" y="323325"/>
                  </a:lnTo>
                  <a:lnTo>
                    <a:pt x="575196" y="319911"/>
                  </a:lnTo>
                  <a:lnTo>
                    <a:pt x="588447" y="317000"/>
                  </a:lnTo>
                  <a:lnTo>
                    <a:pt x="601883" y="314604"/>
                  </a:lnTo>
                  <a:lnTo>
                    <a:pt x="601883" y="312432"/>
                  </a:lnTo>
                  <a:lnTo>
                    <a:pt x="604573" y="299139"/>
                  </a:lnTo>
                  <a:lnTo>
                    <a:pt x="611904" y="288270"/>
                  </a:lnTo>
                  <a:lnTo>
                    <a:pt x="622768" y="280935"/>
                  </a:lnTo>
                  <a:lnTo>
                    <a:pt x="636059" y="278244"/>
                  </a:lnTo>
                  <a:lnTo>
                    <a:pt x="648952" y="280773"/>
                  </a:lnTo>
                  <a:lnTo>
                    <a:pt x="659594" y="287689"/>
                  </a:lnTo>
                  <a:lnTo>
                    <a:pt x="666990" y="297982"/>
                  </a:lnTo>
                  <a:lnTo>
                    <a:pt x="670146" y="310642"/>
                  </a:lnTo>
                  <a:lnTo>
                    <a:pt x="683539" y="311438"/>
                  </a:lnTo>
                  <a:lnTo>
                    <a:pt x="696794" y="312737"/>
                  </a:lnTo>
                  <a:lnTo>
                    <a:pt x="709901" y="314531"/>
                  </a:lnTo>
                  <a:lnTo>
                    <a:pt x="722851" y="316814"/>
                  </a:lnTo>
                  <a:lnTo>
                    <a:pt x="722851" y="312432"/>
                  </a:lnTo>
                  <a:lnTo>
                    <a:pt x="716019" y="278675"/>
                  </a:lnTo>
                  <a:lnTo>
                    <a:pt x="697400" y="251080"/>
                  </a:lnTo>
                  <a:lnTo>
                    <a:pt x="669808" y="232460"/>
                  </a:lnTo>
                  <a:lnTo>
                    <a:pt x="636059" y="225628"/>
                  </a:lnTo>
                  <a:lnTo>
                    <a:pt x="627077" y="226089"/>
                  </a:lnTo>
                  <a:lnTo>
                    <a:pt x="618357" y="227442"/>
                  </a:lnTo>
                  <a:lnTo>
                    <a:pt x="609943" y="229641"/>
                  </a:lnTo>
                  <a:lnTo>
                    <a:pt x="601883" y="232638"/>
                  </a:lnTo>
                  <a:lnTo>
                    <a:pt x="601883" y="168910"/>
                  </a:lnTo>
                  <a:lnTo>
                    <a:pt x="595051" y="135153"/>
                  </a:lnTo>
                  <a:lnTo>
                    <a:pt x="576432" y="107557"/>
                  </a:lnTo>
                  <a:lnTo>
                    <a:pt x="548841" y="88937"/>
                  </a:lnTo>
                  <a:lnTo>
                    <a:pt x="515091" y="82105"/>
                  </a:lnTo>
                  <a:lnTo>
                    <a:pt x="506112" y="82566"/>
                  </a:lnTo>
                  <a:lnTo>
                    <a:pt x="497394" y="83920"/>
                  </a:lnTo>
                  <a:lnTo>
                    <a:pt x="488981" y="86118"/>
                  </a:lnTo>
                  <a:lnTo>
                    <a:pt x="480916" y="89115"/>
                  </a:lnTo>
                  <a:lnTo>
                    <a:pt x="480916" y="86817"/>
                  </a:lnTo>
                  <a:lnTo>
                    <a:pt x="474086" y="53058"/>
                  </a:lnTo>
                  <a:lnTo>
                    <a:pt x="455471" y="25458"/>
                  </a:lnTo>
                  <a:lnTo>
                    <a:pt x="427884" y="6833"/>
                  </a:lnTo>
                  <a:lnTo>
                    <a:pt x="394137" y="0"/>
                  </a:lnTo>
                  <a:close/>
                </a:path>
              </a:pathLst>
            </a:custGeom>
            <a:solidFill>
              <a:srgbClr val="0077C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grpSp>
        <p:nvGrpSpPr>
          <p:cNvPr id="13" name="object 11">
            <a:extLst>
              <a:ext uri="{FF2B5EF4-FFF2-40B4-BE49-F238E27FC236}">
                <a16:creationId xmlns:a16="http://schemas.microsoft.com/office/drawing/2014/main" id="{341CD7D1-184F-4264-9775-C10BDA746BD7}"/>
              </a:ext>
            </a:extLst>
          </p:cNvPr>
          <p:cNvGrpSpPr/>
          <p:nvPr/>
        </p:nvGrpSpPr>
        <p:grpSpPr>
          <a:xfrm>
            <a:off x="3716067" y="2710184"/>
            <a:ext cx="911225" cy="951230"/>
            <a:chOff x="3375508" y="4270250"/>
            <a:chExt cx="911225" cy="951230"/>
          </a:xfrm>
        </p:grpSpPr>
        <p:sp>
          <p:nvSpPr>
            <p:cNvPr id="14" name="object 12">
              <a:extLst>
                <a:ext uri="{FF2B5EF4-FFF2-40B4-BE49-F238E27FC236}">
                  <a16:creationId xmlns:a16="http://schemas.microsoft.com/office/drawing/2014/main" id="{86765EA4-B87E-4ABB-8411-9369C7812C0D}"/>
                </a:ext>
              </a:extLst>
            </p:cNvPr>
            <p:cNvSpPr/>
            <p:nvPr/>
          </p:nvSpPr>
          <p:spPr>
            <a:xfrm>
              <a:off x="3375507" y="4270260"/>
              <a:ext cx="748665" cy="951230"/>
            </a:xfrm>
            <a:custGeom>
              <a:avLst/>
              <a:gdLst/>
              <a:ahLst/>
              <a:cxnLst/>
              <a:rect l="l" t="t" r="r" b="b"/>
              <a:pathLst>
                <a:path w="748664" h="951229">
                  <a:moveTo>
                    <a:pt x="558876" y="179171"/>
                  </a:moveTo>
                  <a:lnTo>
                    <a:pt x="552450" y="131533"/>
                  </a:lnTo>
                  <a:lnTo>
                    <a:pt x="534314" y="88734"/>
                  </a:lnTo>
                  <a:lnTo>
                    <a:pt x="506310" y="52616"/>
                  </a:lnTo>
                  <a:lnTo>
                    <a:pt x="506196" y="52463"/>
                  </a:lnTo>
                  <a:lnTo>
                    <a:pt x="506171" y="179171"/>
                  </a:lnTo>
                  <a:lnTo>
                    <a:pt x="496163" y="228384"/>
                  </a:lnTo>
                  <a:lnTo>
                    <a:pt x="468884" y="268605"/>
                  </a:lnTo>
                  <a:lnTo>
                    <a:pt x="428459" y="295757"/>
                  </a:lnTo>
                  <a:lnTo>
                    <a:pt x="379018" y="305727"/>
                  </a:lnTo>
                  <a:lnTo>
                    <a:pt x="329577" y="295757"/>
                  </a:lnTo>
                  <a:lnTo>
                    <a:pt x="289153" y="268605"/>
                  </a:lnTo>
                  <a:lnTo>
                    <a:pt x="261886" y="228384"/>
                  </a:lnTo>
                  <a:lnTo>
                    <a:pt x="251879" y="179171"/>
                  </a:lnTo>
                  <a:lnTo>
                    <a:pt x="261886" y="129946"/>
                  </a:lnTo>
                  <a:lnTo>
                    <a:pt x="289153" y="89725"/>
                  </a:lnTo>
                  <a:lnTo>
                    <a:pt x="329577" y="62572"/>
                  </a:lnTo>
                  <a:lnTo>
                    <a:pt x="379018" y="52616"/>
                  </a:lnTo>
                  <a:lnTo>
                    <a:pt x="428459" y="62572"/>
                  </a:lnTo>
                  <a:lnTo>
                    <a:pt x="468884" y="89725"/>
                  </a:lnTo>
                  <a:lnTo>
                    <a:pt x="496163" y="129946"/>
                  </a:lnTo>
                  <a:lnTo>
                    <a:pt x="506171" y="179171"/>
                  </a:lnTo>
                  <a:lnTo>
                    <a:pt x="506171" y="52451"/>
                  </a:lnTo>
                  <a:lnTo>
                    <a:pt x="469798" y="24460"/>
                  </a:lnTo>
                  <a:lnTo>
                    <a:pt x="426834" y="6400"/>
                  </a:lnTo>
                  <a:lnTo>
                    <a:pt x="379018" y="0"/>
                  </a:lnTo>
                  <a:lnTo>
                    <a:pt x="331203" y="6400"/>
                  </a:lnTo>
                  <a:lnTo>
                    <a:pt x="288251" y="24460"/>
                  </a:lnTo>
                  <a:lnTo>
                    <a:pt x="251853" y="52463"/>
                  </a:lnTo>
                  <a:lnTo>
                    <a:pt x="223723" y="88734"/>
                  </a:lnTo>
                  <a:lnTo>
                    <a:pt x="205600" y="131533"/>
                  </a:lnTo>
                  <a:lnTo>
                    <a:pt x="199174" y="179171"/>
                  </a:lnTo>
                  <a:lnTo>
                    <a:pt x="205600" y="226796"/>
                  </a:lnTo>
                  <a:lnTo>
                    <a:pt x="223723" y="269595"/>
                  </a:lnTo>
                  <a:lnTo>
                    <a:pt x="251853" y="305854"/>
                  </a:lnTo>
                  <a:lnTo>
                    <a:pt x="288251" y="333870"/>
                  </a:lnTo>
                  <a:lnTo>
                    <a:pt x="331203" y="351942"/>
                  </a:lnTo>
                  <a:lnTo>
                    <a:pt x="379018" y="358343"/>
                  </a:lnTo>
                  <a:lnTo>
                    <a:pt x="426834" y="351942"/>
                  </a:lnTo>
                  <a:lnTo>
                    <a:pt x="469798" y="333870"/>
                  </a:lnTo>
                  <a:lnTo>
                    <a:pt x="506196" y="305854"/>
                  </a:lnTo>
                  <a:lnTo>
                    <a:pt x="534314" y="269595"/>
                  </a:lnTo>
                  <a:lnTo>
                    <a:pt x="552450" y="226796"/>
                  </a:lnTo>
                  <a:lnTo>
                    <a:pt x="558876" y="179171"/>
                  </a:lnTo>
                  <a:close/>
                </a:path>
                <a:path w="748664" h="951229">
                  <a:moveTo>
                    <a:pt x="748169" y="881799"/>
                  </a:moveTo>
                  <a:lnTo>
                    <a:pt x="734809" y="884516"/>
                  </a:lnTo>
                  <a:lnTo>
                    <a:pt x="721194" y="886498"/>
                  </a:lnTo>
                  <a:lnTo>
                    <a:pt x="707377" y="887755"/>
                  </a:lnTo>
                  <a:lnTo>
                    <a:pt x="693356" y="888250"/>
                  </a:lnTo>
                  <a:lnTo>
                    <a:pt x="691324" y="898347"/>
                  </a:lnTo>
                  <a:lnTo>
                    <a:pt x="66865" y="898347"/>
                  </a:lnTo>
                  <a:lnTo>
                    <a:pt x="60680" y="865276"/>
                  </a:lnTo>
                  <a:lnTo>
                    <a:pt x="56248" y="831951"/>
                  </a:lnTo>
                  <a:lnTo>
                    <a:pt x="53594" y="798436"/>
                  </a:lnTo>
                  <a:lnTo>
                    <a:pt x="52705" y="764794"/>
                  </a:lnTo>
                  <a:lnTo>
                    <a:pt x="54483" y="717169"/>
                  </a:lnTo>
                  <a:lnTo>
                    <a:pt x="59842" y="670179"/>
                  </a:lnTo>
                  <a:lnTo>
                    <a:pt x="68757" y="623912"/>
                  </a:lnTo>
                  <a:lnTo>
                    <a:pt x="81191" y="578421"/>
                  </a:lnTo>
                  <a:lnTo>
                    <a:pt x="97155" y="533806"/>
                  </a:lnTo>
                  <a:lnTo>
                    <a:pt x="120586" y="481634"/>
                  </a:lnTo>
                  <a:lnTo>
                    <a:pt x="151980" y="442925"/>
                  </a:lnTo>
                  <a:lnTo>
                    <a:pt x="191681" y="420903"/>
                  </a:lnTo>
                  <a:lnTo>
                    <a:pt x="218643" y="414197"/>
                  </a:lnTo>
                  <a:lnTo>
                    <a:pt x="253136" y="439915"/>
                  </a:lnTo>
                  <a:lnTo>
                    <a:pt x="291985" y="458838"/>
                  </a:lnTo>
                  <a:lnTo>
                    <a:pt x="334175" y="470522"/>
                  </a:lnTo>
                  <a:lnTo>
                    <a:pt x="379501" y="474510"/>
                  </a:lnTo>
                  <a:lnTo>
                    <a:pt x="424002" y="470522"/>
                  </a:lnTo>
                  <a:lnTo>
                    <a:pt x="466191" y="458838"/>
                  </a:lnTo>
                  <a:lnTo>
                    <a:pt x="505040" y="439915"/>
                  </a:lnTo>
                  <a:lnTo>
                    <a:pt x="539559" y="414197"/>
                  </a:lnTo>
                  <a:lnTo>
                    <a:pt x="546176" y="415328"/>
                  </a:lnTo>
                  <a:lnTo>
                    <a:pt x="552716" y="416775"/>
                  </a:lnTo>
                  <a:lnTo>
                    <a:pt x="559168" y="418528"/>
                  </a:lnTo>
                  <a:lnTo>
                    <a:pt x="565543" y="420573"/>
                  </a:lnTo>
                  <a:lnTo>
                    <a:pt x="580644" y="412483"/>
                  </a:lnTo>
                  <a:lnTo>
                    <a:pt x="596328" y="405422"/>
                  </a:lnTo>
                  <a:lnTo>
                    <a:pt x="612571" y="399415"/>
                  </a:lnTo>
                  <a:lnTo>
                    <a:pt x="629323" y="394525"/>
                  </a:lnTo>
                  <a:lnTo>
                    <a:pt x="604735" y="380022"/>
                  </a:lnTo>
                  <a:lnTo>
                    <a:pt x="577799" y="369201"/>
                  </a:lnTo>
                  <a:lnTo>
                    <a:pt x="549021" y="362432"/>
                  </a:lnTo>
                  <a:lnTo>
                    <a:pt x="518934" y="360083"/>
                  </a:lnTo>
                  <a:lnTo>
                    <a:pt x="491210" y="385775"/>
                  </a:lnTo>
                  <a:lnTo>
                    <a:pt x="457962" y="405244"/>
                  </a:lnTo>
                  <a:lnTo>
                    <a:pt x="420331" y="417576"/>
                  </a:lnTo>
                  <a:lnTo>
                    <a:pt x="378701" y="421894"/>
                  </a:lnTo>
                  <a:lnTo>
                    <a:pt x="337845" y="417576"/>
                  </a:lnTo>
                  <a:lnTo>
                    <a:pt x="300228" y="405244"/>
                  </a:lnTo>
                  <a:lnTo>
                    <a:pt x="266979" y="385775"/>
                  </a:lnTo>
                  <a:lnTo>
                    <a:pt x="239268" y="360083"/>
                  </a:lnTo>
                  <a:lnTo>
                    <a:pt x="186588" y="367347"/>
                  </a:lnTo>
                  <a:lnTo>
                    <a:pt x="139369" y="387718"/>
                  </a:lnTo>
                  <a:lnTo>
                    <a:pt x="100507" y="419036"/>
                  </a:lnTo>
                  <a:lnTo>
                    <a:pt x="72923" y="459168"/>
                  </a:lnTo>
                  <a:lnTo>
                    <a:pt x="48717" y="513080"/>
                  </a:lnTo>
                  <a:lnTo>
                    <a:pt x="31559" y="560806"/>
                  </a:lnTo>
                  <a:lnTo>
                    <a:pt x="17957" y="609968"/>
                  </a:lnTo>
                  <a:lnTo>
                    <a:pt x="8077" y="660438"/>
                  </a:lnTo>
                  <a:lnTo>
                    <a:pt x="2044" y="712101"/>
                  </a:lnTo>
                  <a:lnTo>
                    <a:pt x="0" y="764794"/>
                  </a:lnTo>
                  <a:lnTo>
                    <a:pt x="1651" y="812368"/>
                  </a:lnTo>
                  <a:lnTo>
                    <a:pt x="6540" y="859409"/>
                  </a:lnTo>
                  <a:lnTo>
                    <a:pt x="14554" y="905687"/>
                  </a:lnTo>
                  <a:lnTo>
                    <a:pt x="25615" y="950963"/>
                  </a:lnTo>
                  <a:lnTo>
                    <a:pt x="732586" y="950963"/>
                  </a:lnTo>
                  <a:lnTo>
                    <a:pt x="737120" y="933907"/>
                  </a:lnTo>
                  <a:lnTo>
                    <a:pt x="741235" y="916686"/>
                  </a:lnTo>
                  <a:lnTo>
                    <a:pt x="744918" y="899312"/>
                  </a:lnTo>
                  <a:lnTo>
                    <a:pt x="748169" y="881799"/>
                  </a:lnTo>
                  <a:close/>
                </a:path>
              </a:pathLst>
            </a:custGeom>
            <a:solidFill>
              <a:srgbClr val="0077C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5" name="object 13">
              <a:extLst>
                <a:ext uri="{FF2B5EF4-FFF2-40B4-BE49-F238E27FC236}">
                  <a16:creationId xmlns:a16="http://schemas.microsoft.com/office/drawing/2014/main" id="{6C4FF78F-6631-4357-8F26-CE532CE591E4}"/>
                </a:ext>
              </a:extLst>
            </p:cNvPr>
            <p:cNvSpPr/>
            <p:nvPr/>
          </p:nvSpPr>
          <p:spPr>
            <a:xfrm>
              <a:off x="3847460" y="4688732"/>
              <a:ext cx="438784" cy="438150"/>
            </a:xfrm>
            <a:custGeom>
              <a:avLst/>
              <a:gdLst/>
              <a:ahLst/>
              <a:cxnLst/>
              <a:rect l="l" t="t" r="r" b="b"/>
              <a:pathLst>
                <a:path w="438785" h="438150">
                  <a:moveTo>
                    <a:pt x="219392" y="0"/>
                  </a:moveTo>
                  <a:lnTo>
                    <a:pt x="169150" y="5795"/>
                  </a:lnTo>
                  <a:lnTo>
                    <a:pt x="122996" y="22297"/>
                  </a:lnTo>
                  <a:lnTo>
                    <a:pt x="82257" y="48181"/>
                  </a:lnTo>
                  <a:lnTo>
                    <a:pt x="48260" y="82124"/>
                  </a:lnTo>
                  <a:lnTo>
                    <a:pt x="22334" y="122799"/>
                  </a:lnTo>
                  <a:lnTo>
                    <a:pt x="5804" y="168882"/>
                  </a:lnTo>
                  <a:lnTo>
                    <a:pt x="0" y="219049"/>
                  </a:lnTo>
                  <a:lnTo>
                    <a:pt x="5804" y="269212"/>
                  </a:lnTo>
                  <a:lnTo>
                    <a:pt x="22334" y="315294"/>
                  </a:lnTo>
                  <a:lnTo>
                    <a:pt x="48260" y="355969"/>
                  </a:lnTo>
                  <a:lnTo>
                    <a:pt x="82257" y="389913"/>
                  </a:lnTo>
                  <a:lnTo>
                    <a:pt x="122996" y="415799"/>
                  </a:lnTo>
                  <a:lnTo>
                    <a:pt x="169150" y="432303"/>
                  </a:lnTo>
                  <a:lnTo>
                    <a:pt x="219392" y="438099"/>
                  </a:lnTo>
                  <a:lnTo>
                    <a:pt x="269638" y="432303"/>
                  </a:lnTo>
                  <a:lnTo>
                    <a:pt x="315794" y="415799"/>
                  </a:lnTo>
                  <a:lnTo>
                    <a:pt x="337701" y="401878"/>
                  </a:lnTo>
                  <a:lnTo>
                    <a:pt x="219392" y="401878"/>
                  </a:lnTo>
                  <a:lnTo>
                    <a:pt x="170770" y="395336"/>
                  </a:lnTo>
                  <a:lnTo>
                    <a:pt x="127043" y="376881"/>
                  </a:lnTo>
                  <a:lnTo>
                    <a:pt x="89969" y="348268"/>
                  </a:lnTo>
                  <a:lnTo>
                    <a:pt x="61310" y="311255"/>
                  </a:lnTo>
                  <a:lnTo>
                    <a:pt x="42824" y="267596"/>
                  </a:lnTo>
                  <a:lnTo>
                    <a:pt x="36271" y="219049"/>
                  </a:lnTo>
                  <a:lnTo>
                    <a:pt x="42824" y="170502"/>
                  </a:lnTo>
                  <a:lnTo>
                    <a:pt x="61310" y="126843"/>
                  </a:lnTo>
                  <a:lnTo>
                    <a:pt x="89969" y="89830"/>
                  </a:lnTo>
                  <a:lnTo>
                    <a:pt x="127043" y="61217"/>
                  </a:lnTo>
                  <a:lnTo>
                    <a:pt x="170770" y="42762"/>
                  </a:lnTo>
                  <a:lnTo>
                    <a:pt x="219392" y="36220"/>
                  </a:lnTo>
                  <a:lnTo>
                    <a:pt x="337706" y="36220"/>
                  </a:lnTo>
                  <a:lnTo>
                    <a:pt x="315794" y="22297"/>
                  </a:lnTo>
                  <a:lnTo>
                    <a:pt x="269638" y="5795"/>
                  </a:lnTo>
                  <a:lnTo>
                    <a:pt x="219392" y="0"/>
                  </a:lnTo>
                  <a:close/>
                </a:path>
                <a:path w="438785" h="438150">
                  <a:moveTo>
                    <a:pt x="337706" y="36220"/>
                  </a:moveTo>
                  <a:lnTo>
                    <a:pt x="219392" y="36220"/>
                  </a:lnTo>
                  <a:lnTo>
                    <a:pt x="268014" y="42762"/>
                  </a:lnTo>
                  <a:lnTo>
                    <a:pt x="311741" y="61217"/>
                  </a:lnTo>
                  <a:lnTo>
                    <a:pt x="348815" y="89830"/>
                  </a:lnTo>
                  <a:lnTo>
                    <a:pt x="377474" y="126843"/>
                  </a:lnTo>
                  <a:lnTo>
                    <a:pt x="395960" y="170502"/>
                  </a:lnTo>
                  <a:lnTo>
                    <a:pt x="402513" y="219049"/>
                  </a:lnTo>
                  <a:lnTo>
                    <a:pt x="395960" y="267596"/>
                  </a:lnTo>
                  <a:lnTo>
                    <a:pt x="377474" y="311255"/>
                  </a:lnTo>
                  <a:lnTo>
                    <a:pt x="348815" y="348268"/>
                  </a:lnTo>
                  <a:lnTo>
                    <a:pt x="311741" y="376881"/>
                  </a:lnTo>
                  <a:lnTo>
                    <a:pt x="268014" y="395336"/>
                  </a:lnTo>
                  <a:lnTo>
                    <a:pt x="219392" y="401878"/>
                  </a:lnTo>
                  <a:lnTo>
                    <a:pt x="337701" y="401878"/>
                  </a:lnTo>
                  <a:lnTo>
                    <a:pt x="390528" y="355969"/>
                  </a:lnTo>
                  <a:lnTo>
                    <a:pt x="416452" y="315294"/>
                  </a:lnTo>
                  <a:lnTo>
                    <a:pt x="432980" y="269212"/>
                  </a:lnTo>
                  <a:lnTo>
                    <a:pt x="438784" y="219049"/>
                  </a:lnTo>
                  <a:lnTo>
                    <a:pt x="432980" y="168882"/>
                  </a:lnTo>
                  <a:lnTo>
                    <a:pt x="416452" y="122799"/>
                  </a:lnTo>
                  <a:lnTo>
                    <a:pt x="390528" y="82124"/>
                  </a:lnTo>
                  <a:lnTo>
                    <a:pt x="356532" y="48181"/>
                  </a:lnTo>
                  <a:lnTo>
                    <a:pt x="337706" y="36220"/>
                  </a:lnTo>
                  <a:close/>
                </a:path>
              </a:pathLst>
            </a:custGeom>
            <a:solidFill>
              <a:srgbClr val="FFA40D"/>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pic>
          <p:nvPicPr>
            <p:cNvPr id="16" name="object 14">
              <a:extLst>
                <a:ext uri="{FF2B5EF4-FFF2-40B4-BE49-F238E27FC236}">
                  <a16:creationId xmlns:a16="http://schemas.microsoft.com/office/drawing/2014/main" id="{E4B19EF3-3C7B-4C19-A4DB-0E0D05667309}"/>
                </a:ext>
              </a:extLst>
            </p:cNvPr>
            <p:cNvPicPr/>
            <p:nvPr/>
          </p:nvPicPr>
          <p:blipFill>
            <a:blip r:embed="rId2" cstate="print"/>
            <a:stretch>
              <a:fillRect/>
            </a:stretch>
          </p:blipFill>
          <p:spPr>
            <a:xfrm>
              <a:off x="3978744" y="4777508"/>
              <a:ext cx="106565" cy="151853"/>
            </a:xfrm>
            <a:prstGeom prst="rect">
              <a:avLst/>
            </a:prstGeom>
          </p:spPr>
        </p:pic>
      </p:grpSp>
      <p:sp>
        <p:nvSpPr>
          <p:cNvPr id="18" name="TextBox 17">
            <a:extLst>
              <a:ext uri="{FF2B5EF4-FFF2-40B4-BE49-F238E27FC236}">
                <a16:creationId xmlns:a16="http://schemas.microsoft.com/office/drawing/2014/main" id="{9109FCA3-8940-48E9-A78E-8FF2DC30896F}"/>
              </a:ext>
            </a:extLst>
          </p:cNvPr>
          <p:cNvSpPr txBox="1"/>
          <p:nvPr/>
        </p:nvSpPr>
        <p:spPr>
          <a:xfrm>
            <a:off x="8047166"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3" action="ppaction://hlinksldjump"/>
            <a:extLst>
              <a:ext uri="{FF2B5EF4-FFF2-40B4-BE49-F238E27FC236}">
                <a16:creationId xmlns:a16="http://schemas.microsoft.com/office/drawing/2014/main" id="{9E929A01-695E-44B3-A08E-6AE85381A50F}"/>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4" action="ppaction://hlinksldjump"/>
            <a:extLst>
              <a:ext uri="{FF2B5EF4-FFF2-40B4-BE49-F238E27FC236}">
                <a16:creationId xmlns:a16="http://schemas.microsoft.com/office/drawing/2014/main" id="{5D5DA102-531B-4709-AC79-79CFD3441A69}"/>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5" action="ppaction://hlinksldjump"/>
            <a:extLst>
              <a:ext uri="{FF2B5EF4-FFF2-40B4-BE49-F238E27FC236}">
                <a16:creationId xmlns:a16="http://schemas.microsoft.com/office/drawing/2014/main" id="{6E58FDB0-4673-49BE-B981-F17FC883A3C0}"/>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6" action="ppaction://hlinksldjump"/>
            <a:extLst>
              <a:ext uri="{FF2B5EF4-FFF2-40B4-BE49-F238E27FC236}">
                <a16:creationId xmlns:a16="http://schemas.microsoft.com/office/drawing/2014/main" id="{4EE766B8-E7EF-4C43-82CE-01A0DCD2E5FE}"/>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7" action="ppaction://hlinksldjump"/>
            <a:extLst>
              <a:ext uri="{FF2B5EF4-FFF2-40B4-BE49-F238E27FC236}">
                <a16:creationId xmlns:a16="http://schemas.microsoft.com/office/drawing/2014/main" id="{1DA0D221-C03B-4285-AEAD-C60C293A751C}"/>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8" action="ppaction://hlinksldjump"/>
            <a:extLst>
              <a:ext uri="{FF2B5EF4-FFF2-40B4-BE49-F238E27FC236}">
                <a16:creationId xmlns:a16="http://schemas.microsoft.com/office/drawing/2014/main" id="{E0118D9A-C927-46DA-A0BF-6F2443668DB2}"/>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9" action="ppaction://hlinksldjump"/>
            <a:extLst>
              <a:ext uri="{FF2B5EF4-FFF2-40B4-BE49-F238E27FC236}">
                <a16:creationId xmlns:a16="http://schemas.microsoft.com/office/drawing/2014/main" id="{6329FAD8-A095-4B31-AB00-75194B831E7A}"/>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0" action="ppaction://hlinksldjump"/>
            <a:extLst>
              <a:ext uri="{FF2B5EF4-FFF2-40B4-BE49-F238E27FC236}">
                <a16:creationId xmlns:a16="http://schemas.microsoft.com/office/drawing/2014/main" id="{AA0BD310-6190-4070-BD6C-0CC575DFBC72}"/>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extLst>
              <a:ext uri="{FF2B5EF4-FFF2-40B4-BE49-F238E27FC236}">
                <a16:creationId xmlns:a16="http://schemas.microsoft.com/office/drawing/2014/main" id="{E98C5BF0-D42A-49E4-ADD2-7ED79970CEF3}"/>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1" action="ppaction://hlinksldjump"/>
            <a:extLst>
              <a:ext uri="{FF2B5EF4-FFF2-40B4-BE49-F238E27FC236}">
                <a16:creationId xmlns:a16="http://schemas.microsoft.com/office/drawing/2014/main" id="{B9EE31BD-D65F-4270-B88D-4096E021995B}"/>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12" action="ppaction://hlinksldjump"/>
            <a:extLst>
              <a:ext uri="{FF2B5EF4-FFF2-40B4-BE49-F238E27FC236}">
                <a16:creationId xmlns:a16="http://schemas.microsoft.com/office/drawing/2014/main" id="{C668A907-678B-42F6-8C51-43D3E48E6892}"/>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13" action="ppaction://hlinksldjump"/>
            <a:extLst>
              <a:ext uri="{FF2B5EF4-FFF2-40B4-BE49-F238E27FC236}">
                <a16:creationId xmlns:a16="http://schemas.microsoft.com/office/drawing/2014/main" id="{92EB21C7-1054-48B4-B173-588975FACF15}"/>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14" action="ppaction://hlinksldjump"/>
            <a:extLst>
              <a:ext uri="{FF2B5EF4-FFF2-40B4-BE49-F238E27FC236}">
                <a16:creationId xmlns:a16="http://schemas.microsoft.com/office/drawing/2014/main" id="{4AA1829E-5574-4116-BFB9-BB1A3C815535}"/>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15" action="ppaction://hlinksldjump"/>
            <a:extLst>
              <a:ext uri="{FF2B5EF4-FFF2-40B4-BE49-F238E27FC236}">
                <a16:creationId xmlns:a16="http://schemas.microsoft.com/office/drawing/2014/main" id="{B26D0DD7-2505-46F5-95AE-40E2C5999093}"/>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16" action="ppaction://hlinksldjump"/>
            <a:extLst>
              <a:ext uri="{FF2B5EF4-FFF2-40B4-BE49-F238E27FC236}">
                <a16:creationId xmlns:a16="http://schemas.microsoft.com/office/drawing/2014/main" id="{1E24C50F-179B-4DC5-9F8D-D8832818E0D8}"/>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17" action="ppaction://hlinksldjump"/>
            <a:extLst>
              <a:ext uri="{FF2B5EF4-FFF2-40B4-BE49-F238E27FC236}">
                <a16:creationId xmlns:a16="http://schemas.microsoft.com/office/drawing/2014/main" id="{B29A096F-753A-41FA-A5D2-66218DD71555}"/>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18" action="ppaction://hlinksldjump"/>
            <a:extLst>
              <a:ext uri="{FF2B5EF4-FFF2-40B4-BE49-F238E27FC236}">
                <a16:creationId xmlns:a16="http://schemas.microsoft.com/office/drawing/2014/main" id="{645AF2E8-CD8B-4333-9BAC-9C0A33714F8D}"/>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19" action="ppaction://hlinksldjump"/>
            <a:extLst>
              <a:ext uri="{FF2B5EF4-FFF2-40B4-BE49-F238E27FC236}">
                <a16:creationId xmlns:a16="http://schemas.microsoft.com/office/drawing/2014/main" id="{8D032925-B459-4CF1-9254-2CF21D5DA0F9}"/>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20" action="ppaction://hlinksldjump"/>
            <a:extLst>
              <a:ext uri="{FF2B5EF4-FFF2-40B4-BE49-F238E27FC236}">
                <a16:creationId xmlns:a16="http://schemas.microsoft.com/office/drawing/2014/main" id="{EC456510-6646-49D5-AED3-DC487D77FADB}"/>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21" action="ppaction://hlinksldjump"/>
            <a:extLst>
              <a:ext uri="{FF2B5EF4-FFF2-40B4-BE49-F238E27FC236}">
                <a16:creationId xmlns:a16="http://schemas.microsoft.com/office/drawing/2014/main" id="{93C249CC-6058-4C7A-B7D7-A6E379A4EA11}"/>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22" action="ppaction://hlinksldjump"/>
            <a:extLst>
              <a:ext uri="{FF2B5EF4-FFF2-40B4-BE49-F238E27FC236}">
                <a16:creationId xmlns:a16="http://schemas.microsoft.com/office/drawing/2014/main" id="{4672F659-5406-4634-BD7B-F16DE7C0940B}"/>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23" action="ppaction://hlinksldjump"/>
            <a:extLst>
              <a:ext uri="{FF2B5EF4-FFF2-40B4-BE49-F238E27FC236}">
                <a16:creationId xmlns:a16="http://schemas.microsoft.com/office/drawing/2014/main" id="{9657BB5C-5867-4CA7-B8EA-7A16B50EFC3E}"/>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extLst>
              <a:ext uri="{FF2B5EF4-FFF2-40B4-BE49-F238E27FC236}">
                <a16:creationId xmlns:a16="http://schemas.microsoft.com/office/drawing/2014/main" id="{372CB031-6AA8-4388-8AD2-1CC8C1462A68}"/>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24" action="ppaction://hlinksldjump"/>
            <a:extLst>
              <a:ext uri="{FF2B5EF4-FFF2-40B4-BE49-F238E27FC236}">
                <a16:creationId xmlns:a16="http://schemas.microsoft.com/office/drawing/2014/main" id="{C28C0F69-0CA3-42A3-A447-99762FF9B956}"/>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25" action="ppaction://hlinksldjump"/>
            <a:extLst>
              <a:ext uri="{FF2B5EF4-FFF2-40B4-BE49-F238E27FC236}">
                <a16:creationId xmlns:a16="http://schemas.microsoft.com/office/drawing/2014/main" id="{AF48E144-CA71-4E71-838C-D348B6F48F9B}"/>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26" action="ppaction://hlinksldjump"/>
            <a:extLst>
              <a:ext uri="{FF2B5EF4-FFF2-40B4-BE49-F238E27FC236}">
                <a16:creationId xmlns:a16="http://schemas.microsoft.com/office/drawing/2014/main" id="{8691C365-4AB1-4491-AE94-5D0FE476B9D0}"/>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extLst>
              <a:ext uri="{FF2B5EF4-FFF2-40B4-BE49-F238E27FC236}">
                <a16:creationId xmlns:a16="http://schemas.microsoft.com/office/drawing/2014/main" id="{1FEBA52D-F5A5-48DE-BD67-2E1DB5AA0F5F}"/>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46" name="Table 45">
            <a:extLst>
              <a:ext uri="{FF2B5EF4-FFF2-40B4-BE49-F238E27FC236}">
                <a16:creationId xmlns:a16="http://schemas.microsoft.com/office/drawing/2014/main" id="{A874B2B6-ECBC-4126-B441-F202D9DF5927}"/>
              </a:ext>
            </a:extLst>
          </p:cNvPr>
          <p:cNvGraphicFramePr>
            <a:graphicFrameLocks noGrp="1"/>
          </p:cNvGraphicFramePr>
          <p:nvPr>
            <p:extLst>
              <p:ext uri="{D42A27DB-BD31-4B8C-83A1-F6EECF244321}">
                <p14:modId xmlns:p14="http://schemas.microsoft.com/office/powerpoint/2010/main" val="1043057165"/>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47" name="Rectangle 46">
            <a:hlinkClick r:id="rId3" action="ppaction://hlinksldjump"/>
            <a:extLst>
              <a:ext uri="{FF2B5EF4-FFF2-40B4-BE49-F238E27FC236}">
                <a16:creationId xmlns:a16="http://schemas.microsoft.com/office/drawing/2014/main" id="{A3BD8E8A-1F2A-45E0-9851-052822E6D8AF}"/>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4" action="ppaction://hlinksldjump"/>
            <a:extLst>
              <a:ext uri="{FF2B5EF4-FFF2-40B4-BE49-F238E27FC236}">
                <a16:creationId xmlns:a16="http://schemas.microsoft.com/office/drawing/2014/main" id="{DED591A8-8A89-45A6-8476-7C65E901CE1E}"/>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5" action="ppaction://hlinksldjump"/>
            <a:extLst>
              <a:ext uri="{FF2B5EF4-FFF2-40B4-BE49-F238E27FC236}">
                <a16:creationId xmlns:a16="http://schemas.microsoft.com/office/drawing/2014/main" id="{02747F46-7A18-47B6-8DD5-B637BD6561FA}"/>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6" action="ppaction://hlinksldjump"/>
            <a:extLst>
              <a:ext uri="{FF2B5EF4-FFF2-40B4-BE49-F238E27FC236}">
                <a16:creationId xmlns:a16="http://schemas.microsoft.com/office/drawing/2014/main" id="{DE341B22-D649-4C74-A4F8-77707663AA35}"/>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7" action="ppaction://hlinksldjump"/>
            <a:extLst>
              <a:ext uri="{FF2B5EF4-FFF2-40B4-BE49-F238E27FC236}">
                <a16:creationId xmlns:a16="http://schemas.microsoft.com/office/drawing/2014/main" id="{68195D53-88F9-4736-BB57-DE5D97091CB7}"/>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8" action="ppaction://hlinksldjump"/>
            <a:extLst>
              <a:ext uri="{FF2B5EF4-FFF2-40B4-BE49-F238E27FC236}">
                <a16:creationId xmlns:a16="http://schemas.microsoft.com/office/drawing/2014/main" id="{71438D99-8A23-4FC5-A2CB-AED75313C69A}"/>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9" action="ppaction://hlinksldjump"/>
            <a:extLst>
              <a:ext uri="{FF2B5EF4-FFF2-40B4-BE49-F238E27FC236}">
                <a16:creationId xmlns:a16="http://schemas.microsoft.com/office/drawing/2014/main" id="{E6A35A2D-AC18-4929-869F-7C5A4B8E98B4}"/>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0" action="ppaction://hlinksldjump"/>
            <a:extLst>
              <a:ext uri="{FF2B5EF4-FFF2-40B4-BE49-F238E27FC236}">
                <a16:creationId xmlns:a16="http://schemas.microsoft.com/office/drawing/2014/main" id="{E7156E95-1318-4A71-A60B-662FB4D7D858}"/>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extLst>
              <a:ext uri="{FF2B5EF4-FFF2-40B4-BE49-F238E27FC236}">
                <a16:creationId xmlns:a16="http://schemas.microsoft.com/office/drawing/2014/main" id="{3FE72173-80A2-4157-B252-9D8B435E67FA}"/>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1" action="ppaction://hlinksldjump"/>
            <a:extLst>
              <a:ext uri="{FF2B5EF4-FFF2-40B4-BE49-F238E27FC236}">
                <a16:creationId xmlns:a16="http://schemas.microsoft.com/office/drawing/2014/main" id="{4400235D-EF71-4E70-81C7-57A655A02795}"/>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2" action="ppaction://hlinksldjump"/>
            <a:extLst>
              <a:ext uri="{FF2B5EF4-FFF2-40B4-BE49-F238E27FC236}">
                <a16:creationId xmlns:a16="http://schemas.microsoft.com/office/drawing/2014/main" id="{EFB40CCA-2C84-4D3B-B348-9FACC83694F8}"/>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13" action="ppaction://hlinksldjump"/>
            <a:extLst>
              <a:ext uri="{FF2B5EF4-FFF2-40B4-BE49-F238E27FC236}">
                <a16:creationId xmlns:a16="http://schemas.microsoft.com/office/drawing/2014/main" id="{FFDC091D-2E15-475C-8836-33B554F09878}"/>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14" action="ppaction://hlinksldjump"/>
            <a:extLst>
              <a:ext uri="{FF2B5EF4-FFF2-40B4-BE49-F238E27FC236}">
                <a16:creationId xmlns:a16="http://schemas.microsoft.com/office/drawing/2014/main" id="{27519C40-C36A-4C5E-B259-BEA48317F879}"/>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15" action="ppaction://hlinksldjump"/>
            <a:extLst>
              <a:ext uri="{FF2B5EF4-FFF2-40B4-BE49-F238E27FC236}">
                <a16:creationId xmlns:a16="http://schemas.microsoft.com/office/drawing/2014/main" id="{D4C8BE6F-C0D3-4574-9178-2F8C4985DB43}"/>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16" action="ppaction://hlinksldjump"/>
            <a:extLst>
              <a:ext uri="{FF2B5EF4-FFF2-40B4-BE49-F238E27FC236}">
                <a16:creationId xmlns:a16="http://schemas.microsoft.com/office/drawing/2014/main" id="{AFC9D033-04AF-4EEF-9427-8B3B15008C0F}"/>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17" action="ppaction://hlinksldjump"/>
            <a:extLst>
              <a:ext uri="{FF2B5EF4-FFF2-40B4-BE49-F238E27FC236}">
                <a16:creationId xmlns:a16="http://schemas.microsoft.com/office/drawing/2014/main" id="{DEBE5441-15D8-451F-992F-79D91D5875A4}"/>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18" action="ppaction://hlinksldjump"/>
            <a:extLst>
              <a:ext uri="{FF2B5EF4-FFF2-40B4-BE49-F238E27FC236}">
                <a16:creationId xmlns:a16="http://schemas.microsoft.com/office/drawing/2014/main" id="{68BBCB57-38A1-4D51-80D2-EB075DB26266}"/>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19" action="ppaction://hlinksldjump"/>
            <a:extLst>
              <a:ext uri="{FF2B5EF4-FFF2-40B4-BE49-F238E27FC236}">
                <a16:creationId xmlns:a16="http://schemas.microsoft.com/office/drawing/2014/main" id="{E8ACD164-4880-4AEB-B762-E6B3E067986C}"/>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hlinkClick r:id="rId20" action="ppaction://hlinksldjump"/>
            <a:extLst>
              <a:ext uri="{FF2B5EF4-FFF2-40B4-BE49-F238E27FC236}">
                <a16:creationId xmlns:a16="http://schemas.microsoft.com/office/drawing/2014/main" id="{0760CF1F-296B-4360-A762-20BC6090E406}"/>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21" action="ppaction://hlinksldjump"/>
            <a:extLst>
              <a:ext uri="{FF2B5EF4-FFF2-40B4-BE49-F238E27FC236}">
                <a16:creationId xmlns:a16="http://schemas.microsoft.com/office/drawing/2014/main" id="{9C08B50A-E8DD-42D8-84D0-F9481399CAE1}"/>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22" action="ppaction://hlinksldjump"/>
            <a:extLst>
              <a:ext uri="{FF2B5EF4-FFF2-40B4-BE49-F238E27FC236}">
                <a16:creationId xmlns:a16="http://schemas.microsoft.com/office/drawing/2014/main" id="{99BB288D-FF0C-4BCA-AD50-9620F0CF1B09}"/>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8" name="Rectangle 67">
            <a:hlinkClick r:id="rId23" action="ppaction://hlinksldjump"/>
            <a:extLst>
              <a:ext uri="{FF2B5EF4-FFF2-40B4-BE49-F238E27FC236}">
                <a16:creationId xmlns:a16="http://schemas.microsoft.com/office/drawing/2014/main" id="{8F14338A-D772-4EF5-A5E4-B58F2E9BFE5B}"/>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9" name="Rectangle 68">
            <a:extLst>
              <a:ext uri="{FF2B5EF4-FFF2-40B4-BE49-F238E27FC236}">
                <a16:creationId xmlns:a16="http://schemas.microsoft.com/office/drawing/2014/main" id="{C4D74D12-B680-4EDC-9F2C-2FBEB81FB7F6}"/>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0" name="Rectangle 69">
            <a:hlinkClick r:id="rId24" action="ppaction://hlinksldjump"/>
            <a:extLst>
              <a:ext uri="{FF2B5EF4-FFF2-40B4-BE49-F238E27FC236}">
                <a16:creationId xmlns:a16="http://schemas.microsoft.com/office/drawing/2014/main" id="{9FC91B92-C4D7-4D00-A185-291A82DDF7D0}"/>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1" name="Rectangle 70">
            <a:hlinkClick r:id="rId25" action="ppaction://hlinksldjump"/>
            <a:extLst>
              <a:ext uri="{FF2B5EF4-FFF2-40B4-BE49-F238E27FC236}">
                <a16:creationId xmlns:a16="http://schemas.microsoft.com/office/drawing/2014/main" id="{856024CB-8869-480B-BA54-965D2D43C974}"/>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2" name="Rectangle 71">
            <a:hlinkClick r:id="rId26" action="ppaction://hlinksldjump"/>
            <a:extLst>
              <a:ext uri="{FF2B5EF4-FFF2-40B4-BE49-F238E27FC236}">
                <a16:creationId xmlns:a16="http://schemas.microsoft.com/office/drawing/2014/main" id="{07509850-8D63-4300-8509-646A93E9E3DD}"/>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61260017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20990-6DA9-4922-9248-502ECF2E7A94}"/>
              </a:ext>
            </a:extLst>
          </p:cNvPr>
          <p:cNvSpPr>
            <a:spLocks noGrp="1"/>
          </p:cNvSpPr>
          <p:nvPr>
            <p:ph type="title"/>
          </p:nvPr>
        </p:nvSpPr>
        <p:spPr>
          <a:xfrm>
            <a:off x="1547664" y="376239"/>
            <a:ext cx="6912768" cy="395311"/>
          </a:xfrm>
        </p:spPr>
        <p:txBody>
          <a:bodyPr/>
          <a:lstStyle/>
          <a:p>
            <a:r>
              <a:rPr lang="en-GB" spc="-5" noProof="0" dirty="0">
                <a:latin typeface="Neue Frutiger World" panose="020B0603040304020203" pitchFamily="34" charset="0"/>
                <a:cs typeface="Neue Frutiger World" panose="020B0603040304020203" pitchFamily="34" charset="0"/>
              </a:rPr>
              <a:t>Is Transvenous Lead Extraction safe? </a:t>
            </a:r>
            <a:br>
              <a:rPr lang="en-GB" spc="-5" noProof="0" dirty="0">
                <a:latin typeface="Neue Frutiger World" panose="020B0603040304020203" pitchFamily="34" charset="0"/>
                <a:cs typeface="Neue Frutiger World" panose="020B0603040304020203" pitchFamily="34" charset="0"/>
              </a:rPr>
            </a:br>
            <a:r>
              <a:rPr lang="en-GB" spc="-5" noProof="0" dirty="0">
                <a:latin typeface="Neue Frutiger World" panose="020B0603040304020203" pitchFamily="34" charset="0"/>
                <a:cs typeface="Neue Frutiger World" panose="020B0603040304020203" pitchFamily="34" charset="0"/>
              </a:rPr>
              <a:t> – conversation starter 3</a:t>
            </a:r>
            <a:endParaRPr lang="en-GB" noProof="0" dirty="0">
              <a:latin typeface="Neue Frutiger World" panose="020B0603040304020203" pitchFamily="34" charset="0"/>
              <a:cs typeface="Neue Frutiger World" panose="020B0603040304020203" pitchFamily="34" charset="0"/>
            </a:endParaRPr>
          </a:p>
        </p:txBody>
      </p:sp>
      <p:sp>
        <p:nvSpPr>
          <p:cNvPr id="3" name="Footer Placeholder 2">
            <a:extLst>
              <a:ext uri="{FF2B5EF4-FFF2-40B4-BE49-F238E27FC236}">
                <a16:creationId xmlns:a16="http://schemas.microsoft.com/office/drawing/2014/main" id="{C366D78F-0742-469F-B4CB-4BC8A19FF819}"/>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66083FC4-91CE-46A4-9EBE-36B679939FB7}"/>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21</a:t>
            </a:fld>
            <a:endParaRPr lang="en-US" noProof="0" dirty="0">
              <a:latin typeface="Neue Frutiger World" panose="020B0603040304020203" pitchFamily="34" charset="0"/>
              <a:cs typeface="Neue Frutiger World" panose="020B0603040304020203" pitchFamily="34" charset="0"/>
            </a:endParaRPr>
          </a:p>
        </p:txBody>
      </p:sp>
      <p:sp>
        <p:nvSpPr>
          <p:cNvPr id="6" name="object 4">
            <a:extLst>
              <a:ext uri="{FF2B5EF4-FFF2-40B4-BE49-F238E27FC236}">
                <a16:creationId xmlns:a16="http://schemas.microsoft.com/office/drawing/2014/main" id="{03F4AE4E-A7CC-4618-B7D8-F801D698EF7D}"/>
              </a:ext>
            </a:extLst>
          </p:cNvPr>
          <p:cNvSpPr txBox="1"/>
          <p:nvPr/>
        </p:nvSpPr>
        <p:spPr>
          <a:xfrm>
            <a:off x="1552249" y="1059582"/>
            <a:ext cx="3451800" cy="1275670"/>
          </a:xfrm>
          <a:prstGeom prst="rect">
            <a:avLst/>
          </a:prstGeom>
        </p:spPr>
        <p:txBody>
          <a:bodyPr vert="horz" wrap="square" lIns="0" tIns="92710" rIns="0" bIns="0" rtlCol="0">
            <a:spAutoFit/>
          </a:bodyPr>
          <a:lstStyle/>
          <a:p>
            <a:pPr marL="12699">
              <a:spcBef>
                <a:spcPts val="730"/>
              </a:spcBef>
            </a:pPr>
            <a:r>
              <a:rPr sz="1300" b="1" dirty="0">
                <a:solidFill>
                  <a:srgbClr val="231F20"/>
                </a:solidFill>
                <a:latin typeface="Neue Frutiger World" panose="020B0603040304020203" pitchFamily="34" charset="0"/>
                <a:cs typeface="Neue Frutiger World" panose="020B0603040304020203" pitchFamily="34" charset="0"/>
              </a:rPr>
              <a:t>Open ended</a:t>
            </a:r>
            <a:r>
              <a:rPr sz="1300" b="1" spc="5"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question:</a:t>
            </a:r>
            <a:endParaRPr sz="1300" dirty="0">
              <a:latin typeface="Neue Frutiger World" panose="020B0603040304020203" pitchFamily="34" charset="0"/>
              <a:cs typeface="Neue Frutiger World" panose="020B0603040304020203" pitchFamily="34" charset="0"/>
            </a:endParaRPr>
          </a:p>
          <a:p>
            <a:pPr marL="12699" marR="5079">
              <a:lnSpc>
                <a:spcPct val="104200"/>
              </a:lnSpc>
              <a:spcBef>
                <a:spcPts val="350"/>
              </a:spcBef>
            </a:pPr>
            <a:r>
              <a:rPr lang="en-GB" sz="800" spc="-20" dirty="0">
                <a:solidFill>
                  <a:srgbClr val="231F20"/>
                </a:solidFill>
                <a:latin typeface="Neue Frutiger World" panose="020B0603040304020203" pitchFamily="34" charset="0"/>
                <a:cs typeface="Neue Frutiger World" panose="020B0603040304020203" pitchFamily="34" charset="0"/>
              </a:rPr>
              <a:t>Do you feel comfortable in referring your patients?</a:t>
            </a:r>
            <a:endParaRPr sz="800" dirty="0">
              <a:latin typeface="Neue Frutiger World" panose="020B0603040304020203" pitchFamily="34" charset="0"/>
              <a:cs typeface="Neue Frutiger World" panose="020B0603040304020203" pitchFamily="34" charset="0"/>
            </a:endParaRPr>
          </a:p>
          <a:p>
            <a:pPr>
              <a:lnSpc>
                <a:spcPct val="100000"/>
              </a:lnSpc>
            </a:pPr>
            <a:endParaRPr sz="900" dirty="0">
              <a:latin typeface="Neue Frutiger World" panose="020B0603040304020203" pitchFamily="34" charset="0"/>
              <a:cs typeface="Neue Frutiger World" panose="020B0603040304020203" pitchFamily="34" charset="0"/>
            </a:endParaRPr>
          </a:p>
          <a:p>
            <a:pPr>
              <a:spcBef>
                <a:spcPts val="10"/>
              </a:spcBef>
            </a:pPr>
            <a:endParaRPr sz="1050" dirty="0">
              <a:latin typeface="Neue Frutiger World" panose="020B0603040304020203" pitchFamily="34" charset="0"/>
              <a:cs typeface="Neue Frutiger World" panose="020B0603040304020203" pitchFamily="34" charset="0"/>
            </a:endParaRPr>
          </a:p>
          <a:p>
            <a:pPr marL="12699"/>
            <a:r>
              <a:rPr sz="1300" b="1" spc="-15" dirty="0">
                <a:solidFill>
                  <a:srgbClr val="231F20"/>
                </a:solidFill>
                <a:latin typeface="Neue Frutiger World" panose="020B0603040304020203" pitchFamily="34" charset="0"/>
                <a:cs typeface="Neue Frutiger World" panose="020B0603040304020203" pitchFamily="34" charset="0"/>
              </a:rPr>
              <a:t>Potential</a:t>
            </a:r>
            <a:r>
              <a:rPr sz="1300" b="1" spc="25" dirty="0">
                <a:solidFill>
                  <a:srgbClr val="231F20"/>
                </a:solidFill>
                <a:latin typeface="Neue Frutiger World" panose="020B0603040304020203" pitchFamily="34" charset="0"/>
                <a:cs typeface="Neue Frutiger World" panose="020B0603040304020203" pitchFamily="34" charset="0"/>
              </a:rPr>
              <a:t> </a:t>
            </a:r>
            <a:r>
              <a:rPr sz="1300" b="1" dirty="0">
                <a:solidFill>
                  <a:srgbClr val="231F20"/>
                </a:solidFill>
                <a:latin typeface="Neue Frutiger World" panose="020B0603040304020203" pitchFamily="34" charset="0"/>
                <a:cs typeface="Neue Frutiger World" panose="020B0603040304020203" pitchFamily="34" charset="0"/>
              </a:rPr>
              <a:t>physician</a:t>
            </a:r>
            <a:r>
              <a:rPr sz="1300" b="1" spc="30"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12699" marR="97782">
              <a:lnSpc>
                <a:spcPct val="104200"/>
              </a:lnSpc>
              <a:spcBef>
                <a:spcPts val="350"/>
              </a:spcBef>
            </a:pPr>
            <a:r>
              <a:rPr lang="en-GB" sz="800" dirty="0">
                <a:solidFill>
                  <a:srgbClr val="231F20"/>
                </a:solidFill>
                <a:latin typeface="Neue Frutiger World" panose="020B0603040304020203" pitchFamily="34" charset="0"/>
                <a:cs typeface="Neue Frutiger World" panose="020B0603040304020203" pitchFamily="34" charset="0"/>
              </a:rPr>
              <a:t>Of course, there is a risk to Lead Extraction so I prefer to use other methods to treat my patients first.</a:t>
            </a:r>
            <a:endParaRPr sz="800" dirty="0">
              <a:latin typeface="Neue Frutiger World" panose="020B0603040304020203" pitchFamily="34" charset="0"/>
              <a:cs typeface="Neue Frutiger World" panose="020B0603040304020203" pitchFamily="34" charset="0"/>
            </a:endParaRPr>
          </a:p>
        </p:txBody>
      </p:sp>
      <p:sp>
        <p:nvSpPr>
          <p:cNvPr id="7" name="object 5">
            <a:extLst>
              <a:ext uri="{FF2B5EF4-FFF2-40B4-BE49-F238E27FC236}">
                <a16:creationId xmlns:a16="http://schemas.microsoft.com/office/drawing/2014/main" id="{E9A4B082-2628-42C8-981B-FCAD629B9B04}"/>
              </a:ext>
            </a:extLst>
          </p:cNvPr>
          <p:cNvSpPr txBox="1"/>
          <p:nvPr/>
        </p:nvSpPr>
        <p:spPr>
          <a:xfrm>
            <a:off x="4932041" y="1059582"/>
            <a:ext cx="3816424" cy="2312043"/>
          </a:xfrm>
          <a:prstGeom prst="rect">
            <a:avLst/>
          </a:prstGeom>
        </p:spPr>
        <p:txBody>
          <a:bodyPr vert="horz" wrap="square" lIns="0" tIns="92710" rIns="0" bIns="0" rtlCol="0">
            <a:spAutoFit/>
          </a:bodyPr>
          <a:lstStyle/>
          <a:p>
            <a:pPr marL="50796">
              <a:spcBef>
                <a:spcPts val="730"/>
              </a:spcBef>
            </a:pPr>
            <a:r>
              <a:rPr sz="1300" b="1" spc="-5" dirty="0">
                <a:solidFill>
                  <a:srgbClr val="231F20"/>
                </a:solidFill>
                <a:latin typeface="Neue Frutiger World" panose="020B0603040304020203" pitchFamily="34" charset="0"/>
                <a:cs typeface="Neue Frutiger World" panose="020B0603040304020203" pitchFamily="34" charset="0"/>
              </a:rPr>
              <a:t>Rep</a:t>
            </a:r>
            <a:r>
              <a:rPr sz="1300" b="1"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50796" marR="158737">
              <a:lnSpc>
                <a:spcPct val="104200"/>
              </a:lnSpc>
              <a:spcBef>
                <a:spcPts val="350"/>
              </a:spcBef>
            </a:pPr>
            <a:r>
              <a:rPr lang="en-US" sz="800" spc="-10" dirty="0">
                <a:solidFill>
                  <a:srgbClr val="231F20"/>
                </a:solidFill>
                <a:latin typeface="Neue Frutiger World" panose="020B0603040304020203" pitchFamily="34" charset="0"/>
                <a:cs typeface="Neue Frutiger World" panose="020B0603040304020203" pitchFamily="34" charset="0"/>
              </a:rPr>
              <a:t>Multiple studies have shown Lead Extraction is safe and effective. There will never be an easier time to extract a device than right now. It is important to weigh up the safety of extraction with the potential risk of infection. Additionally, if your patient is not treated quickly, this could carry an increased risk: It is more likely the extraction will be complex, last longer and use more flouroscopy. It is also associated with higher risks of MAE's and intra-procedural and long-term mortality. The ELECTRa study showed a major adverse event rate of 1.7% and mortality of 0.5%, LExICon (Laser sheath only) showed MAE’s to be 1.1% (After adjustment) and mortality at 0.28%</a:t>
            </a:r>
            <a:r>
              <a:rPr lang="en-US" sz="800" spc="-10" baseline="30000" dirty="0">
                <a:solidFill>
                  <a:srgbClr val="231F20"/>
                </a:solidFill>
                <a:latin typeface="Neue Frutiger World" panose="020B0603040304020203" pitchFamily="34" charset="0"/>
                <a:cs typeface="Neue Frutiger World" panose="020B0603040304020203" pitchFamily="34" charset="0"/>
              </a:rPr>
              <a:t>12,28,</a:t>
            </a:r>
            <a:r>
              <a:rPr lang="en-US" sz="800" spc="-10" dirty="0">
                <a:solidFill>
                  <a:srgbClr val="231F20"/>
                </a:solidFill>
                <a:latin typeface="Neue Frutiger World" panose="020B0603040304020203" pitchFamily="34" charset="0"/>
                <a:cs typeface="Neue Frutiger World" panose="020B0603040304020203" pitchFamily="34" charset="0"/>
              </a:rPr>
              <a:t> </a:t>
            </a:r>
            <a:endParaRPr lang="en-US" sz="800" spc="-10" dirty="0">
              <a:solidFill>
                <a:srgbClr val="FF0000"/>
              </a:solidFill>
              <a:latin typeface="Neue Frutiger World" panose="020B0603040304020203" pitchFamily="34" charset="0"/>
              <a:cs typeface="Neue Frutiger World" panose="020B0603040304020203" pitchFamily="34" charset="0"/>
            </a:endParaRPr>
          </a:p>
          <a:p>
            <a:pPr marL="50796" marR="158737">
              <a:lnSpc>
                <a:spcPct val="104200"/>
              </a:lnSpc>
              <a:spcBef>
                <a:spcPts val="350"/>
              </a:spcBef>
            </a:pPr>
            <a:r>
              <a:rPr lang="en-US" sz="800" spc="-10" dirty="0">
                <a:solidFill>
                  <a:srgbClr val="231F20"/>
                </a:solidFill>
                <a:latin typeface="Neue Frutiger World" panose="020B0603040304020203" pitchFamily="34" charset="0"/>
                <a:cs typeface="Neue Frutiger World" panose="020B0603040304020203" pitchFamily="34" charset="0"/>
              </a:rPr>
              <a:t>Of course, while it doesn’t replace any of the usual precautions for extraction, the Bridge SVC Occlusion Balloon provides an additional layer of protection when extracting. Recent data from Azzarify et al. showed survivability of an SVC tear with the balloon jumped to 88.2% as opposed to 56.9% without.</a:t>
            </a:r>
            <a:r>
              <a:rPr lang="en-US" sz="800" spc="-10" baseline="30000" dirty="0">
                <a:solidFill>
                  <a:srgbClr val="231F20"/>
                </a:solidFill>
                <a:latin typeface="Neue Frutiger World" panose="020B0603040304020203" pitchFamily="34" charset="0"/>
                <a:cs typeface="Neue Frutiger World" panose="020B0603040304020203" pitchFamily="34" charset="0"/>
              </a:rPr>
              <a:t>35</a:t>
            </a:r>
            <a:r>
              <a:rPr lang="en-US" sz="800" spc="-10" dirty="0">
                <a:solidFill>
                  <a:srgbClr val="231F20"/>
                </a:solidFill>
                <a:latin typeface="Neue Frutiger World" panose="020B0603040304020203" pitchFamily="34" charset="0"/>
                <a:cs typeface="Neue Frutiger World" panose="020B0603040304020203" pitchFamily="34" charset="0"/>
              </a:rPr>
              <a:t> </a:t>
            </a:r>
          </a:p>
          <a:p>
            <a:pPr>
              <a:spcBef>
                <a:spcPts val="40"/>
              </a:spcBef>
            </a:pPr>
            <a:endParaRPr sz="800" dirty="0">
              <a:latin typeface="Neue Frutiger World" panose="020B0603040304020203" pitchFamily="34" charset="0"/>
              <a:cs typeface="Neue Frutiger World" panose="020B0603040304020203" pitchFamily="34" charset="0"/>
            </a:endParaRPr>
          </a:p>
          <a:p>
            <a:pPr marL="50796" marR="168261">
              <a:lnSpc>
                <a:spcPct val="104200"/>
              </a:lnSpc>
            </a:pPr>
            <a:r>
              <a:rPr lang="en-GB" sz="800" spc="-10" dirty="0">
                <a:solidFill>
                  <a:srgbClr val="00A9EB"/>
                </a:solidFill>
                <a:latin typeface="Neue Frutiger World" panose="020B0603040304020203" pitchFamily="34" charset="0"/>
                <a:cs typeface="Neue Frutiger World" panose="020B0603040304020203" pitchFamily="34" charset="0"/>
              </a:rPr>
              <a:t>Do you agree referral for extraction should be your first line choice?</a:t>
            </a:r>
            <a:endParaRPr sz="800" dirty="0">
              <a:latin typeface="Neue Frutiger World" panose="020B0603040304020203" pitchFamily="34" charset="0"/>
              <a:cs typeface="Neue Frutiger World" panose="020B0603040304020203" pitchFamily="34" charset="0"/>
            </a:endParaRPr>
          </a:p>
        </p:txBody>
      </p:sp>
      <p:sp>
        <p:nvSpPr>
          <p:cNvPr id="8" name="TextBox 7">
            <a:extLst>
              <a:ext uri="{FF2B5EF4-FFF2-40B4-BE49-F238E27FC236}">
                <a16:creationId xmlns:a16="http://schemas.microsoft.com/office/drawing/2014/main" id="{36762408-8C0A-4744-9D15-C1182B92B3B7}"/>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9" name="Rectangle 8">
            <a:hlinkClick r:id="rId2" action="ppaction://hlinksldjump"/>
            <a:extLst>
              <a:ext uri="{FF2B5EF4-FFF2-40B4-BE49-F238E27FC236}">
                <a16:creationId xmlns:a16="http://schemas.microsoft.com/office/drawing/2014/main" id="{F0AA669A-EC14-4D35-A2AF-8AF0F5942650}"/>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0" name="Rectangle 9">
            <a:hlinkClick r:id="rId3" action="ppaction://hlinksldjump"/>
            <a:extLst>
              <a:ext uri="{FF2B5EF4-FFF2-40B4-BE49-F238E27FC236}">
                <a16:creationId xmlns:a16="http://schemas.microsoft.com/office/drawing/2014/main" id="{7C5171CE-E4ED-40BB-982E-16715C6BF0E8}"/>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1" name="Rectangle 10">
            <a:hlinkClick r:id="rId4" action="ppaction://hlinksldjump"/>
            <a:extLst>
              <a:ext uri="{FF2B5EF4-FFF2-40B4-BE49-F238E27FC236}">
                <a16:creationId xmlns:a16="http://schemas.microsoft.com/office/drawing/2014/main" id="{71F6319D-E069-4B84-BB31-54BB5175CB42}"/>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2" name="Rectangle 11">
            <a:hlinkClick r:id="rId5" action="ppaction://hlinksldjump"/>
            <a:extLst>
              <a:ext uri="{FF2B5EF4-FFF2-40B4-BE49-F238E27FC236}">
                <a16:creationId xmlns:a16="http://schemas.microsoft.com/office/drawing/2014/main" id="{E76A8A48-AAFE-4D30-B293-58954104C065}"/>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3" name="Rectangle 12">
            <a:hlinkClick r:id="rId6" action="ppaction://hlinksldjump"/>
            <a:extLst>
              <a:ext uri="{FF2B5EF4-FFF2-40B4-BE49-F238E27FC236}">
                <a16:creationId xmlns:a16="http://schemas.microsoft.com/office/drawing/2014/main" id="{22E09252-6629-4B22-A5FA-AF1B23CA1E2C}"/>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7" action="ppaction://hlinksldjump"/>
            <a:extLst>
              <a:ext uri="{FF2B5EF4-FFF2-40B4-BE49-F238E27FC236}">
                <a16:creationId xmlns:a16="http://schemas.microsoft.com/office/drawing/2014/main" id="{6FA2F36A-DB73-45CD-A827-CEC484336BA6}"/>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8" action="ppaction://hlinksldjump"/>
            <a:extLst>
              <a:ext uri="{FF2B5EF4-FFF2-40B4-BE49-F238E27FC236}">
                <a16:creationId xmlns:a16="http://schemas.microsoft.com/office/drawing/2014/main" id="{2710DE1A-9C42-4D42-B5D7-B05401A67FD6}"/>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9" action="ppaction://hlinksldjump"/>
            <a:extLst>
              <a:ext uri="{FF2B5EF4-FFF2-40B4-BE49-F238E27FC236}">
                <a16:creationId xmlns:a16="http://schemas.microsoft.com/office/drawing/2014/main" id="{2FA9E95A-4DB7-45BB-BCA3-C9D5CF865D91}"/>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extLst>
              <a:ext uri="{FF2B5EF4-FFF2-40B4-BE49-F238E27FC236}">
                <a16:creationId xmlns:a16="http://schemas.microsoft.com/office/drawing/2014/main" id="{F4DCEFFC-0681-4E21-A8A1-7F5BCEF2E7ED}"/>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10" action="ppaction://hlinksldjump"/>
            <a:extLst>
              <a:ext uri="{FF2B5EF4-FFF2-40B4-BE49-F238E27FC236}">
                <a16:creationId xmlns:a16="http://schemas.microsoft.com/office/drawing/2014/main" id="{210D8BFE-A2D1-40CA-9939-32EC80296C5A}"/>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11" action="ppaction://hlinksldjump"/>
            <a:extLst>
              <a:ext uri="{FF2B5EF4-FFF2-40B4-BE49-F238E27FC236}">
                <a16:creationId xmlns:a16="http://schemas.microsoft.com/office/drawing/2014/main" id="{16F05361-2B47-4889-B9BF-B16480E2E4A3}"/>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12" action="ppaction://hlinksldjump"/>
            <a:extLst>
              <a:ext uri="{FF2B5EF4-FFF2-40B4-BE49-F238E27FC236}">
                <a16:creationId xmlns:a16="http://schemas.microsoft.com/office/drawing/2014/main" id="{4C58C428-79D8-4448-B0F3-381ED0434976}"/>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3" action="ppaction://hlinksldjump"/>
            <a:extLst>
              <a:ext uri="{FF2B5EF4-FFF2-40B4-BE49-F238E27FC236}">
                <a16:creationId xmlns:a16="http://schemas.microsoft.com/office/drawing/2014/main" id="{4C45E9F4-6A14-49C2-8111-9A3FAF73479B}"/>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4" action="ppaction://hlinksldjump"/>
            <a:extLst>
              <a:ext uri="{FF2B5EF4-FFF2-40B4-BE49-F238E27FC236}">
                <a16:creationId xmlns:a16="http://schemas.microsoft.com/office/drawing/2014/main" id="{EF2D9E42-02D4-43D7-BE69-3F165B4158B9}"/>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5" action="ppaction://hlinksldjump"/>
            <a:extLst>
              <a:ext uri="{FF2B5EF4-FFF2-40B4-BE49-F238E27FC236}">
                <a16:creationId xmlns:a16="http://schemas.microsoft.com/office/drawing/2014/main" id="{80FA9302-36F2-46E7-8B5D-19819FBE69ED}"/>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6" action="ppaction://hlinksldjump"/>
            <a:extLst>
              <a:ext uri="{FF2B5EF4-FFF2-40B4-BE49-F238E27FC236}">
                <a16:creationId xmlns:a16="http://schemas.microsoft.com/office/drawing/2014/main" id="{F04104FE-3BD1-4EF6-9783-FFF7AC0931AF}"/>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7" action="ppaction://hlinksldjump"/>
            <a:extLst>
              <a:ext uri="{FF2B5EF4-FFF2-40B4-BE49-F238E27FC236}">
                <a16:creationId xmlns:a16="http://schemas.microsoft.com/office/drawing/2014/main" id="{7F6F9EDB-E55F-4A97-9C5F-0A4D38EFEBF8}"/>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8" action="ppaction://hlinksldjump"/>
            <a:extLst>
              <a:ext uri="{FF2B5EF4-FFF2-40B4-BE49-F238E27FC236}">
                <a16:creationId xmlns:a16="http://schemas.microsoft.com/office/drawing/2014/main" id="{FADEDBCB-8EE1-4505-8C94-B8D4FEE60B4F}"/>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9" action="ppaction://hlinksldjump"/>
            <a:extLst>
              <a:ext uri="{FF2B5EF4-FFF2-40B4-BE49-F238E27FC236}">
                <a16:creationId xmlns:a16="http://schemas.microsoft.com/office/drawing/2014/main" id="{F925451C-9BA1-428E-B858-B70A40EC769D}"/>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20" action="ppaction://hlinksldjump"/>
            <a:extLst>
              <a:ext uri="{FF2B5EF4-FFF2-40B4-BE49-F238E27FC236}">
                <a16:creationId xmlns:a16="http://schemas.microsoft.com/office/drawing/2014/main" id="{0B6C5384-9A33-4AAD-8485-540AF136F239}"/>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21" action="ppaction://hlinksldjump"/>
            <a:extLst>
              <a:ext uri="{FF2B5EF4-FFF2-40B4-BE49-F238E27FC236}">
                <a16:creationId xmlns:a16="http://schemas.microsoft.com/office/drawing/2014/main" id="{945A9592-D638-4361-A4DE-F18D1EF9217C}"/>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22" action="ppaction://hlinksldjump"/>
            <a:extLst>
              <a:ext uri="{FF2B5EF4-FFF2-40B4-BE49-F238E27FC236}">
                <a16:creationId xmlns:a16="http://schemas.microsoft.com/office/drawing/2014/main" id="{27333969-0B4F-4E5E-8D2F-EA16E6D34CFD}"/>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extLst>
              <a:ext uri="{FF2B5EF4-FFF2-40B4-BE49-F238E27FC236}">
                <a16:creationId xmlns:a16="http://schemas.microsoft.com/office/drawing/2014/main" id="{99F02D7F-F86E-442D-A910-4669876D0FE3}"/>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23" action="ppaction://hlinksldjump"/>
            <a:extLst>
              <a:ext uri="{FF2B5EF4-FFF2-40B4-BE49-F238E27FC236}">
                <a16:creationId xmlns:a16="http://schemas.microsoft.com/office/drawing/2014/main" id="{4D73B9B8-AB81-43AD-9F85-DE8E357CAAAA}"/>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4" action="ppaction://hlinksldjump"/>
            <a:extLst>
              <a:ext uri="{FF2B5EF4-FFF2-40B4-BE49-F238E27FC236}">
                <a16:creationId xmlns:a16="http://schemas.microsoft.com/office/drawing/2014/main" id="{72C22770-8C21-40D0-A5A6-A0F22CB86B88}"/>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5" action="ppaction://hlinksldjump"/>
            <a:extLst>
              <a:ext uri="{FF2B5EF4-FFF2-40B4-BE49-F238E27FC236}">
                <a16:creationId xmlns:a16="http://schemas.microsoft.com/office/drawing/2014/main" id="{12782193-9E6C-4E12-BFBA-DE07DCE82F78}"/>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extLst>
              <a:ext uri="{FF2B5EF4-FFF2-40B4-BE49-F238E27FC236}">
                <a16:creationId xmlns:a16="http://schemas.microsoft.com/office/drawing/2014/main" id="{6B915D30-A56B-4004-B641-1DC75BD0742F}"/>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36" name="Table 35">
            <a:extLst>
              <a:ext uri="{FF2B5EF4-FFF2-40B4-BE49-F238E27FC236}">
                <a16:creationId xmlns:a16="http://schemas.microsoft.com/office/drawing/2014/main" id="{737D937C-5C6D-4DDE-B3FB-83ADDC3C65C7}"/>
              </a:ext>
            </a:extLst>
          </p:cNvPr>
          <p:cNvGraphicFramePr>
            <a:graphicFrameLocks noGrp="1"/>
          </p:cNvGraphicFramePr>
          <p:nvPr>
            <p:extLst>
              <p:ext uri="{D42A27DB-BD31-4B8C-83A1-F6EECF244321}">
                <p14:modId xmlns:p14="http://schemas.microsoft.com/office/powerpoint/2010/main" val="1017873858"/>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37" name="Rectangle 36">
            <a:hlinkClick r:id="rId2" action="ppaction://hlinksldjump"/>
            <a:extLst>
              <a:ext uri="{FF2B5EF4-FFF2-40B4-BE49-F238E27FC236}">
                <a16:creationId xmlns:a16="http://schemas.microsoft.com/office/drawing/2014/main" id="{183FC88D-5695-4BB5-B616-5699122E5220}"/>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3" action="ppaction://hlinksldjump"/>
            <a:extLst>
              <a:ext uri="{FF2B5EF4-FFF2-40B4-BE49-F238E27FC236}">
                <a16:creationId xmlns:a16="http://schemas.microsoft.com/office/drawing/2014/main" id="{73C82543-E44A-458C-879B-25DEE10D88F0}"/>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4" action="ppaction://hlinksldjump"/>
            <a:extLst>
              <a:ext uri="{FF2B5EF4-FFF2-40B4-BE49-F238E27FC236}">
                <a16:creationId xmlns:a16="http://schemas.microsoft.com/office/drawing/2014/main" id="{A606C8A3-FE72-473C-8BFA-57DC941C975C}"/>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5" action="ppaction://hlinksldjump"/>
            <a:extLst>
              <a:ext uri="{FF2B5EF4-FFF2-40B4-BE49-F238E27FC236}">
                <a16:creationId xmlns:a16="http://schemas.microsoft.com/office/drawing/2014/main" id="{40921835-9168-4CFB-9287-908B87EABCC5}"/>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6" action="ppaction://hlinksldjump"/>
            <a:extLst>
              <a:ext uri="{FF2B5EF4-FFF2-40B4-BE49-F238E27FC236}">
                <a16:creationId xmlns:a16="http://schemas.microsoft.com/office/drawing/2014/main" id="{D5DDE604-A2BC-41CA-ACCD-31D420915098}"/>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7" action="ppaction://hlinksldjump"/>
            <a:extLst>
              <a:ext uri="{FF2B5EF4-FFF2-40B4-BE49-F238E27FC236}">
                <a16:creationId xmlns:a16="http://schemas.microsoft.com/office/drawing/2014/main" id="{3D9A4134-F270-498A-B92D-533B9FC7D9AF}"/>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8" action="ppaction://hlinksldjump"/>
            <a:extLst>
              <a:ext uri="{FF2B5EF4-FFF2-40B4-BE49-F238E27FC236}">
                <a16:creationId xmlns:a16="http://schemas.microsoft.com/office/drawing/2014/main" id="{7EA7E892-AF55-4D97-93C5-A3E99F2010A3}"/>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9" action="ppaction://hlinksldjump"/>
            <a:extLst>
              <a:ext uri="{FF2B5EF4-FFF2-40B4-BE49-F238E27FC236}">
                <a16:creationId xmlns:a16="http://schemas.microsoft.com/office/drawing/2014/main" id="{2C3EBC5A-743B-4B67-98DD-23D182FF2F86}"/>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extLst>
              <a:ext uri="{FF2B5EF4-FFF2-40B4-BE49-F238E27FC236}">
                <a16:creationId xmlns:a16="http://schemas.microsoft.com/office/drawing/2014/main" id="{AAC6348D-CEAF-41F3-BBF8-ACEA1F221209}"/>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10" action="ppaction://hlinksldjump"/>
            <a:extLst>
              <a:ext uri="{FF2B5EF4-FFF2-40B4-BE49-F238E27FC236}">
                <a16:creationId xmlns:a16="http://schemas.microsoft.com/office/drawing/2014/main" id="{5D3515E7-3EE9-4C99-B1CF-8624B5C0B79B}"/>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11" action="ppaction://hlinksldjump"/>
            <a:extLst>
              <a:ext uri="{FF2B5EF4-FFF2-40B4-BE49-F238E27FC236}">
                <a16:creationId xmlns:a16="http://schemas.microsoft.com/office/drawing/2014/main" id="{B0AB068A-4CAD-4BF5-9671-F2672E342FD3}"/>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12" action="ppaction://hlinksldjump"/>
            <a:extLst>
              <a:ext uri="{FF2B5EF4-FFF2-40B4-BE49-F238E27FC236}">
                <a16:creationId xmlns:a16="http://schemas.microsoft.com/office/drawing/2014/main" id="{8E40E6CC-462D-4975-8AF5-4CFF9FBBF111}"/>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3" action="ppaction://hlinksldjump"/>
            <a:extLst>
              <a:ext uri="{FF2B5EF4-FFF2-40B4-BE49-F238E27FC236}">
                <a16:creationId xmlns:a16="http://schemas.microsoft.com/office/drawing/2014/main" id="{8142A30A-C4A6-4ECD-97C7-A42ADA044F8C}"/>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4" action="ppaction://hlinksldjump"/>
            <a:extLst>
              <a:ext uri="{FF2B5EF4-FFF2-40B4-BE49-F238E27FC236}">
                <a16:creationId xmlns:a16="http://schemas.microsoft.com/office/drawing/2014/main" id="{C70AFF0D-1EE4-4F35-B39A-C2E0BC61138A}"/>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5" action="ppaction://hlinksldjump"/>
            <a:extLst>
              <a:ext uri="{FF2B5EF4-FFF2-40B4-BE49-F238E27FC236}">
                <a16:creationId xmlns:a16="http://schemas.microsoft.com/office/drawing/2014/main" id="{3EA63A6B-14E2-4B26-BBFE-E0223C2D1E51}"/>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6" action="ppaction://hlinksldjump"/>
            <a:extLst>
              <a:ext uri="{FF2B5EF4-FFF2-40B4-BE49-F238E27FC236}">
                <a16:creationId xmlns:a16="http://schemas.microsoft.com/office/drawing/2014/main" id="{DAD767E7-F870-4FD4-845F-0C2482380505}"/>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7" action="ppaction://hlinksldjump"/>
            <a:extLst>
              <a:ext uri="{FF2B5EF4-FFF2-40B4-BE49-F238E27FC236}">
                <a16:creationId xmlns:a16="http://schemas.microsoft.com/office/drawing/2014/main" id="{74E5AB6A-11C3-42F6-8234-C7E6636935CF}"/>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8" action="ppaction://hlinksldjump"/>
            <a:extLst>
              <a:ext uri="{FF2B5EF4-FFF2-40B4-BE49-F238E27FC236}">
                <a16:creationId xmlns:a16="http://schemas.microsoft.com/office/drawing/2014/main" id="{23F9BD3B-6E72-439C-838C-BEB923C026C4}"/>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9" action="ppaction://hlinksldjump"/>
            <a:extLst>
              <a:ext uri="{FF2B5EF4-FFF2-40B4-BE49-F238E27FC236}">
                <a16:creationId xmlns:a16="http://schemas.microsoft.com/office/drawing/2014/main" id="{88E96D02-10DD-4F08-A830-386D5E67A742}"/>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20" action="ppaction://hlinksldjump"/>
            <a:extLst>
              <a:ext uri="{FF2B5EF4-FFF2-40B4-BE49-F238E27FC236}">
                <a16:creationId xmlns:a16="http://schemas.microsoft.com/office/drawing/2014/main" id="{BF66B4FE-E1F3-4090-A22A-0B94CA0E82AD}"/>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21" action="ppaction://hlinksldjump"/>
            <a:extLst>
              <a:ext uri="{FF2B5EF4-FFF2-40B4-BE49-F238E27FC236}">
                <a16:creationId xmlns:a16="http://schemas.microsoft.com/office/drawing/2014/main" id="{FC93D8F9-6D60-4369-9406-62BEB03DCE39}"/>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22" action="ppaction://hlinksldjump"/>
            <a:extLst>
              <a:ext uri="{FF2B5EF4-FFF2-40B4-BE49-F238E27FC236}">
                <a16:creationId xmlns:a16="http://schemas.microsoft.com/office/drawing/2014/main" id="{6A403A90-59BF-4419-8DCB-B1983BE61E1B}"/>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extLst>
              <a:ext uri="{FF2B5EF4-FFF2-40B4-BE49-F238E27FC236}">
                <a16:creationId xmlns:a16="http://schemas.microsoft.com/office/drawing/2014/main" id="{5088A4AD-B794-43D4-BD78-15BE5D847EB7}"/>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23" action="ppaction://hlinksldjump"/>
            <a:extLst>
              <a:ext uri="{FF2B5EF4-FFF2-40B4-BE49-F238E27FC236}">
                <a16:creationId xmlns:a16="http://schemas.microsoft.com/office/drawing/2014/main" id="{03BCE756-C273-42C8-8F19-0645751E796C}"/>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4" action="ppaction://hlinksldjump"/>
            <a:extLst>
              <a:ext uri="{FF2B5EF4-FFF2-40B4-BE49-F238E27FC236}">
                <a16:creationId xmlns:a16="http://schemas.microsoft.com/office/drawing/2014/main" id="{BEBEA966-8DF8-4449-91A5-09D45C301545}"/>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5" action="ppaction://hlinksldjump"/>
            <a:extLst>
              <a:ext uri="{FF2B5EF4-FFF2-40B4-BE49-F238E27FC236}">
                <a16:creationId xmlns:a16="http://schemas.microsoft.com/office/drawing/2014/main" id="{7E7E822C-0C99-441F-AD71-862FB2EA4139}"/>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36793003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8C0AA-4A81-4E78-9351-FD83C4497EB7}"/>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Cost of infection</a:t>
            </a:r>
          </a:p>
        </p:txBody>
      </p:sp>
      <p:sp>
        <p:nvSpPr>
          <p:cNvPr id="3" name="Footer Placeholder 2">
            <a:extLst>
              <a:ext uri="{FF2B5EF4-FFF2-40B4-BE49-F238E27FC236}">
                <a16:creationId xmlns:a16="http://schemas.microsoft.com/office/drawing/2014/main" id="{EFFCE3E2-71E7-45C8-BF92-972914B04C7A}"/>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21577A18-8CDD-4686-B0D2-776568E7BFF3}"/>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22</a:t>
            </a:fld>
            <a:endParaRPr lang="en-US" noProof="0" dirty="0">
              <a:latin typeface="Neue Frutiger World" panose="020B0603040304020203" pitchFamily="34" charset="0"/>
              <a:cs typeface="Neue Frutiger World" panose="020B0603040304020203" pitchFamily="34" charset="0"/>
            </a:endParaRPr>
          </a:p>
        </p:txBody>
      </p:sp>
      <p:grpSp>
        <p:nvGrpSpPr>
          <p:cNvPr id="6" name="object 2">
            <a:extLst>
              <a:ext uri="{FF2B5EF4-FFF2-40B4-BE49-F238E27FC236}">
                <a16:creationId xmlns:a16="http://schemas.microsoft.com/office/drawing/2014/main" id="{6210D39B-F266-4CD9-A282-9388B03955FE}"/>
              </a:ext>
            </a:extLst>
          </p:cNvPr>
          <p:cNvGrpSpPr/>
          <p:nvPr/>
        </p:nvGrpSpPr>
        <p:grpSpPr>
          <a:xfrm>
            <a:off x="6214070" y="2140473"/>
            <a:ext cx="2476500" cy="1523365"/>
            <a:chOff x="6528816" y="3603625"/>
            <a:chExt cx="2476500" cy="1523365"/>
          </a:xfrm>
        </p:grpSpPr>
        <p:sp>
          <p:nvSpPr>
            <p:cNvPr id="7" name="object 3">
              <a:extLst>
                <a:ext uri="{FF2B5EF4-FFF2-40B4-BE49-F238E27FC236}">
                  <a16:creationId xmlns:a16="http://schemas.microsoft.com/office/drawing/2014/main" id="{08FFA2DD-C7B7-406A-B2F5-2A45F34B83CA}"/>
                </a:ext>
              </a:extLst>
            </p:cNvPr>
            <p:cNvSpPr/>
            <p:nvPr/>
          </p:nvSpPr>
          <p:spPr>
            <a:xfrm>
              <a:off x="7858302" y="4422013"/>
              <a:ext cx="713740" cy="699770"/>
            </a:xfrm>
            <a:custGeom>
              <a:avLst/>
              <a:gdLst/>
              <a:ahLst/>
              <a:cxnLst/>
              <a:rect l="l" t="t" r="r" b="b"/>
              <a:pathLst>
                <a:path w="713740" h="699770">
                  <a:moveTo>
                    <a:pt x="713231" y="0"/>
                  </a:moveTo>
                  <a:lnTo>
                    <a:pt x="0" y="0"/>
                  </a:lnTo>
                  <a:lnTo>
                    <a:pt x="0" y="699769"/>
                  </a:lnTo>
                  <a:lnTo>
                    <a:pt x="713231" y="699769"/>
                  </a:lnTo>
                  <a:lnTo>
                    <a:pt x="713231" y="0"/>
                  </a:lnTo>
                  <a:close/>
                </a:path>
              </a:pathLst>
            </a:custGeom>
            <a:solidFill>
              <a:srgbClr val="989AA5"/>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8" name="object 4">
              <a:extLst>
                <a:ext uri="{FF2B5EF4-FFF2-40B4-BE49-F238E27FC236}">
                  <a16:creationId xmlns:a16="http://schemas.microsoft.com/office/drawing/2014/main" id="{1E7305FA-3B65-4E3D-8937-27067EAEAAAC}"/>
                </a:ext>
              </a:extLst>
            </p:cNvPr>
            <p:cNvSpPr/>
            <p:nvPr/>
          </p:nvSpPr>
          <p:spPr>
            <a:xfrm>
              <a:off x="8090330" y="4549261"/>
              <a:ext cx="249554" cy="445770"/>
            </a:xfrm>
            <a:custGeom>
              <a:avLst/>
              <a:gdLst/>
              <a:ahLst/>
              <a:cxnLst/>
              <a:rect l="l" t="t" r="r" b="b"/>
              <a:pathLst>
                <a:path w="249554" h="445770">
                  <a:moveTo>
                    <a:pt x="141541" y="0"/>
                  </a:moveTo>
                  <a:lnTo>
                    <a:pt x="105181" y="0"/>
                  </a:lnTo>
                  <a:lnTo>
                    <a:pt x="105181" y="44234"/>
                  </a:lnTo>
                  <a:lnTo>
                    <a:pt x="60752" y="54492"/>
                  </a:lnTo>
                  <a:lnTo>
                    <a:pt x="27706" y="75441"/>
                  </a:lnTo>
                  <a:lnTo>
                    <a:pt x="7103" y="106709"/>
                  </a:lnTo>
                  <a:lnTo>
                    <a:pt x="0" y="147929"/>
                  </a:lnTo>
                  <a:lnTo>
                    <a:pt x="8064" y="189900"/>
                  </a:lnTo>
                  <a:lnTo>
                    <a:pt x="29490" y="218644"/>
                  </a:lnTo>
                  <a:lnTo>
                    <a:pt x="60130" y="237714"/>
                  </a:lnTo>
                  <a:lnTo>
                    <a:pt x="95834" y="250659"/>
                  </a:lnTo>
                  <a:lnTo>
                    <a:pt x="128354" y="260218"/>
                  </a:lnTo>
                  <a:lnTo>
                    <a:pt x="154381" y="270008"/>
                  </a:lnTo>
                  <a:lnTo>
                    <a:pt x="171654" y="283760"/>
                  </a:lnTo>
                  <a:lnTo>
                    <a:pt x="177914" y="305206"/>
                  </a:lnTo>
                  <a:lnTo>
                    <a:pt x="174512" y="322381"/>
                  </a:lnTo>
                  <a:lnTo>
                    <a:pt x="163969" y="335735"/>
                  </a:lnTo>
                  <a:lnTo>
                    <a:pt x="145778" y="344391"/>
                  </a:lnTo>
                  <a:lnTo>
                    <a:pt x="119430" y="347471"/>
                  </a:lnTo>
                  <a:lnTo>
                    <a:pt x="88986" y="344668"/>
                  </a:lnTo>
                  <a:lnTo>
                    <a:pt x="60204" y="337946"/>
                  </a:lnTo>
                  <a:lnTo>
                    <a:pt x="36213" y="329844"/>
                  </a:lnTo>
                  <a:lnTo>
                    <a:pt x="20142" y="322897"/>
                  </a:lnTo>
                  <a:lnTo>
                    <a:pt x="2946" y="374510"/>
                  </a:lnTo>
                  <a:lnTo>
                    <a:pt x="23547" y="383132"/>
                  </a:lnTo>
                  <a:lnTo>
                    <a:pt x="46134" y="390420"/>
                  </a:lnTo>
                  <a:lnTo>
                    <a:pt x="72685" y="396141"/>
                  </a:lnTo>
                  <a:lnTo>
                    <a:pt x="105181" y="400062"/>
                  </a:lnTo>
                  <a:lnTo>
                    <a:pt x="105181" y="445274"/>
                  </a:lnTo>
                  <a:lnTo>
                    <a:pt x="141541" y="445274"/>
                  </a:lnTo>
                  <a:lnTo>
                    <a:pt x="141541" y="399580"/>
                  </a:lnTo>
                  <a:lnTo>
                    <a:pt x="184901" y="389447"/>
                  </a:lnTo>
                  <a:lnTo>
                    <a:pt x="218951" y="369409"/>
                  </a:lnTo>
                  <a:lnTo>
                    <a:pt x="241203" y="338406"/>
                  </a:lnTo>
                  <a:lnTo>
                    <a:pt x="249173" y="295376"/>
                  </a:lnTo>
                  <a:lnTo>
                    <a:pt x="242102" y="256580"/>
                  </a:lnTo>
                  <a:lnTo>
                    <a:pt x="222453" y="229027"/>
                  </a:lnTo>
                  <a:lnTo>
                    <a:pt x="192574" y="209953"/>
                  </a:lnTo>
                  <a:lnTo>
                    <a:pt x="154812" y="196595"/>
                  </a:lnTo>
                  <a:lnTo>
                    <a:pt x="122892" y="187806"/>
                  </a:lnTo>
                  <a:lnTo>
                    <a:pt x="96267" y="177544"/>
                  </a:lnTo>
                  <a:lnTo>
                    <a:pt x="78026" y="162307"/>
                  </a:lnTo>
                  <a:lnTo>
                    <a:pt x="71259" y="138595"/>
                  </a:lnTo>
                  <a:lnTo>
                    <a:pt x="74223" y="122606"/>
                  </a:lnTo>
                  <a:lnTo>
                    <a:pt x="83915" y="109473"/>
                  </a:lnTo>
                  <a:lnTo>
                    <a:pt x="101531" y="100579"/>
                  </a:lnTo>
                  <a:lnTo>
                    <a:pt x="128269" y="97307"/>
                  </a:lnTo>
                  <a:lnTo>
                    <a:pt x="156907" y="100034"/>
                  </a:lnTo>
                  <a:lnTo>
                    <a:pt x="182641" y="106586"/>
                  </a:lnTo>
                  <a:lnTo>
                    <a:pt x="203675" y="114522"/>
                  </a:lnTo>
                  <a:lnTo>
                    <a:pt x="218211" y="121399"/>
                  </a:lnTo>
                  <a:lnTo>
                    <a:pt x="237870" y="69291"/>
                  </a:lnTo>
                  <a:lnTo>
                    <a:pt x="219435" y="61441"/>
                  </a:lnTo>
                  <a:lnTo>
                    <a:pt x="197264" y="54005"/>
                  </a:lnTo>
                  <a:lnTo>
                    <a:pt x="171314" y="47947"/>
                  </a:lnTo>
                  <a:lnTo>
                    <a:pt x="141541" y="44234"/>
                  </a:lnTo>
                  <a:lnTo>
                    <a:pt x="141541" y="0"/>
                  </a:lnTo>
                  <a:close/>
                </a:path>
              </a:pathLst>
            </a:custGeom>
            <a:solidFill>
              <a:srgbClr val="BBBDC7"/>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9" name="object 5">
              <a:extLst>
                <a:ext uri="{FF2B5EF4-FFF2-40B4-BE49-F238E27FC236}">
                  <a16:creationId xmlns:a16="http://schemas.microsoft.com/office/drawing/2014/main" id="{89F1C680-C450-423B-8C77-DB25E8C6F1E5}"/>
                </a:ext>
              </a:extLst>
            </p:cNvPr>
            <p:cNvSpPr/>
            <p:nvPr/>
          </p:nvSpPr>
          <p:spPr>
            <a:xfrm>
              <a:off x="6796049" y="3603625"/>
              <a:ext cx="713740" cy="1518285"/>
            </a:xfrm>
            <a:custGeom>
              <a:avLst/>
              <a:gdLst/>
              <a:ahLst/>
              <a:cxnLst/>
              <a:rect l="l" t="t" r="r" b="b"/>
              <a:pathLst>
                <a:path w="713740" h="1518285">
                  <a:moveTo>
                    <a:pt x="713231" y="0"/>
                  </a:moveTo>
                  <a:lnTo>
                    <a:pt x="0" y="0"/>
                  </a:lnTo>
                  <a:lnTo>
                    <a:pt x="0" y="1518158"/>
                  </a:lnTo>
                  <a:lnTo>
                    <a:pt x="713231" y="1518158"/>
                  </a:lnTo>
                  <a:lnTo>
                    <a:pt x="713231" y="0"/>
                  </a:lnTo>
                  <a:close/>
                </a:path>
              </a:pathLst>
            </a:custGeom>
            <a:solidFill>
              <a:srgbClr val="00A9EB"/>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0" name="object 6">
              <a:extLst>
                <a:ext uri="{FF2B5EF4-FFF2-40B4-BE49-F238E27FC236}">
                  <a16:creationId xmlns:a16="http://schemas.microsoft.com/office/drawing/2014/main" id="{2A98D8D1-D15D-4310-A15A-D5F58C23E5B6}"/>
                </a:ext>
              </a:extLst>
            </p:cNvPr>
            <p:cNvSpPr/>
            <p:nvPr/>
          </p:nvSpPr>
          <p:spPr>
            <a:xfrm>
              <a:off x="7028078" y="4159620"/>
              <a:ext cx="249554" cy="445770"/>
            </a:xfrm>
            <a:custGeom>
              <a:avLst/>
              <a:gdLst/>
              <a:ahLst/>
              <a:cxnLst/>
              <a:rect l="l" t="t" r="r" b="b"/>
              <a:pathLst>
                <a:path w="249554" h="445770">
                  <a:moveTo>
                    <a:pt x="141541" y="0"/>
                  </a:moveTo>
                  <a:lnTo>
                    <a:pt x="105181" y="0"/>
                  </a:lnTo>
                  <a:lnTo>
                    <a:pt x="105181" y="44234"/>
                  </a:lnTo>
                  <a:lnTo>
                    <a:pt x="60752" y="54492"/>
                  </a:lnTo>
                  <a:lnTo>
                    <a:pt x="27706" y="75441"/>
                  </a:lnTo>
                  <a:lnTo>
                    <a:pt x="7103" y="106709"/>
                  </a:lnTo>
                  <a:lnTo>
                    <a:pt x="0" y="147929"/>
                  </a:lnTo>
                  <a:lnTo>
                    <a:pt x="8064" y="189900"/>
                  </a:lnTo>
                  <a:lnTo>
                    <a:pt x="29490" y="218644"/>
                  </a:lnTo>
                  <a:lnTo>
                    <a:pt x="60130" y="237714"/>
                  </a:lnTo>
                  <a:lnTo>
                    <a:pt x="95834" y="250659"/>
                  </a:lnTo>
                  <a:lnTo>
                    <a:pt x="128354" y="260218"/>
                  </a:lnTo>
                  <a:lnTo>
                    <a:pt x="154381" y="270008"/>
                  </a:lnTo>
                  <a:lnTo>
                    <a:pt x="171654" y="283760"/>
                  </a:lnTo>
                  <a:lnTo>
                    <a:pt x="177914" y="305206"/>
                  </a:lnTo>
                  <a:lnTo>
                    <a:pt x="174512" y="322381"/>
                  </a:lnTo>
                  <a:lnTo>
                    <a:pt x="163969" y="335735"/>
                  </a:lnTo>
                  <a:lnTo>
                    <a:pt x="145778" y="344391"/>
                  </a:lnTo>
                  <a:lnTo>
                    <a:pt x="119430" y="347472"/>
                  </a:lnTo>
                  <a:lnTo>
                    <a:pt x="88986" y="344668"/>
                  </a:lnTo>
                  <a:lnTo>
                    <a:pt x="60204" y="337947"/>
                  </a:lnTo>
                  <a:lnTo>
                    <a:pt x="36213" y="329844"/>
                  </a:lnTo>
                  <a:lnTo>
                    <a:pt x="20142" y="322897"/>
                  </a:lnTo>
                  <a:lnTo>
                    <a:pt x="2946" y="374510"/>
                  </a:lnTo>
                  <a:lnTo>
                    <a:pt x="23547" y="383132"/>
                  </a:lnTo>
                  <a:lnTo>
                    <a:pt x="46134" y="390420"/>
                  </a:lnTo>
                  <a:lnTo>
                    <a:pt x="72685" y="396141"/>
                  </a:lnTo>
                  <a:lnTo>
                    <a:pt x="105181" y="400062"/>
                  </a:lnTo>
                  <a:lnTo>
                    <a:pt x="105181" y="445274"/>
                  </a:lnTo>
                  <a:lnTo>
                    <a:pt x="141541" y="445274"/>
                  </a:lnTo>
                  <a:lnTo>
                    <a:pt x="141541" y="399580"/>
                  </a:lnTo>
                  <a:lnTo>
                    <a:pt x="184901" y="389447"/>
                  </a:lnTo>
                  <a:lnTo>
                    <a:pt x="218951" y="369409"/>
                  </a:lnTo>
                  <a:lnTo>
                    <a:pt x="241203" y="338406"/>
                  </a:lnTo>
                  <a:lnTo>
                    <a:pt x="249173" y="295376"/>
                  </a:lnTo>
                  <a:lnTo>
                    <a:pt x="242102" y="256580"/>
                  </a:lnTo>
                  <a:lnTo>
                    <a:pt x="222453" y="229027"/>
                  </a:lnTo>
                  <a:lnTo>
                    <a:pt x="192574" y="209953"/>
                  </a:lnTo>
                  <a:lnTo>
                    <a:pt x="154812" y="196596"/>
                  </a:lnTo>
                  <a:lnTo>
                    <a:pt x="122892" y="187806"/>
                  </a:lnTo>
                  <a:lnTo>
                    <a:pt x="96267" y="177544"/>
                  </a:lnTo>
                  <a:lnTo>
                    <a:pt x="78026" y="162307"/>
                  </a:lnTo>
                  <a:lnTo>
                    <a:pt x="71259" y="138595"/>
                  </a:lnTo>
                  <a:lnTo>
                    <a:pt x="74223" y="122606"/>
                  </a:lnTo>
                  <a:lnTo>
                    <a:pt x="83915" y="109474"/>
                  </a:lnTo>
                  <a:lnTo>
                    <a:pt x="101531" y="100579"/>
                  </a:lnTo>
                  <a:lnTo>
                    <a:pt x="128269" y="97307"/>
                  </a:lnTo>
                  <a:lnTo>
                    <a:pt x="156907" y="100034"/>
                  </a:lnTo>
                  <a:lnTo>
                    <a:pt x="182641" y="106586"/>
                  </a:lnTo>
                  <a:lnTo>
                    <a:pt x="203675" y="114522"/>
                  </a:lnTo>
                  <a:lnTo>
                    <a:pt x="218211" y="121399"/>
                  </a:lnTo>
                  <a:lnTo>
                    <a:pt x="237870" y="69291"/>
                  </a:lnTo>
                  <a:lnTo>
                    <a:pt x="219435" y="61441"/>
                  </a:lnTo>
                  <a:lnTo>
                    <a:pt x="197264" y="54005"/>
                  </a:lnTo>
                  <a:lnTo>
                    <a:pt x="171314" y="47947"/>
                  </a:lnTo>
                  <a:lnTo>
                    <a:pt x="141541" y="44234"/>
                  </a:lnTo>
                  <a:lnTo>
                    <a:pt x="141541" y="0"/>
                  </a:lnTo>
                  <a:close/>
                </a:path>
              </a:pathLst>
            </a:custGeom>
            <a:solidFill>
              <a:srgbClr val="9AD7F9"/>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1" name="object 7">
              <a:extLst>
                <a:ext uri="{FF2B5EF4-FFF2-40B4-BE49-F238E27FC236}">
                  <a16:creationId xmlns:a16="http://schemas.microsoft.com/office/drawing/2014/main" id="{51DD5CE1-B05B-4533-95E8-82A81DC90F54}"/>
                </a:ext>
              </a:extLst>
            </p:cNvPr>
            <p:cNvSpPr/>
            <p:nvPr/>
          </p:nvSpPr>
          <p:spPr>
            <a:xfrm>
              <a:off x="6528816" y="5121718"/>
              <a:ext cx="2476500" cy="0"/>
            </a:xfrm>
            <a:custGeom>
              <a:avLst/>
              <a:gdLst/>
              <a:ahLst/>
              <a:cxnLst/>
              <a:rect l="l" t="t" r="r" b="b"/>
              <a:pathLst>
                <a:path w="2476500">
                  <a:moveTo>
                    <a:pt x="0" y="0"/>
                  </a:moveTo>
                  <a:lnTo>
                    <a:pt x="2476474" y="0"/>
                  </a:lnTo>
                </a:path>
              </a:pathLst>
            </a:custGeom>
            <a:ln w="9525">
              <a:solidFill>
                <a:srgbClr val="989AA5"/>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sp>
        <p:nvSpPr>
          <p:cNvPr id="12" name="object 8">
            <a:extLst>
              <a:ext uri="{FF2B5EF4-FFF2-40B4-BE49-F238E27FC236}">
                <a16:creationId xmlns:a16="http://schemas.microsoft.com/office/drawing/2014/main" id="{8485528E-5CEA-4A7B-ACAE-F3FE988259A3}"/>
              </a:ext>
            </a:extLst>
          </p:cNvPr>
          <p:cNvSpPr txBox="1"/>
          <p:nvPr/>
        </p:nvSpPr>
        <p:spPr>
          <a:xfrm>
            <a:off x="7642667" y="3723260"/>
            <a:ext cx="515620" cy="135935"/>
          </a:xfrm>
          <a:prstGeom prst="rect">
            <a:avLst/>
          </a:prstGeom>
        </p:spPr>
        <p:txBody>
          <a:bodyPr vert="horz" wrap="square" lIns="0" tIns="12700" rIns="0" bIns="0" rtlCol="0">
            <a:spAutoFit/>
          </a:bodyPr>
          <a:lstStyle/>
          <a:p>
            <a:pPr marL="12699">
              <a:spcBef>
                <a:spcPts val="100"/>
              </a:spcBef>
            </a:pPr>
            <a:r>
              <a:rPr sz="800" spc="-5" dirty="0">
                <a:solidFill>
                  <a:srgbClr val="231F20"/>
                </a:solidFill>
                <a:latin typeface="Neue Frutiger World" panose="020B0603040304020203" pitchFamily="34" charset="0"/>
                <a:cs typeface="Neue Frutiger World" panose="020B0603040304020203" pitchFamily="34" charset="0"/>
              </a:rPr>
              <a:t>Ext</a:t>
            </a:r>
            <a:r>
              <a:rPr sz="800" spc="-15" dirty="0">
                <a:solidFill>
                  <a:srgbClr val="231F20"/>
                </a:solidFill>
                <a:latin typeface="Neue Frutiger World" panose="020B0603040304020203" pitchFamily="34" charset="0"/>
                <a:cs typeface="Neue Frutiger World" panose="020B0603040304020203" pitchFamily="34" charset="0"/>
              </a:rPr>
              <a:t>ra</a:t>
            </a:r>
            <a:r>
              <a:rPr sz="800" spc="-5" dirty="0">
                <a:solidFill>
                  <a:srgbClr val="231F20"/>
                </a:solidFill>
                <a:latin typeface="Neue Frutiger World" panose="020B0603040304020203" pitchFamily="34" charset="0"/>
                <a:cs typeface="Neue Frutiger World" panose="020B0603040304020203" pitchFamily="34" charset="0"/>
              </a:rPr>
              <a:t>ction</a:t>
            </a:r>
            <a:endParaRPr sz="800" dirty="0">
              <a:latin typeface="Neue Frutiger World" panose="020B0603040304020203" pitchFamily="34" charset="0"/>
              <a:cs typeface="Neue Frutiger World" panose="020B0603040304020203" pitchFamily="34" charset="0"/>
            </a:endParaRPr>
          </a:p>
        </p:txBody>
      </p:sp>
      <p:sp>
        <p:nvSpPr>
          <p:cNvPr id="13" name="object 9">
            <a:extLst>
              <a:ext uri="{FF2B5EF4-FFF2-40B4-BE49-F238E27FC236}">
                <a16:creationId xmlns:a16="http://schemas.microsoft.com/office/drawing/2014/main" id="{E0DD8FBD-093F-4B5B-8403-79A853ED42B4}"/>
              </a:ext>
            </a:extLst>
          </p:cNvPr>
          <p:cNvSpPr txBox="1"/>
          <p:nvPr/>
        </p:nvSpPr>
        <p:spPr>
          <a:xfrm>
            <a:off x="7588480" y="2680856"/>
            <a:ext cx="623570" cy="412934"/>
          </a:xfrm>
          <a:prstGeom prst="rect">
            <a:avLst/>
          </a:prstGeom>
        </p:spPr>
        <p:txBody>
          <a:bodyPr vert="horz" wrap="square" lIns="0" tIns="12700" rIns="0" bIns="0" rtlCol="0">
            <a:spAutoFit/>
          </a:bodyPr>
          <a:lstStyle/>
          <a:p>
            <a:pPr marL="12699">
              <a:spcBef>
                <a:spcPts val="100"/>
              </a:spcBef>
            </a:pPr>
            <a:r>
              <a:rPr sz="1300" spc="10" dirty="0">
                <a:solidFill>
                  <a:srgbClr val="989AA5"/>
                </a:solidFill>
                <a:latin typeface="Neue Frutiger World" panose="020B0603040304020203" pitchFamily="34" charset="0"/>
                <a:cs typeface="Neue Frutiger World" panose="020B0603040304020203" pitchFamily="34" charset="0"/>
              </a:rPr>
              <a:t>$45,291</a:t>
            </a:r>
            <a:endParaRPr sz="1300" dirty="0">
              <a:latin typeface="Neue Frutiger World" panose="020B0603040304020203" pitchFamily="34" charset="0"/>
              <a:cs typeface="Neue Frutiger World" panose="020B0603040304020203" pitchFamily="34" charset="0"/>
            </a:endParaRPr>
          </a:p>
        </p:txBody>
      </p:sp>
      <p:sp>
        <p:nvSpPr>
          <p:cNvPr id="14" name="object 10">
            <a:extLst>
              <a:ext uri="{FF2B5EF4-FFF2-40B4-BE49-F238E27FC236}">
                <a16:creationId xmlns:a16="http://schemas.microsoft.com/office/drawing/2014/main" id="{EF596BCA-4476-45A3-95D0-0D00305424C2}"/>
              </a:ext>
            </a:extLst>
          </p:cNvPr>
          <p:cNvSpPr txBox="1"/>
          <p:nvPr/>
        </p:nvSpPr>
        <p:spPr>
          <a:xfrm>
            <a:off x="6043255" y="797506"/>
            <a:ext cx="2818130" cy="625941"/>
          </a:xfrm>
          <a:prstGeom prst="rect">
            <a:avLst/>
          </a:prstGeom>
        </p:spPr>
        <p:txBody>
          <a:bodyPr vert="horz" wrap="square" lIns="0" tIns="7620" rIns="0" bIns="0" rtlCol="0">
            <a:spAutoFit/>
          </a:bodyPr>
          <a:lstStyle/>
          <a:p>
            <a:pPr marL="38097" marR="30477">
              <a:lnSpc>
                <a:spcPct val="102600"/>
              </a:lnSpc>
              <a:spcBef>
                <a:spcPts val="60"/>
              </a:spcBef>
            </a:pPr>
            <a:r>
              <a:rPr sz="1300" spc="-10" dirty="0">
                <a:solidFill>
                  <a:srgbClr val="0077CD"/>
                </a:solidFill>
                <a:latin typeface="Neue Frutiger World" panose="020B0603040304020203" pitchFamily="34" charset="0"/>
                <a:cs typeface="Neue Frutiger World" panose="020B0603040304020203" pitchFamily="34" charset="0"/>
              </a:rPr>
              <a:t>Infections </a:t>
            </a:r>
            <a:r>
              <a:rPr sz="1300" spc="-5" dirty="0">
                <a:solidFill>
                  <a:srgbClr val="0077CD"/>
                </a:solidFill>
                <a:latin typeface="Neue Frutiger World" panose="020B0603040304020203" pitchFamily="34" charset="0"/>
                <a:cs typeface="Neue Frutiger World" panose="020B0603040304020203" pitchFamily="34" charset="0"/>
              </a:rPr>
              <a:t>managed </a:t>
            </a:r>
            <a:r>
              <a:rPr sz="1300" dirty="0">
                <a:solidFill>
                  <a:srgbClr val="0077CD"/>
                </a:solidFill>
                <a:latin typeface="Neue Frutiger World" panose="020B0603040304020203" pitchFamily="34" charset="0"/>
                <a:cs typeface="Neue Frutiger World" panose="020B0603040304020203" pitchFamily="34" charset="0"/>
              </a:rPr>
              <a:t>by </a:t>
            </a:r>
            <a:r>
              <a:rPr sz="1300" spc="-15" dirty="0">
                <a:solidFill>
                  <a:srgbClr val="0077CD"/>
                </a:solidFill>
                <a:latin typeface="Neue Frutiger World" panose="020B0603040304020203" pitchFamily="34" charset="0"/>
                <a:cs typeface="Neue Frutiger World" panose="020B0603040304020203" pitchFamily="34" charset="0"/>
              </a:rPr>
              <a:t>inpatient</a:t>
            </a:r>
            <a:r>
              <a:rPr lang="en-GB" sz="1300" spc="-1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admissions without </a:t>
            </a:r>
            <a:r>
              <a:rPr sz="1300" spc="15" dirty="0">
                <a:solidFill>
                  <a:srgbClr val="0077CD"/>
                </a:solidFill>
                <a:latin typeface="Neue Frutiger World" panose="020B0603040304020203" pitchFamily="34" charset="0"/>
                <a:cs typeface="Neue Frutiger World" panose="020B0603040304020203" pitchFamily="34" charset="0"/>
              </a:rPr>
              <a:t>CIED </a:t>
            </a:r>
            <a:r>
              <a:rPr sz="1300" spc="-15" dirty="0">
                <a:solidFill>
                  <a:srgbClr val="0077CD"/>
                </a:solidFill>
                <a:latin typeface="Neue Frutiger World" panose="020B0603040304020203" pitchFamily="34" charset="0"/>
                <a:cs typeface="Neue Frutiger World" panose="020B0603040304020203" pitchFamily="34" charset="0"/>
              </a:rPr>
              <a:t>removal</a:t>
            </a:r>
            <a:r>
              <a:rPr lang="en-GB" sz="1300" spc="-15"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costs</a:t>
            </a:r>
            <a:r>
              <a:rPr sz="1300" spc="-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more</a:t>
            </a:r>
            <a:r>
              <a:rPr sz="1300" spc="-1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than</a:t>
            </a:r>
            <a:r>
              <a:rPr sz="1300" spc="-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2x</a:t>
            </a:r>
            <a:r>
              <a:rPr sz="1300" spc="-5"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CIED</a:t>
            </a:r>
            <a:r>
              <a:rPr sz="1300" spc="-5" dirty="0">
                <a:solidFill>
                  <a:srgbClr val="0077CD"/>
                </a:solidFill>
                <a:latin typeface="Neue Frutiger World" panose="020B0603040304020203" pitchFamily="34" charset="0"/>
                <a:cs typeface="Neue Frutiger World" panose="020B0603040304020203" pitchFamily="34" charset="0"/>
              </a:rPr>
              <a:t> removal.</a:t>
            </a:r>
            <a:r>
              <a:rPr sz="1125" spc="-7" baseline="33333" dirty="0">
                <a:solidFill>
                  <a:srgbClr val="0077CD"/>
                </a:solidFill>
                <a:latin typeface="Neue Frutiger World" panose="020B0603040304020203" pitchFamily="34" charset="0"/>
                <a:cs typeface="Neue Frutiger World" panose="020B0603040304020203" pitchFamily="34" charset="0"/>
              </a:rPr>
              <a:t>26</a:t>
            </a:r>
            <a:endParaRPr sz="1125" baseline="33333" dirty="0">
              <a:latin typeface="Neue Frutiger World" panose="020B0603040304020203" pitchFamily="34" charset="0"/>
              <a:cs typeface="Neue Frutiger World" panose="020B0603040304020203" pitchFamily="34" charset="0"/>
            </a:endParaRPr>
          </a:p>
        </p:txBody>
      </p:sp>
      <p:sp>
        <p:nvSpPr>
          <p:cNvPr id="15" name="object 11">
            <a:extLst>
              <a:ext uri="{FF2B5EF4-FFF2-40B4-BE49-F238E27FC236}">
                <a16:creationId xmlns:a16="http://schemas.microsoft.com/office/drawing/2014/main" id="{BBBFF3E0-E82A-4DA1-B4DC-E8AC1F4E0A24}"/>
              </a:ext>
            </a:extLst>
          </p:cNvPr>
          <p:cNvSpPr txBox="1"/>
          <p:nvPr/>
        </p:nvSpPr>
        <p:spPr>
          <a:xfrm>
            <a:off x="6500664" y="3723260"/>
            <a:ext cx="675005" cy="135935"/>
          </a:xfrm>
          <a:prstGeom prst="rect">
            <a:avLst/>
          </a:prstGeom>
        </p:spPr>
        <p:txBody>
          <a:bodyPr vert="horz" wrap="square" lIns="0" tIns="12700" rIns="0" bIns="0" rtlCol="0">
            <a:spAutoFit/>
          </a:bodyPr>
          <a:lstStyle/>
          <a:p>
            <a:pPr marL="12699">
              <a:spcBef>
                <a:spcPts val="100"/>
              </a:spcBef>
            </a:pPr>
            <a:r>
              <a:rPr sz="800" dirty="0">
                <a:solidFill>
                  <a:srgbClr val="231F20"/>
                </a:solidFill>
                <a:latin typeface="Neue Frutiger World" panose="020B0603040304020203" pitchFamily="34" charset="0"/>
                <a:cs typeface="Neue Frutiger World" panose="020B0603040304020203" pitchFamily="34" charset="0"/>
              </a:rPr>
              <a:t>No</a:t>
            </a:r>
            <a:r>
              <a:rPr sz="800" spc="-4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xtraction</a:t>
            </a:r>
            <a:endParaRPr sz="800" dirty="0">
              <a:latin typeface="Neue Frutiger World" panose="020B0603040304020203" pitchFamily="34" charset="0"/>
              <a:cs typeface="Neue Frutiger World" panose="020B0603040304020203" pitchFamily="34" charset="0"/>
            </a:endParaRPr>
          </a:p>
        </p:txBody>
      </p:sp>
      <p:sp>
        <p:nvSpPr>
          <p:cNvPr id="16" name="object 14">
            <a:extLst>
              <a:ext uri="{FF2B5EF4-FFF2-40B4-BE49-F238E27FC236}">
                <a16:creationId xmlns:a16="http://schemas.microsoft.com/office/drawing/2014/main" id="{8A81C8E8-322E-4E51-A1BC-0DBE3A4FB4EF}"/>
              </a:ext>
            </a:extLst>
          </p:cNvPr>
          <p:cNvSpPr txBox="1"/>
          <p:nvPr/>
        </p:nvSpPr>
        <p:spPr>
          <a:xfrm>
            <a:off x="1547664" y="800524"/>
            <a:ext cx="3938583" cy="2947217"/>
          </a:xfrm>
          <a:prstGeom prst="rect">
            <a:avLst/>
          </a:prstGeom>
        </p:spPr>
        <p:txBody>
          <a:bodyPr vert="horz" wrap="square" lIns="0" tIns="7620" rIns="0" bIns="0" rtlCol="0">
            <a:spAutoFit/>
          </a:bodyPr>
          <a:lstStyle/>
          <a:p>
            <a:pPr marL="38097" marR="98416">
              <a:lnSpc>
                <a:spcPct val="104200"/>
              </a:lnSpc>
              <a:spcBef>
                <a:spcPts val="60"/>
              </a:spcBef>
            </a:pPr>
            <a:r>
              <a:rPr sz="900" spc="5" dirty="0">
                <a:solidFill>
                  <a:srgbClr val="231F20"/>
                </a:solidFill>
                <a:latin typeface="Neue Frutiger World" panose="020B0603040304020203" pitchFamily="34" charset="0"/>
                <a:cs typeface="Neue Frutiger World" panose="020B0603040304020203" pitchFamily="34" charset="0"/>
              </a:rPr>
              <a:t>CIED</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infection</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places</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n</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enormous</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economic</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burden</a:t>
            </a:r>
            <a:r>
              <a:rPr sz="900" spc="1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n</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he</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ealthcare</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ystem,</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n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has</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high</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1-year</a:t>
            </a:r>
            <a:r>
              <a:rPr lang="en-GB" sz="90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mortality</a:t>
            </a:r>
            <a:r>
              <a:rPr sz="900" spc="-15" dirty="0">
                <a:solidFill>
                  <a:srgbClr val="231F20"/>
                </a:solidFill>
                <a:latin typeface="Neue Frutiger World" panose="020B0603040304020203" pitchFamily="34" charset="0"/>
                <a:cs typeface="Neue Frutiger World" panose="020B0603040304020203" pitchFamily="34" charset="0"/>
              </a:rPr>
              <a:t> rate</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for</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atients.</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While</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physicians</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re</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ware</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f</a:t>
            </a:r>
            <a:r>
              <a:rPr sz="900" spc="-10" dirty="0">
                <a:solidFill>
                  <a:srgbClr val="231F20"/>
                </a:solidFill>
                <a:latin typeface="Neue Frutiger World" panose="020B0603040304020203" pitchFamily="34" charset="0"/>
                <a:cs typeface="Neue Frutiger World" panose="020B0603040304020203" pitchFamily="34" charset="0"/>
              </a:rPr>
              <a:t> the</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risks</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ssociate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with</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IED</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fection,</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many</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re</a:t>
            </a:r>
            <a:r>
              <a:rPr lang="en-GB"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still</a:t>
            </a:r>
            <a:r>
              <a:rPr sz="900" dirty="0">
                <a:solidFill>
                  <a:srgbClr val="231F20"/>
                </a:solidFill>
                <a:latin typeface="Neue Frutiger World" panose="020B0603040304020203" pitchFamily="34" charset="0"/>
                <a:cs typeface="Neue Frutiger World" panose="020B0603040304020203" pitchFamily="34" charset="0"/>
              </a:rPr>
              <a:t> </a:t>
            </a:r>
            <a:r>
              <a:rPr sz="900" spc="-15" dirty="0">
                <a:solidFill>
                  <a:srgbClr val="231F20"/>
                </a:solidFill>
                <a:latin typeface="Neue Frutiger World" panose="020B0603040304020203" pitchFamily="34" charset="0"/>
                <a:cs typeface="Neue Frutiger World" panose="020B0603040304020203" pitchFamily="34" charset="0"/>
              </a:rPr>
              <a:t>treated </a:t>
            </a:r>
            <a:r>
              <a:rPr sz="900" spc="-5" dirty="0">
                <a:solidFill>
                  <a:srgbClr val="231F20"/>
                </a:solidFill>
                <a:latin typeface="Neue Frutiger World" panose="020B0603040304020203" pitchFamily="34" charset="0"/>
                <a:cs typeface="Neue Frutiger World" panose="020B0603040304020203" pitchFamily="34" charset="0"/>
              </a:rPr>
              <a:t>with</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ntibiotics</a:t>
            </a:r>
            <a:r>
              <a:rPr sz="900" spc="5" dirty="0">
                <a:solidFill>
                  <a:srgbClr val="231F20"/>
                </a:solidFill>
                <a:latin typeface="Neue Frutiger World" panose="020B0603040304020203" pitchFamily="34" charset="0"/>
                <a:cs typeface="Neue Frutiger World" panose="020B0603040304020203" pitchFamily="34" charset="0"/>
              </a:rPr>
              <a:t> </a:t>
            </a:r>
            <a:r>
              <a:rPr sz="900" spc="-15" dirty="0">
                <a:solidFill>
                  <a:srgbClr val="231F20"/>
                </a:solidFill>
                <a:latin typeface="Neue Frutiger World" panose="020B0603040304020203" pitchFamily="34" charset="0"/>
                <a:cs typeface="Neue Frutiger World" panose="020B0603040304020203" pitchFamily="34" charset="0"/>
              </a:rPr>
              <a:t>first. </a:t>
            </a:r>
            <a:r>
              <a:rPr sz="900" spc="-10" dirty="0">
                <a:solidFill>
                  <a:srgbClr val="231F20"/>
                </a:solidFill>
                <a:latin typeface="Neue Frutiger World" panose="020B0603040304020203" pitchFamily="34" charset="0"/>
                <a:cs typeface="Neue Frutiger World" panose="020B0603040304020203" pitchFamily="34" charset="0"/>
              </a:rPr>
              <a:t>Antibiotics</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ave</a:t>
            </a:r>
            <a:r>
              <a:rPr sz="900" spc="1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been</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hown</a:t>
            </a:r>
            <a:r>
              <a:rPr sz="900" spc="5" dirty="0">
                <a:solidFill>
                  <a:srgbClr val="231F20"/>
                </a:solidFill>
                <a:latin typeface="Neue Frutiger World" panose="020B0603040304020203" pitchFamily="34" charset="0"/>
                <a:cs typeface="Neue Frutiger World" panose="020B0603040304020203" pitchFamily="34" charset="0"/>
              </a:rPr>
              <a:t> </a:t>
            </a:r>
            <a:r>
              <a:rPr sz="900" spc="-20" dirty="0">
                <a:solidFill>
                  <a:srgbClr val="231F20"/>
                </a:solidFill>
                <a:latin typeface="Neue Frutiger World" panose="020B0603040304020203" pitchFamily="34" charset="0"/>
                <a:cs typeface="Neue Frutiger World" panose="020B0603040304020203" pitchFamily="34" charset="0"/>
              </a:rPr>
              <a:t>to</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ave</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50-100% </a:t>
            </a:r>
            <a:r>
              <a:rPr sz="900" spc="-5" dirty="0">
                <a:solidFill>
                  <a:srgbClr val="231F20"/>
                </a:solidFill>
                <a:latin typeface="Neue Frutiger World" panose="020B0603040304020203" pitchFamily="34" charset="0"/>
                <a:cs typeface="Neue Frutiger World" panose="020B0603040304020203" pitchFamily="34" charset="0"/>
              </a:rPr>
              <a:t>relapse</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rate,</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nd</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re</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not</a:t>
            </a:r>
            <a:r>
              <a:rPr lang="en-GB"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onsidered</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definitive</a:t>
            </a:r>
            <a:r>
              <a:rPr sz="900" spc="5" dirty="0">
                <a:solidFill>
                  <a:srgbClr val="231F20"/>
                </a:solidFill>
                <a:latin typeface="Neue Frutiger World" panose="020B0603040304020203" pitchFamily="34" charset="0"/>
                <a:cs typeface="Neue Frutiger World" panose="020B0603040304020203" pitchFamily="34" charset="0"/>
              </a:rPr>
              <a:t> </a:t>
            </a:r>
            <a:r>
              <a:rPr sz="900" spc="-15" dirty="0">
                <a:solidFill>
                  <a:srgbClr val="231F20"/>
                </a:solidFill>
                <a:latin typeface="Neue Frutiger World" panose="020B0603040304020203" pitchFamily="34" charset="0"/>
                <a:cs typeface="Neue Frutiger World" panose="020B0603040304020203" pitchFamily="34" charset="0"/>
              </a:rPr>
              <a:t>treatment</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for </a:t>
            </a:r>
            <a:r>
              <a:rPr sz="900" spc="5" dirty="0">
                <a:solidFill>
                  <a:srgbClr val="231F20"/>
                </a:solidFill>
                <a:latin typeface="Neue Frutiger World" panose="020B0603040304020203" pitchFamily="34" charset="0"/>
                <a:cs typeface="Neue Frutiger World" panose="020B0603040304020203" pitchFamily="34" charset="0"/>
              </a:rPr>
              <a:t>CIED</a:t>
            </a:r>
            <a:r>
              <a:rPr sz="900" spc="1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infection.</a:t>
            </a:r>
            <a:r>
              <a:rPr sz="900" baseline="30864" dirty="0">
                <a:solidFill>
                  <a:srgbClr val="231F20"/>
                </a:solidFill>
                <a:latin typeface="Neue Frutiger World" panose="020B0603040304020203" pitchFamily="34" charset="0"/>
                <a:cs typeface="Neue Frutiger World" panose="020B0603040304020203" pitchFamily="34" charset="0"/>
              </a:rPr>
              <a:t>5-9</a:t>
            </a:r>
            <a:r>
              <a:rPr sz="900" b="1" spc="112" baseline="30864" dirty="0">
                <a:solidFill>
                  <a:srgbClr val="231F20"/>
                </a:solidFill>
                <a:latin typeface="Neue Frutiger World" panose="020B0603040304020203" pitchFamily="34" charset="0"/>
                <a:cs typeface="Neue Frutiger World" panose="020B0603040304020203" pitchFamily="34" charset="0"/>
              </a:rPr>
              <a:t> </a:t>
            </a:r>
            <a:r>
              <a:rPr lang="en-GB" sz="900" b="1" spc="-5" dirty="0">
                <a:solidFill>
                  <a:srgbClr val="231F20"/>
                </a:solidFill>
                <a:latin typeface="Neue Frutiger World" panose="020B0603040304020203" pitchFamily="34" charset="0"/>
                <a:cs typeface="Neue Frutiger World" panose="020B0603040304020203" pitchFamily="34" charset="0"/>
              </a:rPr>
              <a:t>Infection is a class 1 indication for extraction</a:t>
            </a:r>
            <a:r>
              <a:rPr lang="en-GB" sz="900" spc="-5" dirty="0">
                <a:solidFill>
                  <a:srgbClr val="231F20"/>
                </a:solidFill>
                <a:latin typeface="Neue Frutiger World" panose="020B0603040304020203" pitchFamily="34" charset="0"/>
                <a:cs typeface="Neue Frutiger World" panose="020B0603040304020203" pitchFamily="34" charset="0"/>
              </a:rPr>
              <a:t>. The 2017 HRS Consensus document was endorsed by societies worldwide</a:t>
            </a:r>
            <a:r>
              <a:rPr sz="900" spc="-5" dirty="0">
                <a:solidFill>
                  <a:srgbClr val="231F20"/>
                </a:solidFill>
                <a:latin typeface="Neue Frutiger World" panose="020B0603040304020203" pitchFamily="34" charset="0"/>
                <a:cs typeface="Neue Frutiger World" panose="020B0603040304020203" pitchFamily="34" charset="0"/>
              </a:rPr>
              <a:t>.</a:t>
            </a:r>
            <a:r>
              <a:rPr lang="en-GB" sz="900" spc="-5" dirty="0">
                <a:solidFill>
                  <a:srgbClr val="231F20"/>
                </a:solidFill>
                <a:latin typeface="Neue Frutiger World" panose="020B0603040304020203" pitchFamily="34" charset="0"/>
                <a:cs typeface="Neue Frutiger World" panose="020B0603040304020203" pitchFamily="34" charset="0"/>
              </a:rPr>
              <a:t> – ACC, AHA, APHRS, ASA, EHRA, IDSA, LAHRS, PACES &amp; STS</a:t>
            </a:r>
            <a:r>
              <a:rPr sz="900" spc="-7" baseline="30864" dirty="0">
                <a:solidFill>
                  <a:srgbClr val="231F20"/>
                </a:solidFill>
                <a:latin typeface="Neue Frutiger World" panose="020B0603040304020203" pitchFamily="34" charset="0"/>
                <a:cs typeface="Neue Frutiger World" panose="020B0603040304020203" pitchFamily="34" charset="0"/>
              </a:rPr>
              <a:t>17</a:t>
            </a:r>
            <a:endParaRPr sz="900" baseline="30864" dirty="0">
              <a:latin typeface="Neue Frutiger World" panose="020B0603040304020203" pitchFamily="34" charset="0"/>
              <a:cs typeface="Neue Frutiger World" panose="020B0603040304020203" pitchFamily="34" charset="0"/>
            </a:endParaRPr>
          </a:p>
          <a:p>
            <a:pPr marL="38097">
              <a:spcBef>
                <a:spcPts val="489"/>
              </a:spcBef>
            </a:pPr>
            <a:r>
              <a:rPr sz="900" dirty="0">
                <a:solidFill>
                  <a:srgbClr val="231F20"/>
                </a:solidFill>
                <a:latin typeface="Neue Frutiger World" panose="020B0603040304020203" pitchFamily="34" charset="0"/>
                <a:cs typeface="Neue Frutiger World" panose="020B0603040304020203" pitchFamily="34" charset="0"/>
              </a:rPr>
              <a:t>Early</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extraction</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preferably</a:t>
            </a:r>
            <a:r>
              <a:rPr sz="900" spc="-3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within</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hree</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ays</a:t>
            </a:r>
            <a:r>
              <a:rPr sz="900" spc="1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f</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iagnosis)</a:t>
            </a:r>
            <a:r>
              <a:rPr sz="900" spc="10" dirty="0">
                <a:solidFill>
                  <a:srgbClr val="231F20"/>
                </a:solidFill>
                <a:latin typeface="Neue Frutiger World" panose="020B0603040304020203" pitchFamily="34" charset="0"/>
                <a:cs typeface="Neue Frutiger World" panose="020B0603040304020203" pitchFamily="34" charset="0"/>
              </a:rPr>
              <a:t> </a:t>
            </a:r>
            <a:r>
              <a:rPr lang="en-GB" sz="900" spc="-15" dirty="0">
                <a:solidFill>
                  <a:srgbClr val="231F20"/>
                </a:solidFill>
                <a:latin typeface="Neue Frutiger World" panose="020B0603040304020203" pitchFamily="34" charset="0"/>
                <a:cs typeface="Neue Frutiger World" panose="020B0603040304020203" pitchFamily="34" charset="0"/>
              </a:rPr>
              <a:t>has been shown to prevent the following</a:t>
            </a:r>
            <a:r>
              <a:rPr sz="900" spc="-5" dirty="0">
                <a:solidFill>
                  <a:srgbClr val="231F20"/>
                </a:solidFill>
                <a:latin typeface="Neue Frutiger World" panose="020B0603040304020203" pitchFamily="34" charset="0"/>
                <a:cs typeface="Neue Frutiger World" panose="020B0603040304020203" pitchFamily="34" charset="0"/>
              </a:rPr>
              <a:t>:</a:t>
            </a:r>
            <a:endParaRPr sz="900" dirty="0">
              <a:latin typeface="Neue Frutiger World" panose="020B0603040304020203" pitchFamily="34" charset="0"/>
              <a:cs typeface="Neue Frutiger World" panose="020B0603040304020203" pitchFamily="34" charset="0"/>
            </a:endParaRPr>
          </a:p>
          <a:p>
            <a:pPr marL="241280" indent="-76194">
              <a:spcBef>
                <a:spcPts val="270"/>
              </a:spcBef>
              <a:buChar char="•"/>
              <a:tabLst>
                <a:tab pos="241280" algn="l"/>
              </a:tabLst>
            </a:pPr>
            <a:r>
              <a:rPr sz="900" spc="-5" dirty="0">
                <a:solidFill>
                  <a:srgbClr val="231F20"/>
                </a:solidFill>
                <a:latin typeface="Neue Frutiger World" panose="020B0603040304020203" pitchFamily="34" charset="0"/>
                <a:cs typeface="Neue Frutiger World" panose="020B0603040304020203" pitchFamily="34" charset="0"/>
              </a:rPr>
              <a:t>Long-term</a:t>
            </a:r>
            <a:r>
              <a:rPr sz="900" spc="-10" dirty="0">
                <a:solidFill>
                  <a:srgbClr val="231F20"/>
                </a:solidFill>
                <a:latin typeface="Neue Frutiger World" panose="020B0603040304020203" pitchFamily="34" charset="0"/>
                <a:cs typeface="Neue Frutiger World" panose="020B0603040304020203" pitchFamily="34" charset="0"/>
              </a:rPr>
              <a:t> antibiotic</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latin typeface="Neue Frutiger World" panose="020B0603040304020203" pitchFamily="34" charset="0"/>
                <a:cs typeface="Neue Frutiger World" panose="020B0603040304020203" pitchFamily="34" charset="0"/>
              </a:rPr>
              <a:t>use</a:t>
            </a:r>
            <a:r>
              <a:rPr sz="900" spc="-7" baseline="30864" dirty="0">
                <a:latin typeface="Neue Frutiger World" panose="020B0603040304020203" pitchFamily="34" charset="0"/>
                <a:cs typeface="Neue Frutiger World" panose="020B0603040304020203" pitchFamily="34" charset="0"/>
              </a:rPr>
              <a:t>1</a:t>
            </a:r>
            <a:r>
              <a:rPr lang="nl-BE" sz="900" spc="-7" baseline="30864" dirty="0">
                <a:latin typeface="Neue Frutiger World" panose="020B0603040304020203" pitchFamily="34" charset="0"/>
                <a:cs typeface="Neue Frutiger World" panose="020B0603040304020203" pitchFamily="34" charset="0"/>
              </a:rPr>
              <a:t>, 21</a:t>
            </a:r>
            <a:endParaRPr sz="900" baseline="30864" dirty="0">
              <a:latin typeface="Neue Frutiger World" panose="020B0603040304020203" pitchFamily="34" charset="0"/>
              <a:cs typeface="Neue Frutiger World" panose="020B0603040304020203" pitchFamily="34" charset="0"/>
            </a:endParaRPr>
          </a:p>
          <a:p>
            <a:pPr marL="241280" marR="193659" indent="-76194">
              <a:lnSpc>
                <a:spcPct val="104200"/>
              </a:lnSpc>
              <a:spcBef>
                <a:spcPts val="235"/>
              </a:spcBef>
              <a:buChar char="•"/>
              <a:tabLst>
                <a:tab pos="241280" algn="l"/>
              </a:tabLst>
            </a:pPr>
            <a:r>
              <a:rPr sz="900" spc="-5" dirty="0">
                <a:solidFill>
                  <a:srgbClr val="231F20"/>
                </a:solidFill>
                <a:latin typeface="Neue Frutiger World" panose="020B0603040304020203" pitchFamily="34" charset="0"/>
                <a:cs typeface="Neue Frutiger World" panose="020B0603040304020203" pitchFamily="34" charset="0"/>
              </a:rPr>
              <a:t>Length</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f</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ospital</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stay</a:t>
            </a:r>
            <a:r>
              <a:rPr sz="900" spc="-15" dirty="0">
                <a:solidFill>
                  <a:srgbClr val="231F20"/>
                </a:solidFill>
                <a:latin typeface="Neue Frutiger World" panose="020B0603040304020203" pitchFamily="34" charset="0"/>
                <a:cs typeface="Neue Frutiger World" panose="020B0603040304020203" pitchFamily="34" charset="0"/>
              </a:rPr>
              <a:t> </a:t>
            </a:r>
            <a:r>
              <a:rPr sz="900" spc="2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early</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removal</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f</a:t>
            </a:r>
            <a:r>
              <a:rPr sz="900" spc="-5" dirty="0">
                <a:solidFill>
                  <a:srgbClr val="231F20"/>
                </a:solidFill>
                <a:latin typeface="Neue Frutiger World" panose="020B0603040304020203" pitchFamily="34" charset="0"/>
                <a:cs typeface="Neue Frutiger World" panose="020B0603040304020203" pitchFamily="34" charset="0"/>
              </a:rPr>
              <a:t> an</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infected</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evice</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is</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ssociated </a:t>
            </a:r>
            <a:r>
              <a:rPr sz="900" spc="-5" dirty="0">
                <a:solidFill>
                  <a:srgbClr val="231F20"/>
                </a:solidFill>
                <a:latin typeface="Neue Frutiger World" panose="020B0603040304020203" pitchFamily="34" charset="0"/>
                <a:cs typeface="Neue Frutiger World" panose="020B0603040304020203" pitchFamily="34" charset="0"/>
              </a:rPr>
              <a:t>with</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significantly shorter</a:t>
            </a:r>
            <a:r>
              <a:rPr lang="en-GB"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ospital</a:t>
            </a:r>
            <a:r>
              <a:rPr sz="90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tay</a:t>
            </a:r>
            <a:r>
              <a:rPr sz="900" spc="-7" baseline="30864" dirty="0">
                <a:solidFill>
                  <a:srgbClr val="231F20"/>
                </a:solidFill>
                <a:latin typeface="Neue Frutiger World" panose="020B0603040304020203" pitchFamily="34" charset="0"/>
                <a:cs typeface="Neue Frutiger World" panose="020B0603040304020203" pitchFamily="34" charset="0"/>
              </a:rPr>
              <a:t>2-3</a:t>
            </a:r>
            <a:endParaRPr sz="900" baseline="30864" dirty="0">
              <a:latin typeface="Neue Frutiger World" panose="020B0603040304020203" pitchFamily="34" charset="0"/>
              <a:cs typeface="Neue Frutiger World" panose="020B0603040304020203" pitchFamily="34" charset="0"/>
            </a:endParaRPr>
          </a:p>
          <a:p>
            <a:pPr marL="241280" indent="-76194">
              <a:spcBef>
                <a:spcPts val="275"/>
              </a:spcBef>
              <a:buChar char="•"/>
              <a:tabLst>
                <a:tab pos="241280" algn="l"/>
              </a:tabLst>
            </a:pPr>
            <a:r>
              <a:rPr sz="900" spc="-5" dirty="0">
                <a:solidFill>
                  <a:srgbClr val="231F20"/>
                </a:solidFill>
                <a:latin typeface="Neue Frutiger World" panose="020B0603040304020203" pitchFamily="34" charset="0"/>
                <a:cs typeface="Neue Frutiger World" panose="020B0603040304020203" pitchFamily="34" charset="0"/>
              </a:rPr>
              <a:t>Physician</a:t>
            </a:r>
            <a:r>
              <a:rPr sz="900" spc="-2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visits</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or</a:t>
            </a:r>
            <a:r>
              <a:rPr sz="900" spc="-10" dirty="0">
                <a:solidFill>
                  <a:srgbClr val="231F20"/>
                </a:solidFill>
                <a:latin typeface="Neue Frutiger World" panose="020B0603040304020203" pitchFamily="34" charset="0"/>
                <a:cs typeface="Neue Frutiger World" panose="020B0603040304020203" pitchFamily="34" charset="0"/>
              </a:rPr>
              <a:t> hospital</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dmissions</a:t>
            </a:r>
            <a:r>
              <a:rPr sz="900" spc="-7" baseline="30864" dirty="0">
                <a:solidFill>
                  <a:srgbClr val="231F20"/>
                </a:solidFill>
                <a:latin typeface="Neue Frutiger World" panose="020B0603040304020203" pitchFamily="34" charset="0"/>
                <a:cs typeface="Neue Frutiger World" panose="020B0603040304020203" pitchFamily="34" charset="0"/>
              </a:rPr>
              <a:t>4</a:t>
            </a:r>
            <a:endParaRPr sz="900" baseline="30864" dirty="0">
              <a:latin typeface="Neue Frutiger World" panose="020B0603040304020203" pitchFamily="34" charset="0"/>
              <a:cs typeface="Neue Frutiger World" panose="020B0603040304020203" pitchFamily="34" charset="0"/>
            </a:endParaRPr>
          </a:p>
          <a:p>
            <a:pPr marL="241280" marR="30477" indent="-76194">
              <a:lnSpc>
                <a:spcPct val="104200"/>
              </a:lnSpc>
              <a:spcBef>
                <a:spcPts val="235"/>
              </a:spcBef>
              <a:buChar char="•"/>
              <a:tabLst>
                <a:tab pos="241280" algn="l"/>
              </a:tabLst>
            </a:pPr>
            <a:r>
              <a:rPr lang="en-GB" sz="900" spc="-5" dirty="0">
                <a:solidFill>
                  <a:srgbClr val="231F20"/>
                </a:solidFill>
                <a:latin typeface="Neue Frutiger World" panose="020B0603040304020203" pitchFamily="34" charset="0"/>
                <a:cs typeface="Neue Frutiger World" panose="020B0603040304020203" pitchFamily="34" charset="0"/>
              </a:rPr>
              <a:t>D</a:t>
            </a:r>
            <a:r>
              <a:rPr sz="900" spc="-5" dirty="0">
                <a:solidFill>
                  <a:srgbClr val="231F20"/>
                </a:solidFill>
                <a:latin typeface="Neue Frutiger World" panose="020B0603040304020203" pitchFamily="34" charset="0"/>
                <a:cs typeface="Neue Frutiger World" panose="020B0603040304020203" pitchFamily="34" charset="0"/>
              </a:rPr>
              <a:t>elayed</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extractions</a:t>
            </a:r>
            <a:r>
              <a:rPr sz="900" spc="20" dirty="0">
                <a:solidFill>
                  <a:srgbClr val="231F20"/>
                </a:solidFill>
                <a:latin typeface="Neue Frutiger World" panose="020B0603040304020203" pitchFamily="34" charset="0"/>
                <a:cs typeface="Neue Frutiger World" panose="020B0603040304020203" pitchFamily="34" charset="0"/>
              </a:rPr>
              <a:t> </a:t>
            </a:r>
            <a:r>
              <a:rPr lang="en-GB" sz="900" spc="20" dirty="0">
                <a:solidFill>
                  <a:srgbClr val="231F20"/>
                </a:solidFill>
                <a:latin typeface="Neue Frutiger World" panose="020B0603040304020203" pitchFamily="34" charset="0"/>
                <a:cs typeface="Neue Frutiger World" panose="020B0603040304020203" pitchFamily="34" charset="0"/>
              </a:rPr>
              <a:t>may </a:t>
            </a:r>
            <a:r>
              <a:rPr sz="900" spc="-10" dirty="0">
                <a:solidFill>
                  <a:srgbClr val="231F20"/>
                </a:solidFill>
                <a:latin typeface="Neue Frutiger World" panose="020B0603040304020203" pitchFamily="34" charset="0"/>
                <a:cs typeface="Neue Frutiger World" panose="020B0603040304020203" pitchFamily="34" charset="0"/>
              </a:rPr>
              <a:t>have</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higher </a:t>
            </a:r>
            <a:r>
              <a:rPr sz="900" spc="-10" dirty="0">
                <a:solidFill>
                  <a:srgbClr val="231F20"/>
                </a:solidFill>
                <a:latin typeface="Neue Frutiger World" panose="020B0603040304020203" pitchFamily="34" charset="0"/>
                <a:cs typeface="Neue Frutiger World" panose="020B0603040304020203" pitchFamily="34" charset="0"/>
              </a:rPr>
              <a:t>costs</a:t>
            </a:r>
            <a:r>
              <a:rPr lang="en-GB" sz="900" spc="-10" dirty="0">
                <a:solidFill>
                  <a:srgbClr val="231F20"/>
                </a:solidFill>
                <a:latin typeface="Neue Frutiger World" panose="020B0603040304020203" pitchFamily="34" charset="0"/>
                <a:cs typeface="Neue Frutiger World" panose="020B0603040304020203" pitchFamily="34" charset="0"/>
              </a:rPr>
              <a:t>. E</a:t>
            </a:r>
            <a:r>
              <a:rPr sz="900" spc="-10" dirty="0" err="1">
                <a:solidFill>
                  <a:srgbClr val="231F20"/>
                </a:solidFill>
                <a:latin typeface="Neue Frutiger World" panose="020B0603040304020203" pitchFamily="34" charset="0"/>
                <a:cs typeface="Neue Frutiger World" panose="020B0603040304020203" pitchFamily="34" charset="0"/>
              </a:rPr>
              <a:t>xtractions</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occurring</a:t>
            </a:r>
            <a:r>
              <a:rPr lang="en-GB"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fter</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180</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ays</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fter</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infection</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iagnosis</a:t>
            </a:r>
            <a:r>
              <a:rPr sz="900" spc="5" dirty="0">
                <a:solidFill>
                  <a:srgbClr val="231F20"/>
                </a:solidFill>
                <a:latin typeface="Neue Frutiger World" panose="020B0603040304020203" pitchFamily="34" charset="0"/>
                <a:cs typeface="Neue Frutiger World" panose="020B0603040304020203" pitchFamily="34" charset="0"/>
              </a:rPr>
              <a:t> </a:t>
            </a:r>
            <a:r>
              <a:rPr lang="en-GB" sz="900" spc="5" dirty="0">
                <a:solidFill>
                  <a:srgbClr val="231F20"/>
                </a:solidFill>
                <a:latin typeface="Neue Frutiger World" panose="020B0603040304020203" pitchFamily="34" charset="0"/>
                <a:cs typeface="Neue Frutiger World" panose="020B0603040304020203" pitchFamily="34" charset="0"/>
              </a:rPr>
              <a:t>are </a:t>
            </a:r>
            <a:r>
              <a:rPr sz="900" spc="-10" dirty="0">
                <a:solidFill>
                  <a:srgbClr val="231F20"/>
                </a:solidFill>
                <a:latin typeface="Neue Frutiger World" panose="020B0603040304020203" pitchFamily="34" charset="0"/>
                <a:cs typeface="Neue Frutiger World" panose="020B0603040304020203" pitchFamily="34" charset="0"/>
              </a:rPr>
              <a:t>associated</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with</a:t>
            </a:r>
            <a:r>
              <a:rPr sz="90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he</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highest</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osts</a:t>
            </a:r>
            <a:r>
              <a:rPr sz="900" spc="-7" baseline="30864" dirty="0">
                <a:solidFill>
                  <a:srgbClr val="231F20"/>
                </a:solidFill>
                <a:latin typeface="Neue Frutiger World" panose="020B0603040304020203" pitchFamily="34" charset="0"/>
                <a:cs typeface="Neue Frutiger World" panose="020B0603040304020203" pitchFamily="34" charset="0"/>
              </a:rPr>
              <a:t>5</a:t>
            </a:r>
            <a:endParaRPr sz="900" baseline="30864" dirty="0">
              <a:latin typeface="Neue Frutiger World" panose="020B0603040304020203" pitchFamily="34" charset="0"/>
              <a:cs typeface="Neue Frutiger World" panose="020B0603040304020203" pitchFamily="34" charset="0"/>
            </a:endParaRPr>
          </a:p>
          <a:p>
            <a:pPr marL="241280" indent="-76194">
              <a:spcBef>
                <a:spcPts val="275"/>
              </a:spcBef>
              <a:buChar char="•"/>
              <a:tabLst>
                <a:tab pos="241280" algn="l"/>
              </a:tabLst>
            </a:pPr>
            <a:r>
              <a:rPr sz="900" spc="-10" dirty="0">
                <a:solidFill>
                  <a:srgbClr val="231F20"/>
                </a:solidFill>
                <a:latin typeface="Neue Frutiger World" panose="020B0603040304020203" pitchFamily="34" charset="0"/>
                <a:cs typeface="Neue Frutiger World" panose="020B0603040304020203" pitchFamily="34" charset="0"/>
              </a:rPr>
              <a:t>Reinfection</a:t>
            </a:r>
            <a:r>
              <a:rPr sz="90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related</a:t>
            </a:r>
            <a:r>
              <a:rPr sz="90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resources</a:t>
            </a:r>
            <a:r>
              <a:rPr sz="900" spc="-15" baseline="30864" dirty="0">
                <a:solidFill>
                  <a:srgbClr val="231F20"/>
                </a:solidFill>
                <a:latin typeface="Neue Frutiger World" panose="020B0603040304020203" pitchFamily="34" charset="0"/>
                <a:cs typeface="Neue Frutiger World" panose="020B0603040304020203" pitchFamily="34" charset="0"/>
              </a:rPr>
              <a:t>6</a:t>
            </a:r>
            <a:endParaRPr sz="900" baseline="30864" dirty="0">
              <a:latin typeface="Neue Frutiger World" panose="020B0603040304020203" pitchFamily="34" charset="0"/>
              <a:cs typeface="Neue Frutiger World" panose="020B0603040304020203" pitchFamily="34" charset="0"/>
            </a:endParaRPr>
          </a:p>
        </p:txBody>
      </p:sp>
      <p:sp>
        <p:nvSpPr>
          <p:cNvPr id="17" name="TextBox 16">
            <a:extLst>
              <a:ext uri="{FF2B5EF4-FFF2-40B4-BE49-F238E27FC236}">
                <a16:creationId xmlns:a16="http://schemas.microsoft.com/office/drawing/2014/main" id="{01DDC546-318D-4775-A3F0-D84770F8E61C}"/>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2" action="ppaction://hlinksldjump"/>
            <a:extLst>
              <a:ext uri="{FF2B5EF4-FFF2-40B4-BE49-F238E27FC236}">
                <a16:creationId xmlns:a16="http://schemas.microsoft.com/office/drawing/2014/main" id="{E8F156C5-83A3-4211-B45F-E0E0EF8EA874}"/>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3" action="ppaction://hlinksldjump"/>
            <a:extLst>
              <a:ext uri="{FF2B5EF4-FFF2-40B4-BE49-F238E27FC236}">
                <a16:creationId xmlns:a16="http://schemas.microsoft.com/office/drawing/2014/main" id="{8FE49474-57BD-4D38-B23D-15157B1F336A}"/>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4" action="ppaction://hlinksldjump"/>
            <a:extLst>
              <a:ext uri="{FF2B5EF4-FFF2-40B4-BE49-F238E27FC236}">
                <a16:creationId xmlns:a16="http://schemas.microsoft.com/office/drawing/2014/main" id="{8C24DFF1-94BF-410A-91C1-C82BC03BEB1A}"/>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5" action="ppaction://hlinksldjump"/>
            <a:extLst>
              <a:ext uri="{FF2B5EF4-FFF2-40B4-BE49-F238E27FC236}">
                <a16:creationId xmlns:a16="http://schemas.microsoft.com/office/drawing/2014/main" id="{7AF1B7C6-D77F-45EE-B3FB-5E3940255B0A}"/>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6" action="ppaction://hlinksldjump"/>
            <a:extLst>
              <a:ext uri="{FF2B5EF4-FFF2-40B4-BE49-F238E27FC236}">
                <a16:creationId xmlns:a16="http://schemas.microsoft.com/office/drawing/2014/main" id="{1BB3F631-E2FA-4314-943E-F6AFEB0BB838}"/>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7" action="ppaction://hlinksldjump"/>
            <a:extLst>
              <a:ext uri="{FF2B5EF4-FFF2-40B4-BE49-F238E27FC236}">
                <a16:creationId xmlns:a16="http://schemas.microsoft.com/office/drawing/2014/main" id="{6E0529E4-AEB5-42B9-86D8-9854AB8F5BC0}"/>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8" action="ppaction://hlinksldjump"/>
            <a:extLst>
              <a:ext uri="{FF2B5EF4-FFF2-40B4-BE49-F238E27FC236}">
                <a16:creationId xmlns:a16="http://schemas.microsoft.com/office/drawing/2014/main" id="{4A6E1A77-6800-47B6-B628-6888118E7942}"/>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9" action="ppaction://hlinksldjump"/>
            <a:extLst>
              <a:ext uri="{FF2B5EF4-FFF2-40B4-BE49-F238E27FC236}">
                <a16:creationId xmlns:a16="http://schemas.microsoft.com/office/drawing/2014/main" id="{5AD135EB-5788-4DFC-8C25-7ED682D299C1}"/>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extLst>
              <a:ext uri="{FF2B5EF4-FFF2-40B4-BE49-F238E27FC236}">
                <a16:creationId xmlns:a16="http://schemas.microsoft.com/office/drawing/2014/main" id="{FC91064C-E7D3-4B56-9483-30EE597850DB}"/>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0" action="ppaction://hlinksldjump"/>
            <a:extLst>
              <a:ext uri="{FF2B5EF4-FFF2-40B4-BE49-F238E27FC236}">
                <a16:creationId xmlns:a16="http://schemas.microsoft.com/office/drawing/2014/main" id="{71EDE938-30B4-48CF-A7C0-31961B77B51A}"/>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1" action="ppaction://hlinksldjump"/>
            <a:extLst>
              <a:ext uri="{FF2B5EF4-FFF2-40B4-BE49-F238E27FC236}">
                <a16:creationId xmlns:a16="http://schemas.microsoft.com/office/drawing/2014/main" id="{B96AFCF1-82E8-42FC-A55E-6789F422C83E}"/>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12" action="ppaction://hlinksldjump"/>
            <a:extLst>
              <a:ext uri="{FF2B5EF4-FFF2-40B4-BE49-F238E27FC236}">
                <a16:creationId xmlns:a16="http://schemas.microsoft.com/office/drawing/2014/main" id="{7DD0AD94-205C-4910-A2FA-14A16F62D914}"/>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13" action="ppaction://hlinksldjump"/>
            <a:extLst>
              <a:ext uri="{FF2B5EF4-FFF2-40B4-BE49-F238E27FC236}">
                <a16:creationId xmlns:a16="http://schemas.microsoft.com/office/drawing/2014/main" id="{4435053C-6BD3-4391-8CBA-75DDFBEE4F97}"/>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14" action="ppaction://hlinksldjump"/>
            <a:extLst>
              <a:ext uri="{FF2B5EF4-FFF2-40B4-BE49-F238E27FC236}">
                <a16:creationId xmlns:a16="http://schemas.microsoft.com/office/drawing/2014/main" id="{51AE52C7-FE5C-4327-ADC8-0E3181E8C614}"/>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15" action="ppaction://hlinksldjump"/>
            <a:extLst>
              <a:ext uri="{FF2B5EF4-FFF2-40B4-BE49-F238E27FC236}">
                <a16:creationId xmlns:a16="http://schemas.microsoft.com/office/drawing/2014/main" id="{FF4C46FC-C549-44B0-9C31-30F88B7D8A27}"/>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16" action="ppaction://hlinksldjump"/>
            <a:extLst>
              <a:ext uri="{FF2B5EF4-FFF2-40B4-BE49-F238E27FC236}">
                <a16:creationId xmlns:a16="http://schemas.microsoft.com/office/drawing/2014/main" id="{F82128D6-6F28-4CCF-8A3C-6895B3226143}"/>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17" action="ppaction://hlinksldjump"/>
            <a:extLst>
              <a:ext uri="{FF2B5EF4-FFF2-40B4-BE49-F238E27FC236}">
                <a16:creationId xmlns:a16="http://schemas.microsoft.com/office/drawing/2014/main" id="{9D403C91-F029-4024-8D96-DF88675E126B}"/>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18" action="ppaction://hlinksldjump"/>
            <a:extLst>
              <a:ext uri="{FF2B5EF4-FFF2-40B4-BE49-F238E27FC236}">
                <a16:creationId xmlns:a16="http://schemas.microsoft.com/office/drawing/2014/main" id="{0A7251CE-0390-4431-9E85-03C8A8DB31BA}"/>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19" action="ppaction://hlinksldjump"/>
            <a:extLst>
              <a:ext uri="{FF2B5EF4-FFF2-40B4-BE49-F238E27FC236}">
                <a16:creationId xmlns:a16="http://schemas.microsoft.com/office/drawing/2014/main" id="{B3ABCE65-D0E4-4DBF-BE9F-847355195E31}"/>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20" action="ppaction://hlinksldjump"/>
            <a:extLst>
              <a:ext uri="{FF2B5EF4-FFF2-40B4-BE49-F238E27FC236}">
                <a16:creationId xmlns:a16="http://schemas.microsoft.com/office/drawing/2014/main" id="{5DE819A2-18BF-4644-8715-A2EF58CBDE8C}"/>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21" action="ppaction://hlinksldjump"/>
            <a:extLst>
              <a:ext uri="{FF2B5EF4-FFF2-40B4-BE49-F238E27FC236}">
                <a16:creationId xmlns:a16="http://schemas.microsoft.com/office/drawing/2014/main" id="{BEC05FC5-49CD-460D-824D-20554DAE3481}"/>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22" action="ppaction://hlinksldjump"/>
            <a:extLst>
              <a:ext uri="{FF2B5EF4-FFF2-40B4-BE49-F238E27FC236}">
                <a16:creationId xmlns:a16="http://schemas.microsoft.com/office/drawing/2014/main" id="{DD15CF3A-B3B6-4386-BACD-E7406C42273C}"/>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extLst>
              <a:ext uri="{FF2B5EF4-FFF2-40B4-BE49-F238E27FC236}">
                <a16:creationId xmlns:a16="http://schemas.microsoft.com/office/drawing/2014/main" id="{4DC71873-B969-4CE4-8446-D054FD1E7734}"/>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23" action="ppaction://hlinksldjump"/>
            <a:extLst>
              <a:ext uri="{FF2B5EF4-FFF2-40B4-BE49-F238E27FC236}">
                <a16:creationId xmlns:a16="http://schemas.microsoft.com/office/drawing/2014/main" id="{493E4BE2-C362-4DB0-A8D6-CF034871F95A}"/>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24" action="ppaction://hlinksldjump"/>
            <a:extLst>
              <a:ext uri="{FF2B5EF4-FFF2-40B4-BE49-F238E27FC236}">
                <a16:creationId xmlns:a16="http://schemas.microsoft.com/office/drawing/2014/main" id="{F363FAB7-E61F-4496-8835-A04560FD1875}"/>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25" action="ppaction://hlinksldjump"/>
            <a:extLst>
              <a:ext uri="{FF2B5EF4-FFF2-40B4-BE49-F238E27FC236}">
                <a16:creationId xmlns:a16="http://schemas.microsoft.com/office/drawing/2014/main" id="{0B6BC007-C720-4ED4-8841-3F10E6DE5097}"/>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extLst>
              <a:ext uri="{FF2B5EF4-FFF2-40B4-BE49-F238E27FC236}">
                <a16:creationId xmlns:a16="http://schemas.microsoft.com/office/drawing/2014/main" id="{56136073-0461-4A3C-BA6B-48A987D0571E}"/>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45" name="Table 44">
            <a:extLst>
              <a:ext uri="{FF2B5EF4-FFF2-40B4-BE49-F238E27FC236}">
                <a16:creationId xmlns:a16="http://schemas.microsoft.com/office/drawing/2014/main" id="{9AE81184-48D1-4DCC-AB02-FF18B7305210}"/>
              </a:ext>
            </a:extLst>
          </p:cNvPr>
          <p:cNvGraphicFramePr>
            <a:graphicFrameLocks noGrp="1"/>
          </p:cNvGraphicFramePr>
          <p:nvPr>
            <p:extLst>
              <p:ext uri="{D42A27DB-BD31-4B8C-83A1-F6EECF244321}">
                <p14:modId xmlns:p14="http://schemas.microsoft.com/office/powerpoint/2010/main" val="1689101881"/>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46" name="Rectangle 45">
            <a:hlinkClick r:id="rId2" action="ppaction://hlinksldjump"/>
            <a:extLst>
              <a:ext uri="{FF2B5EF4-FFF2-40B4-BE49-F238E27FC236}">
                <a16:creationId xmlns:a16="http://schemas.microsoft.com/office/drawing/2014/main" id="{FAB160FF-FE11-4BF2-AB6A-62A8D0D63999}"/>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3" action="ppaction://hlinksldjump"/>
            <a:extLst>
              <a:ext uri="{FF2B5EF4-FFF2-40B4-BE49-F238E27FC236}">
                <a16:creationId xmlns:a16="http://schemas.microsoft.com/office/drawing/2014/main" id="{F1875606-1F07-452D-BE24-0CFA898E9659}"/>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4" action="ppaction://hlinksldjump"/>
            <a:extLst>
              <a:ext uri="{FF2B5EF4-FFF2-40B4-BE49-F238E27FC236}">
                <a16:creationId xmlns:a16="http://schemas.microsoft.com/office/drawing/2014/main" id="{F262176B-4C1B-43EC-82F4-7DD36447645A}"/>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5" action="ppaction://hlinksldjump"/>
            <a:extLst>
              <a:ext uri="{FF2B5EF4-FFF2-40B4-BE49-F238E27FC236}">
                <a16:creationId xmlns:a16="http://schemas.microsoft.com/office/drawing/2014/main" id="{6C3B94F0-074C-4FAD-A8E4-A25754A6A454}"/>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6" action="ppaction://hlinksldjump"/>
            <a:extLst>
              <a:ext uri="{FF2B5EF4-FFF2-40B4-BE49-F238E27FC236}">
                <a16:creationId xmlns:a16="http://schemas.microsoft.com/office/drawing/2014/main" id="{65BD27F7-1767-4BE5-8162-E96318C82301}"/>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7" action="ppaction://hlinksldjump"/>
            <a:extLst>
              <a:ext uri="{FF2B5EF4-FFF2-40B4-BE49-F238E27FC236}">
                <a16:creationId xmlns:a16="http://schemas.microsoft.com/office/drawing/2014/main" id="{F14B26CC-F59C-4C7C-A2F6-231C8474FD3B}"/>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8" action="ppaction://hlinksldjump"/>
            <a:extLst>
              <a:ext uri="{FF2B5EF4-FFF2-40B4-BE49-F238E27FC236}">
                <a16:creationId xmlns:a16="http://schemas.microsoft.com/office/drawing/2014/main" id="{8B3FABBA-1A86-44F2-9DA5-2E278D7C8E54}"/>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9" action="ppaction://hlinksldjump"/>
            <a:extLst>
              <a:ext uri="{FF2B5EF4-FFF2-40B4-BE49-F238E27FC236}">
                <a16:creationId xmlns:a16="http://schemas.microsoft.com/office/drawing/2014/main" id="{19848724-3618-4813-8954-2B480A032455}"/>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extLst>
              <a:ext uri="{FF2B5EF4-FFF2-40B4-BE49-F238E27FC236}">
                <a16:creationId xmlns:a16="http://schemas.microsoft.com/office/drawing/2014/main" id="{C0997CEE-7033-4EAE-B290-47D07184D8E8}"/>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0" action="ppaction://hlinksldjump"/>
            <a:extLst>
              <a:ext uri="{FF2B5EF4-FFF2-40B4-BE49-F238E27FC236}">
                <a16:creationId xmlns:a16="http://schemas.microsoft.com/office/drawing/2014/main" id="{4D1DA8A0-0D2C-48DA-B73F-7827E2DBCDA5}"/>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1" action="ppaction://hlinksldjump"/>
            <a:extLst>
              <a:ext uri="{FF2B5EF4-FFF2-40B4-BE49-F238E27FC236}">
                <a16:creationId xmlns:a16="http://schemas.microsoft.com/office/drawing/2014/main" id="{6A2CB98C-15D6-4399-BE62-3B532E3DA8E4}"/>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2" action="ppaction://hlinksldjump"/>
            <a:extLst>
              <a:ext uri="{FF2B5EF4-FFF2-40B4-BE49-F238E27FC236}">
                <a16:creationId xmlns:a16="http://schemas.microsoft.com/office/drawing/2014/main" id="{3959019C-1FF1-43B2-A37A-171D00812EB6}"/>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13" action="ppaction://hlinksldjump"/>
            <a:extLst>
              <a:ext uri="{FF2B5EF4-FFF2-40B4-BE49-F238E27FC236}">
                <a16:creationId xmlns:a16="http://schemas.microsoft.com/office/drawing/2014/main" id="{84696B90-F29E-4C6A-8FA9-DBAF410AC845}"/>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14" action="ppaction://hlinksldjump"/>
            <a:extLst>
              <a:ext uri="{FF2B5EF4-FFF2-40B4-BE49-F238E27FC236}">
                <a16:creationId xmlns:a16="http://schemas.microsoft.com/office/drawing/2014/main" id="{19FF75BA-F5D1-48F5-BA80-3BFBF914FDD5}"/>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15" action="ppaction://hlinksldjump"/>
            <a:extLst>
              <a:ext uri="{FF2B5EF4-FFF2-40B4-BE49-F238E27FC236}">
                <a16:creationId xmlns:a16="http://schemas.microsoft.com/office/drawing/2014/main" id="{E83C6FA2-35DD-4EEA-87BD-47538C84FBA7}"/>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16" action="ppaction://hlinksldjump"/>
            <a:extLst>
              <a:ext uri="{FF2B5EF4-FFF2-40B4-BE49-F238E27FC236}">
                <a16:creationId xmlns:a16="http://schemas.microsoft.com/office/drawing/2014/main" id="{943D4BA3-5C59-45C6-9BC1-295B91BDBB96}"/>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17" action="ppaction://hlinksldjump"/>
            <a:extLst>
              <a:ext uri="{FF2B5EF4-FFF2-40B4-BE49-F238E27FC236}">
                <a16:creationId xmlns:a16="http://schemas.microsoft.com/office/drawing/2014/main" id="{EAE89E3D-D118-44A9-9F7C-2B5CAA612744}"/>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18" action="ppaction://hlinksldjump"/>
            <a:extLst>
              <a:ext uri="{FF2B5EF4-FFF2-40B4-BE49-F238E27FC236}">
                <a16:creationId xmlns:a16="http://schemas.microsoft.com/office/drawing/2014/main" id="{3CBEE138-8C22-4FDD-8EB6-4A570C236D9E}"/>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19" action="ppaction://hlinksldjump"/>
            <a:extLst>
              <a:ext uri="{FF2B5EF4-FFF2-40B4-BE49-F238E27FC236}">
                <a16:creationId xmlns:a16="http://schemas.microsoft.com/office/drawing/2014/main" id="{75AF3274-6333-498C-991F-B5B07BE732FE}"/>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hlinkClick r:id="rId20" action="ppaction://hlinksldjump"/>
            <a:extLst>
              <a:ext uri="{FF2B5EF4-FFF2-40B4-BE49-F238E27FC236}">
                <a16:creationId xmlns:a16="http://schemas.microsoft.com/office/drawing/2014/main" id="{5B218B9E-01EA-4AA1-BCCA-ADA7709E2159}"/>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21" action="ppaction://hlinksldjump"/>
            <a:extLst>
              <a:ext uri="{FF2B5EF4-FFF2-40B4-BE49-F238E27FC236}">
                <a16:creationId xmlns:a16="http://schemas.microsoft.com/office/drawing/2014/main" id="{418DED41-D68B-4862-8975-A9A243E2BC8A}"/>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22" action="ppaction://hlinksldjump"/>
            <a:extLst>
              <a:ext uri="{FF2B5EF4-FFF2-40B4-BE49-F238E27FC236}">
                <a16:creationId xmlns:a16="http://schemas.microsoft.com/office/drawing/2014/main" id="{6C9910FF-B773-4A4E-AFCB-1B458DD6649C}"/>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8" name="Rectangle 67">
            <a:extLst>
              <a:ext uri="{FF2B5EF4-FFF2-40B4-BE49-F238E27FC236}">
                <a16:creationId xmlns:a16="http://schemas.microsoft.com/office/drawing/2014/main" id="{1CFA20C7-64C8-43C7-8BCD-DC1E6ED9B08A}"/>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9" name="Rectangle 68">
            <a:hlinkClick r:id="rId23" action="ppaction://hlinksldjump"/>
            <a:extLst>
              <a:ext uri="{FF2B5EF4-FFF2-40B4-BE49-F238E27FC236}">
                <a16:creationId xmlns:a16="http://schemas.microsoft.com/office/drawing/2014/main" id="{80DF41AD-5458-495E-9127-305E80BC8227}"/>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0" name="Rectangle 69">
            <a:hlinkClick r:id="rId24" action="ppaction://hlinksldjump"/>
            <a:extLst>
              <a:ext uri="{FF2B5EF4-FFF2-40B4-BE49-F238E27FC236}">
                <a16:creationId xmlns:a16="http://schemas.microsoft.com/office/drawing/2014/main" id="{93E91018-8D4B-4EDB-8210-D6843A6F9DF7}"/>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1" name="Rectangle 70">
            <a:hlinkClick r:id="rId25" action="ppaction://hlinksldjump"/>
            <a:extLst>
              <a:ext uri="{FF2B5EF4-FFF2-40B4-BE49-F238E27FC236}">
                <a16:creationId xmlns:a16="http://schemas.microsoft.com/office/drawing/2014/main" id="{6D3F14B7-A7F2-4474-AA97-E4EEB2F50A4A}"/>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 name="TextBox 4">
            <a:extLst>
              <a:ext uri="{FF2B5EF4-FFF2-40B4-BE49-F238E27FC236}">
                <a16:creationId xmlns:a16="http://schemas.microsoft.com/office/drawing/2014/main" id="{BD3B100A-6563-47F3-8DA8-BAA06F7DEEF3}"/>
              </a:ext>
            </a:extLst>
          </p:cNvPr>
          <p:cNvSpPr txBox="1"/>
          <p:nvPr/>
        </p:nvSpPr>
        <p:spPr>
          <a:xfrm>
            <a:off x="6386543" y="1828124"/>
            <a:ext cx="903132" cy="569387"/>
          </a:xfrm>
          <a:prstGeom prst="rect">
            <a:avLst/>
          </a:prstGeom>
          <a:noFill/>
        </p:spPr>
        <p:txBody>
          <a:bodyPr wrap="none" rtlCol="0">
            <a:spAutoFit/>
          </a:bodyPr>
          <a:lstStyle/>
          <a:p>
            <a:r>
              <a:rPr lang="en-GB" sz="1300" spc="5" dirty="0">
                <a:solidFill>
                  <a:srgbClr val="00A9EB"/>
                </a:solidFill>
                <a:latin typeface="Neue Frutiger World" panose="020B0603040304020203" pitchFamily="34" charset="0"/>
                <a:cs typeface="Neue Frutiger World" panose="020B0603040304020203" pitchFamily="34" charset="0"/>
              </a:rPr>
              <a:t>$104,077</a:t>
            </a:r>
            <a:endParaRPr lang="en-GB" sz="1300" dirty="0">
              <a:latin typeface="Neue Frutiger World" panose="020B0603040304020203" pitchFamily="34" charset="0"/>
              <a:cs typeface="Neue Frutiger World" panose="020B0603040304020203" pitchFamily="34" charset="0"/>
            </a:endParaRPr>
          </a:p>
          <a:p>
            <a:endParaRPr lang="en-GB" dirty="0"/>
          </a:p>
        </p:txBody>
      </p:sp>
    </p:spTree>
    <p:extLst>
      <p:ext uri="{BB962C8B-B14F-4D97-AF65-F5344CB8AC3E}">
        <p14:creationId xmlns:p14="http://schemas.microsoft.com/office/powerpoint/2010/main" val="143540728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C19E6-6D60-4499-A41E-14508F710DDD}"/>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Key messages</a:t>
            </a:r>
          </a:p>
        </p:txBody>
      </p:sp>
      <p:sp>
        <p:nvSpPr>
          <p:cNvPr id="3" name="Footer Placeholder 2">
            <a:extLst>
              <a:ext uri="{FF2B5EF4-FFF2-40B4-BE49-F238E27FC236}">
                <a16:creationId xmlns:a16="http://schemas.microsoft.com/office/drawing/2014/main" id="{EF7B1FFE-7E65-4329-8543-9534FD0150EF}"/>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862EA643-A6EF-4605-B20D-4CCAB29FA58C}"/>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23</a:t>
            </a:fld>
            <a:endParaRPr lang="en-US" noProof="0" dirty="0">
              <a:latin typeface="Neue Frutiger World" panose="020B0603040304020203" pitchFamily="34" charset="0"/>
              <a:cs typeface="Neue Frutiger World" panose="020B0603040304020203" pitchFamily="34" charset="0"/>
            </a:endParaRPr>
          </a:p>
        </p:txBody>
      </p:sp>
      <p:sp>
        <p:nvSpPr>
          <p:cNvPr id="6" name="object 4">
            <a:extLst>
              <a:ext uri="{FF2B5EF4-FFF2-40B4-BE49-F238E27FC236}">
                <a16:creationId xmlns:a16="http://schemas.microsoft.com/office/drawing/2014/main" id="{BC84C475-4560-45A7-AF7A-2DBF57ADB338}"/>
              </a:ext>
            </a:extLst>
          </p:cNvPr>
          <p:cNvSpPr txBox="1"/>
          <p:nvPr/>
        </p:nvSpPr>
        <p:spPr>
          <a:xfrm>
            <a:off x="1547665" y="771550"/>
            <a:ext cx="4248472" cy="3672800"/>
          </a:xfrm>
          <a:prstGeom prst="rect">
            <a:avLst/>
          </a:prstGeom>
        </p:spPr>
        <p:txBody>
          <a:bodyPr vert="horz" wrap="square" lIns="0" tIns="74930" rIns="0" bIns="0" rtlCol="0">
            <a:spAutoFit/>
          </a:bodyPr>
          <a:lstStyle/>
          <a:p>
            <a:pPr marL="76194" algn="just">
              <a:spcBef>
                <a:spcPts val="590"/>
              </a:spcBef>
            </a:pPr>
            <a:r>
              <a:rPr sz="900" b="1" spc="-2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CIED</a:t>
            </a:r>
            <a:r>
              <a:rPr sz="900" b="1" spc="-6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1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infection</a:t>
            </a:r>
            <a:r>
              <a:rPr sz="900" b="1" spc="-6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is</a:t>
            </a:r>
            <a:r>
              <a:rPr sz="900" b="1" spc="-8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1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fatal</a:t>
            </a:r>
            <a:r>
              <a:rPr sz="900" b="1" spc="-7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1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for</a:t>
            </a:r>
            <a:r>
              <a:rPr sz="900" b="1" spc="-8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patients</a:t>
            </a:r>
            <a:r>
              <a:rPr sz="900" b="1" spc="-6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4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if</a:t>
            </a:r>
            <a:r>
              <a:rPr sz="900" b="1" spc="-8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not</a:t>
            </a:r>
            <a:r>
              <a:rPr sz="900" b="1" spc="-6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treated</a:t>
            </a:r>
            <a:r>
              <a:rPr sz="900" b="1" spc="-6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appropriately</a:t>
            </a:r>
            <a:r>
              <a:rPr sz="900" spc="-5" dirty="0">
                <a:solidFill>
                  <a:srgbClr val="231F20"/>
                </a:solidFill>
                <a:latin typeface="Neue Frutiger World" panose="020B0603040304020203" pitchFamily="34" charset="0"/>
                <a:cs typeface="Neue Frutiger World" panose="020B0603040304020203" pitchFamily="34" charset="0"/>
              </a:rPr>
              <a:t>.</a:t>
            </a:r>
            <a:endParaRPr sz="900" dirty="0">
              <a:latin typeface="Neue Frutiger World" panose="020B0603040304020203" pitchFamily="34" charset="0"/>
              <a:cs typeface="Neue Frutiger World" panose="020B0603040304020203" pitchFamily="34" charset="0"/>
            </a:endParaRPr>
          </a:p>
          <a:p>
            <a:pPr marL="177785" indent="-101592" algn="just">
              <a:spcBef>
                <a:spcPts val="489"/>
              </a:spcBef>
              <a:buChar char="•"/>
              <a:tabLst>
                <a:tab pos="177785" algn="l"/>
              </a:tabLst>
            </a:pPr>
            <a:r>
              <a:rPr sz="900" spc="-5" dirty="0">
                <a:solidFill>
                  <a:srgbClr val="231F20"/>
                </a:solidFill>
                <a:latin typeface="Neue Frutiger World" panose="020B0603040304020203" pitchFamily="34" charset="0"/>
                <a:cs typeface="Neue Frutiger World" panose="020B0603040304020203" pitchFamily="34" charset="0"/>
              </a:rPr>
              <a:t>Relapse</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occurs</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a:t>
            </a:r>
            <a:r>
              <a:rPr sz="900" spc="5" dirty="0">
                <a:solidFill>
                  <a:srgbClr val="231F20"/>
                </a:solidFill>
                <a:latin typeface="Neue Frutiger World" panose="020B0603040304020203" pitchFamily="34" charset="0"/>
                <a:cs typeface="Neue Frutiger World" panose="020B0603040304020203" pitchFamily="34" charset="0"/>
              </a:rPr>
              <a:t> 50-100%</a:t>
            </a:r>
            <a:r>
              <a:rPr sz="900" spc="1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f</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ll</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ases</a:t>
            </a:r>
            <a:r>
              <a:rPr sz="900" spc="-2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when</a:t>
            </a:r>
            <a:r>
              <a:rPr sz="900" spc="5" dirty="0">
                <a:solidFill>
                  <a:srgbClr val="231F20"/>
                </a:solidFill>
                <a:latin typeface="Neue Frutiger World" panose="020B0603040304020203" pitchFamily="34" charset="0"/>
                <a:cs typeface="Neue Frutiger World" panose="020B0603040304020203" pitchFamily="34" charset="0"/>
              </a:rPr>
              <a:t> </a:t>
            </a:r>
            <a:r>
              <a:rPr sz="900" spc="-15" dirty="0">
                <a:solidFill>
                  <a:srgbClr val="231F20"/>
                </a:solidFill>
                <a:latin typeface="Neue Frutiger World" panose="020B0603040304020203" pitchFamily="34" charset="0"/>
                <a:cs typeface="Neue Frutiger World" panose="020B0603040304020203" pitchFamily="34" charset="0"/>
              </a:rPr>
              <a:t>treated</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with</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ntibiotics</a:t>
            </a:r>
            <a:r>
              <a:rPr sz="900" spc="5" dirty="0">
                <a:solidFill>
                  <a:srgbClr val="231F20"/>
                </a:solidFill>
                <a:latin typeface="Neue Frutiger World" panose="020B0603040304020203" pitchFamily="34" charset="0"/>
                <a:cs typeface="Neue Frutiger World" panose="020B0603040304020203" pitchFamily="34" charset="0"/>
              </a:rPr>
              <a:t> alone.</a:t>
            </a:r>
            <a:r>
              <a:rPr sz="900" spc="7" baseline="30864" dirty="0">
                <a:solidFill>
                  <a:srgbClr val="231F20"/>
                </a:solidFill>
                <a:latin typeface="Neue Frutiger World" panose="020B0603040304020203" pitchFamily="34" charset="0"/>
                <a:cs typeface="Neue Frutiger World" panose="020B0603040304020203" pitchFamily="34" charset="0"/>
              </a:rPr>
              <a:t>5-9</a:t>
            </a:r>
            <a:endParaRPr sz="900" baseline="30864" dirty="0">
              <a:latin typeface="Neue Frutiger World" panose="020B0603040304020203" pitchFamily="34" charset="0"/>
              <a:cs typeface="Neue Frutiger World" panose="020B0603040304020203" pitchFamily="34" charset="0"/>
            </a:endParaRPr>
          </a:p>
          <a:p>
            <a:pPr marL="177785" indent="-101592" algn="just">
              <a:spcBef>
                <a:spcPts val="489"/>
              </a:spcBef>
              <a:buChar char="•"/>
              <a:tabLst>
                <a:tab pos="177785" algn="l"/>
              </a:tabLst>
            </a:pPr>
            <a:r>
              <a:rPr sz="900" dirty="0">
                <a:solidFill>
                  <a:srgbClr val="231F20"/>
                </a:solidFill>
                <a:latin typeface="Neue Frutiger World" panose="020B0603040304020203" pitchFamily="34" charset="0"/>
                <a:cs typeface="Neue Frutiger World" panose="020B0603040304020203" pitchFamily="34" charset="0"/>
              </a:rPr>
              <a:t>7-fold</a:t>
            </a:r>
            <a:r>
              <a:rPr sz="900" spc="-5" dirty="0">
                <a:solidFill>
                  <a:srgbClr val="231F20"/>
                </a:solidFill>
                <a:latin typeface="Neue Frutiger World" panose="020B0603040304020203" pitchFamily="34" charset="0"/>
                <a:cs typeface="Neue Frutiger World" panose="020B0603040304020203" pitchFamily="34" charset="0"/>
              </a:rPr>
              <a:t> increase</a:t>
            </a:r>
            <a:r>
              <a:rPr sz="90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 </a:t>
            </a:r>
            <a:r>
              <a:rPr sz="900" spc="5" dirty="0">
                <a:solidFill>
                  <a:srgbClr val="231F20"/>
                </a:solidFill>
                <a:latin typeface="Neue Frutiger World" panose="020B0603040304020203" pitchFamily="34" charset="0"/>
                <a:cs typeface="Neue Frutiger World" panose="020B0603040304020203" pitchFamily="34" charset="0"/>
              </a:rPr>
              <a:t>30</a:t>
            </a:r>
            <a:r>
              <a:rPr sz="90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ay</a:t>
            </a:r>
            <a:r>
              <a:rPr sz="900" spc="-3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mortality.</a:t>
            </a:r>
            <a:r>
              <a:rPr sz="900" spc="-15" baseline="30864" dirty="0">
                <a:solidFill>
                  <a:srgbClr val="231F20"/>
                </a:solidFill>
                <a:latin typeface="Neue Frutiger World" panose="020B0603040304020203" pitchFamily="34" charset="0"/>
                <a:cs typeface="Neue Frutiger World" panose="020B0603040304020203" pitchFamily="34" charset="0"/>
              </a:rPr>
              <a:t>10</a:t>
            </a:r>
            <a:r>
              <a:rPr lang="nl-BE" sz="900" spc="-15" baseline="30864" dirty="0">
                <a:solidFill>
                  <a:srgbClr val="231F20"/>
                </a:solidFill>
                <a:latin typeface="Neue Frutiger World" panose="020B0603040304020203" pitchFamily="34" charset="0"/>
                <a:cs typeface="Neue Frutiger World" panose="020B0603040304020203" pitchFamily="34" charset="0"/>
              </a:rPr>
              <a:t>,27</a:t>
            </a:r>
            <a:endParaRPr sz="900" baseline="30864" dirty="0">
              <a:latin typeface="Neue Frutiger World" panose="020B0603040304020203" pitchFamily="34" charset="0"/>
              <a:cs typeface="Neue Frutiger World" panose="020B0603040304020203" pitchFamily="34" charset="0"/>
            </a:endParaRPr>
          </a:p>
          <a:p>
            <a:pPr marL="177785" marR="93972" indent="-101592" algn="just">
              <a:lnSpc>
                <a:spcPct val="104200"/>
              </a:lnSpc>
              <a:spcBef>
                <a:spcPts val="450"/>
              </a:spcBef>
              <a:buChar char="•"/>
              <a:tabLst>
                <a:tab pos="177785" algn="l"/>
              </a:tabLst>
            </a:pPr>
            <a:r>
              <a:rPr sz="900" spc="-5" dirty="0">
                <a:solidFill>
                  <a:srgbClr val="231F20"/>
                </a:solidFill>
                <a:latin typeface="Neue Frutiger World" panose="020B0603040304020203" pitchFamily="34" charset="0"/>
                <a:cs typeface="Neue Frutiger World" panose="020B0603040304020203" pitchFamily="34" charset="0"/>
              </a:rPr>
              <a:t>Immediate</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ystem</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removal</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is</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ssociate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with</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three-fold</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ecrease</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a:t>
            </a:r>
            <a:r>
              <a:rPr sz="900" spc="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1-year</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mortality</a:t>
            </a:r>
            <a:r>
              <a:rPr lang="en-GB"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s</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ompared</a:t>
            </a:r>
            <a:r>
              <a:rPr sz="900" spc="5" dirty="0">
                <a:solidFill>
                  <a:srgbClr val="231F20"/>
                </a:solidFill>
                <a:latin typeface="Neue Frutiger World" panose="020B0603040304020203" pitchFamily="34" charset="0"/>
                <a:cs typeface="Neue Frutiger World" panose="020B0603040304020203" pitchFamily="34" charset="0"/>
              </a:rPr>
              <a:t> </a:t>
            </a:r>
            <a:r>
              <a:rPr sz="900" spc="-20" dirty="0">
                <a:solidFill>
                  <a:srgbClr val="231F20"/>
                </a:solidFill>
                <a:latin typeface="Neue Frutiger World" panose="020B0603040304020203" pitchFamily="34" charset="0"/>
                <a:cs typeface="Neue Frutiger World" panose="020B0603040304020203" pitchFamily="34" charset="0"/>
              </a:rPr>
              <a:t>to</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preliminary</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ntibiotic</a:t>
            </a:r>
            <a:r>
              <a:rPr sz="900" dirty="0">
                <a:solidFill>
                  <a:srgbClr val="231F20"/>
                </a:solidFill>
                <a:latin typeface="Neue Frutiger World" panose="020B0603040304020203" pitchFamily="34" charset="0"/>
                <a:cs typeface="Neue Frutiger World" panose="020B0603040304020203" pitchFamily="34" charset="0"/>
              </a:rPr>
              <a:t> </a:t>
            </a:r>
            <a:r>
              <a:rPr sz="900" spc="-15" dirty="0">
                <a:solidFill>
                  <a:srgbClr val="231F20"/>
                </a:solidFill>
                <a:latin typeface="Neue Frutiger World" panose="020B0603040304020203" pitchFamily="34" charset="0"/>
                <a:cs typeface="Neue Frutiger World" panose="020B0603040304020203" pitchFamily="34" charset="0"/>
              </a:rPr>
              <a:t>treatment</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nd</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elayed</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ystem</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removal.</a:t>
            </a:r>
            <a:r>
              <a:rPr sz="900" spc="-15" baseline="30864" dirty="0">
                <a:solidFill>
                  <a:srgbClr val="231F20"/>
                </a:solidFill>
                <a:latin typeface="Neue Frutiger World" panose="020B0603040304020203" pitchFamily="34" charset="0"/>
                <a:cs typeface="Neue Frutiger World" panose="020B0603040304020203" pitchFamily="34" charset="0"/>
              </a:rPr>
              <a:t>13</a:t>
            </a:r>
            <a:r>
              <a:rPr lang="nl-BE" sz="900" spc="-15" baseline="30864" dirty="0">
                <a:solidFill>
                  <a:srgbClr val="231F20"/>
                </a:solidFill>
                <a:latin typeface="Neue Frutiger World" panose="020B0603040304020203" pitchFamily="34" charset="0"/>
                <a:cs typeface="Neue Frutiger World" panose="020B0603040304020203" pitchFamily="34" charset="0"/>
              </a:rPr>
              <a:t>,27</a:t>
            </a:r>
            <a:endParaRPr sz="900" baseline="30864" dirty="0">
              <a:latin typeface="Neue Frutiger World" panose="020B0603040304020203" pitchFamily="34" charset="0"/>
              <a:cs typeface="Neue Frutiger World" panose="020B0603040304020203" pitchFamily="34" charset="0"/>
            </a:endParaRPr>
          </a:p>
          <a:p>
            <a:pPr algn="just">
              <a:spcBef>
                <a:spcPts val="35"/>
              </a:spcBef>
              <a:buClr>
                <a:srgbClr val="231F20"/>
              </a:buClr>
              <a:buFont typeface="CentraleSans Book"/>
              <a:buChar char="•"/>
            </a:pPr>
            <a:endParaRPr sz="900" b="1" dirty="0">
              <a:latin typeface="Neue Frutiger World" panose="020B0603040304020203" pitchFamily="34" charset="0"/>
              <a:ea typeface="Verdana" panose="020B0604030504040204" pitchFamily="34" charset="0"/>
              <a:cs typeface="Neue Frutiger World" panose="020B0603040304020203" pitchFamily="34" charset="0"/>
            </a:endParaRPr>
          </a:p>
          <a:p>
            <a:pPr marL="76194" algn="just">
              <a:spcBef>
                <a:spcPts val="5"/>
              </a:spcBef>
            </a:pPr>
            <a:r>
              <a:rPr sz="900" b="1" spc="-2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CIED</a:t>
            </a:r>
            <a:r>
              <a:rPr sz="900" b="1" spc="-7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2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in</a:t>
            </a:r>
            <a:r>
              <a:rPr sz="900" b="1" spc="1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f</a:t>
            </a:r>
            <a:r>
              <a:rPr sz="900" b="1"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ection</a:t>
            </a:r>
            <a:r>
              <a:rPr sz="900" b="1" spc="-7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1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h</a:t>
            </a:r>
            <a:r>
              <a:rPr sz="900" b="1"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a</a:t>
            </a:r>
            <a:r>
              <a:rPr sz="900" b="1" spc="-2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s</a:t>
            </a:r>
            <a:r>
              <a:rPr sz="900" b="1" spc="-7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a</a:t>
            </a:r>
            <a:r>
              <a:rPr sz="900" b="1" spc="-7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high</a:t>
            </a:r>
            <a:r>
              <a:rPr sz="900" b="1" spc="-7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1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e</a:t>
            </a:r>
            <a:r>
              <a:rPr sz="900" b="1" spc="-2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c</a:t>
            </a:r>
            <a:r>
              <a:rPr sz="900" b="1" spc="-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onomic</a:t>
            </a:r>
            <a:r>
              <a:rPr sz="900" b="1" spc="-7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 </a:t>
            </a:r>
            <a:r>
              <a:rPr sz="900" b="1" spc="-20"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c</a:t>
            </a:r>
            <a:r>
              <a:rPr sz="900" b="1" spc="-15"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ost.</a:t>
            </a:r>
            <a:r>
              <a:rPr sz="900" b="1" spc="-30" baseline="30864"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3</a:t>
            </a:r>
            <a:r>
              <a:rPr sz="900" b="1" spc="-75" baseline="30864"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a:t>
            </a:r>
            <a:r>
              <a:rPr sz="900" b="1" spc="-67" baseline="30864" dirty="0">
                <a:solidFill>
                  <a:srgbClr val="231F20"/>
                </a:solidFill>
                <a:latin typeface="Neue Frutiger World" panose="020B0603040304020203" pitchFamily="34" charset="0"/>
                <a:ea typeface="Verdana" panose="020B0604030504040204" pitchFamily="34" charset="0"/>
                <a:cs typeface="Neue Frutiger World" panose="020B0603040304020203" pitchFamily="34" charset="0"/>
              </a:rPr>
              <a:t>15</a:t>
            </a:r>
            <a:endParaRPr sz="900" b="1" baseline="30864" dirty="0">
              <a:latin typeface="Neue Frutiger World" panose="020B0603040304020203" pitchFamily="34" charset="0"/>
              <a:ea typeface="Verdana" panose="020B0604030504040204" pitchFamily="34" charset="0"/>
              <a:cs typeface="Neue Frutiger World" panose="020B0603040304020203" pitchFamily="34" charset="0"/>
            </a:endParaRPr>
          </a:p>
          <a:p>
            <a:pPr marL="177785" indent="-101592" algn="just">
              <a:spcBef>
                <a:spcPts val="489"/>
              </a:spcBef>
              <a:buChar char="•"/>
              <a:tabLst>
                <a:tab pos="177785" algn="l"/>
              </a:tabLst>
            </a:pPr>
            <a:r>
              <a:rPr lang="en-GB" sz="900" spc="-10" dirty="0">
                <a:solidFill>
                  <a:srgbClr val="231F20"/>
                </a:solidFill>
                <a:latin typeface="Neue Frutiger World" panose="020B0603040304020203" pitchFamily="34" charset="0"/>
                <a:cs typeface="Neue Frutiger World" panose="020B0603040304020203" pitchFamily="34" charset="0"/>
              </a:rPr>
              <a:t>Average c</a:t>
            </a:r>
            <a:r>
              <a:rPr sz="900" spc="-10" dirty="0" err="1">
                <a:solidFill>
                  <a:srgbClr val="231F20"/>
                </a:solidFill>
                <a:latin typeface="Neue Frutiger World" panose="020B0603040304020203" pitchFamily="34" charset="0"/>
                <a:cs typeface="Neue Frutiger World" panose="020B0603040304020203" pitchFamily="34" charset="0"/>
              </a:rPr>
              <a:t>ost</a:t>
            </a:r>
            <a:r>
              <a:rPr sz="900" dirty="0">
                <a:solidFill>
                  <a:srgbClr val="231F20"/>
                </a:solidFill>
                <a:latin typeface="Neue Frutiger World" panose="020B0603040304020203" pitchFamily="34" charset="0"/>
                <a:cs typeface="Neue Frutiger World" panose="020B0603040304020203" pitchFamily="34" charset="0"/>
              </a:rPr>
              <a:t> </a:t>
            </a:r>
            <a:r>
              <a:rPr sz="900" spc="-20" dirty="0">
                <a:solidFill>
                  <a:srgbClr val="231F20"/>
                </a:solidFill>
                <a:latin typeface="Neue Frutiger World" panose="020B0603040304020203" pitchFamily="34" charset="0"/>
                <a:cs typeface="Neue Frutiger World" panose="020B0603040304020203" pitchFamily="34" charset="0"/>
              </a:rPr>
              <a:t>to</a:t>
            </a:r>
            <a:r>
              <a:rPr sz="900" dirty="0">
                <a:solidFill>
                  <a:srgbClr val="231F20"/>
                </a:solidFill>
                <a:latin typeface="Neue Frutiger World" panose="020B0603040304020203" pitchFamily="34" charset="0"/>
                <a:cs typeface="Neue Frutiger World" panose="020B0603040304020203" pitchFamily="34" charset="0"/>
              </a:rPr>
              <a:t> </a:t>
            </a:r>
            <a:r>
              <a:rPr sz="900" spc="-20" dirty="0">
                <a:solidFill>
                  <a:srgbClr val="231F20"/>
                </a:solidFill>
                <a:latin typeface="Neue Frutiger World" panose="020B0603040304020203" pitchFamily="34" charset="0"/>
                <a:cs typeface="Neue Frutiger World" panose="020B0603040304020203" pitchFamily="34" charset="0"/>
              </a:rPr>
              <a:t>treat</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ingle</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IED </a:t>
            </a:r>
            <a:r>
              <a:rPr sz="900" spc="-10" dirty="0">
                <a:solidFill>
                  <a:srgbClr val="231F20"/>
                </a:solidFill>
                <a:latin typeface="Neue Frutiger World" panose="020B0603040304020203" pitchFamily="34" charset="0"/>
                <a:cs typeface="Neue Frutiger World" panose="020B0603040304020203" pitchFamily="34" charset="0"/>
              </a:rPr>
              <a:t>infection</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atient</a:t>
            </a:r>
            <a:r>
              <a:rPr sz="900" spc="5" dirty="0">
                <a:solidFill>
                  <a:srgbClr val="231F20"/>
                </a:solidFill>
                <a:latin typeface="Neue Frutiger World" panose="020B0603040304020203" pitchFamily="34" charset="0"/>
                <a:cs typeface="Neue Frutiger World" panose="020B0603040304020203" pitchFamily="34" charset="0"/>
              </a:rPr>
              <a:t> </a:t>
            </a:r>
            <a:r>
              <a:rPr lang="en-GB" sz="900" spc="20" dirty="0">
                <a:solidFill>
                  <a:srgbClr val="231F20"/>
                </a:solidFill>
                <a:latin typeface="Neue Frutiger World" panose="020B0603040304020203" pitchFamily="34" charset="0"/>
                <a:cs typeface="Neue Frutiger World" panose="020B0603040304020203" pitchFamily="34" charset="0"/>
              </a:rPr>
              <a:t>- £30.958.40 (UK), €23,234 (France), €21,196.44 (Spain), €31,493 (Germany), $51,000 (USA), $30,000 (Canada CAD), $17,000 (Australia AUD), $17,000 (Korea USD)</a:t>
            </a:r>
            <a:r>
              <a:rPr lang="en-GB" sz="900" spc="20" baseline="30000" dirty="0">
                <a:solidFill>
                  <a:srgbClr val="231F20"/>
                </a:solidFill>
                <a:latin typeface="Neue Frutiger World" panose="020B0603040304020203" pitchFamily="34" charset="0"/>
                <a:cs typeface="Neue Frutiger World" panose="020B0603040304020203" pitchFamily="34" charset="0"/>
              </a:rPr>
              <a:t>32,36</a:t>
            </a:r>
            <a:endParaRPr sz="900" dirty="0">
              <a:latin typeface="Neue Frutiger World" panose="020B0603040304020203" pitchFamily="34" charset="0"/>
              <a:cs typeface="Neue Frutiger World" panose="020B0603040304020203" pitchFamily="34" charset="0"/>
            </a:endParaRPr>
          </a:p>
          <a:p>
            <a:pPr marL="177785" indent="-101592" algn="just">
              <a:spcBef>
                <a:spcPts val="489"/>
              </a:spcBef>
              <a:buFontTx/>
              <a:buChar char="•"/>
              <a:tabLst>
                <a:tab pos="177785" algn="l"/>
              </a:tabLst>
            </a:pPr>
            <a:r>
              <a:rPr sz="900" spc="-10" dirty="0">
                <a:solidFill>
                  <a:srgbClr val="231F20"/>
                </a:solidFill>
                <a:latin typeface="Neue Frutiger World" panose="020B0603040304020203" pitchFamily="34" charset="0"/>
                <a:cs typeface="Neue Frutiger World" panose="020B0603040304020203" pitchFamily="34" charset="0"/>
              </a:rPr>
              <a:t>Average</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cost</a:t>
            </a:r>
            <a:r>
              <a:rPr sz="900" spc="1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f</a:t>
            </a:r>
            <a:r>
              <a:rPr lang="en-GB" sz="900" spc="-10" dirty="0">
                <a:solidFill>
                  <a:srgbClr val="231F20"/>
                </a:solidFill>
                <a:latin typeface="Neue Frutiger World" panose="020B0603040304020203" pitchFamily="34" charset="0"/>
                <a:cs typeface="Neue Frutiger World" panose="020B0603040304020203" pitchFamily="34" charset="0"/>
              </a:rPr>
              <a:t> infection including inpatient stay:</a:t>
            </a:r>
            <a:r>
              <a:rPr lang="en-GB" sz="900" spc="20" dirty="0">
                <a:solidFill>
                  <a:srgbClr val="231F20"/>
                </a:solidFill>
                <a:latin typeface="Neue Frutiger World" panose="020B0603040304020203" pitchFamily="34" charset="0"/>
                <a:cs typeface="Neue Frutiger World" panose="020B0603040304020203" pitchFamily="34" charset="0"/>
              </a:rPr>
              <a:t> £41,820</a:t>
            </a:r>
            <a:r>
              <a:rPr lang="en-GB" sz="900" spc="20" baseline="30000" dirty="0">
                <a:solidFill>
                  <a:srgbClr val="231F20"/>
                </a:solidFill>
                <a:latin typeface="Neue Frutiger World" panose="020B0603040304020203" pitchFamily="34" charset="0"/>
                <a:cs typeface="Neue Frutiger World" panose="020B0603040304020203" pitchFamily="34" charset="0"/>
              </a:rPr>
              <a:t>37</a:t>
            </a:r>
            <a:r>
              <a:rPr lang="en-GB" sz="900" spc="20" dirty="0">
                <a:solidFill>
                  <a:srgbClr val="231F20"/>
                </a:solidFill>
                <a:latin typeface="Neue Frutiger World" panose="020B0603040304020203" pitchFamily="34" charset="0"/>
                <a:cs typeface="Neue Frutiger World" panose="020B0603040304020203" pitchFamily="34" charset="0"/>
              </a:rPr>
              <a:t> </a:t>
            </a:r>
          </a:p>
          <a:p>
            <a:pPr marL="177785" indent="-101592" algn="just">
              <a:spcBef>
                <a:spcPts val="489"/>
              </a:spcBef>
              <a:buFontTx/>
              <a:buChar char="•"/>
              <a:tabLst>
                <a:tab pos="177785" algn="l"/>
              </a:tabLst>
            </a:pPr>
            <a:r>
              <a:rPr lang="en-GB" sz="900" spc="20" dirty="0">
                <a:solidFill>
                  <a:srgbClr val="231F20"/>
                </a:solidFill>
                <a:latin typeface="Neue Frutiger World" panose="020B0603040304020203" pitchFamily="34" charset="0"/>
                <a:cs typeface="Neue Frutiger World" panose="020B0603040304020203" pitchFamily="34" charset="0"/>
              </a:rPr>
              <a:t>Patients with major infections, on average stayed in hospital for 54.7 days (major infections) compared to 22.7 days (minor infections)</a:t>
            </a:r>
            <a:r>
              <a:rPr lang="en-GB" sz="900" spc="20" baseline="30000" dirty="0">
                <a:solidFill>
                  <a:srgbClr val="231F20"/>
                </a:solidFill>
                <a:latin typeface="Neue Frutiger World" panose="020B0603040304020203" pitchFamily="34" charset="0"/>
                <a:cs typeface="Neue Frutiger World" panose="020B0603040304020203" pitchFamily="34" charset="0"/>
              </a:rPr>
              <a:t>38</a:t>
            </a:r>
            <a:endParaRPr lang="en-GB" sz="900" spc="20" dirty="0">
              <a:solidFill>
                <a:srgbClr val="231F20"/>
              </a:solidFill>
              <a:latin typeface="Neue Frutiger World" panose="020B0603040304020203" pitchFamily="34" charset="0"/>
              <a:cs typeface="Neue Frutiger World" panose="020B0603040304020203" pitchFamily="34" charset="0"/>
            </a:endParaRPr>
          </a:p>
          <a:p>
            <a:pPr marL="177785" marR="68574" indent="-101592" algn="just">
              <a:lnSpc>
                <a:spcPct val="104200"/>
              </a:lnSpc>
              <a:spcBef>
                <a:spcPts val="450"/>
              </a:spcBef>
              <a:buChar char="•"/>
              <a:tabLst>
                <a:tab pos="177785" algn="l"/>
              </a:tabLst>
            </a:pPr>
            <a:r>
              <a:rPr sz="900" spc="-10" dirty="0">
                <a:solidFill>
                  <a:srgbClr val="231F20"/>
                </a:solidFill>
                <a:latin typeface="Neue Frutiger World" panose="020B0603040304020203" pitchFamily="34" charset="0"/>
                <a:cs typeface="Neue Frutiger World" panose="020B0603040304020203" pitchFamily="34" charset="0"/>
              </a:rPr>
              <a:t>Patients</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extracte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within</a:t>
            </a:r>
            <a:r>
              <a:rPr sz="900" spc="5" dirty="0">
                <a:solidFill>
                  <a:srgbClr val="231F20"/>
                </a:solidFill>
                <a:latin typeface="Neue Frutiger World" panose="020B0603040304020203" pitchFamily="34" charset="0"/>
                <a:cs typeface="Neue Frutiger World" panose="020B0603040304020203" pitchFamily="34" charset="0"/>
              </a:rPr>
              <a:t> 10</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ays</a:t>
            </a:r>
            <a:r>
              <a:rPr sz="900" spc="1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may</a:t>
            </a:r>
            <a:r>
              <a:rPr sz="900" spc="-20" dirty="0">
                <a:solidFill>
                  <a:srgbClr val="231F20"/>
                </a:solidFill>
                <a:latin typeface="Neue Frutiger World" panose="020B0603040304020203" pitchFamily="34" charset="0"/>
                <a:cs typeface="Neue Frutiger World" panose="020B0603040304020203" pitchFamily="34" charset="0"/>
              </a:rPr>
              <a:t> </a:t>
            </a:r>
            <a:r>
              <a:rPr sz="900" spc="-15" dirty="0">
                <a:solidFill>
                  <a:srgbClr val="231F20"/>
                </a:solidFill>
                <a:latin typeface="Neue Frutiger World" panose="020B0603040304020203" pitchFamily="34" charset="0"/>
                <a:cs typeface="Neue Frutiger World" panose="020B0603040304020203" pitchFamily="34" charset="0"/>
              </a:rPr>
              <a:t>save</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he</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ospital</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ystem</a:t>
            </a:r>
            <a:r>
              <a:rPr sz="900" spc="5" dirty="0">
                <a:solidFill>
                  <a:srgbClr val="231F20"/>
                </a:solidFill>
                <a:latin typeface="Neue Frutiger World" panose="020B0603040304020203" pitchFamily="34" charset="0"/>
                <a:cs typeface="Neue Frutiger World" panose="020B0603040304020203" pitchFamily="34" charset="0"/>
              </a:rPr>
              <a:t> $56,470</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costs</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ue</a:t>
            </a:r>
            <a:r>
              <a:rPr sz="900" spc="5" dirty="0">
                <a:solidFill>
                  <a:srgbClr val="231F20"/>
                </a:solidFill>
                <a:latin typeface="Neue Frutiger World" panose="020B0603040304020203" pitchFamily="34" charset="0"/>
                <a:cs typeface="Neue Frutiger World" panose="020B0603040304020203" pitchFamily="34" charset="0"/>
              </a:rPr>
              <a:t> </a:t>
            </a:r>
            <a:r>
              <a:rPr sz="900" spc="-20" dirty="0">
                <a:solidFill>
                  <a:srgbClr val="231F20"/>
                </a:solidFill>
                <a:latin typeface="Neue Frutiger World" panose="020B0603040304020203" pitchFamily="34" charset="0"/>
                <a:cs typeface="Neue Frutiger World" panose="020B0603040304020203" pitchFamily="34" charset="0"/>
              </a:rPr>
              <a:t>to</a:t>
            </a:r>
            <a:r>
              <a:rPr lang="en-GB" sz="900" spc="-2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shorter</a:t>
            </a:r>
            <a:r>
              <a:rPr sz="900" spc="-2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ospital</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tays.</a:t>
            </a:r>
            <a:r>
              <a:rPr sz="900" spc="-7" baseline="30864" dirty="0">
                <a:solidFill>
                  <a:srgbClr val="231F20"/>
                </a:solidFill>
                <a:latin typeface="Neue Frutiger World" panose="020B0603040304020203" pitchFamily="34" charset="0"/>
                <a:cs typeface="Neue Frutiger World" panose="020B0603040304020203" pitchFamily="34" charset="0"/>
              </a:rPr>
              <a:t>23</a:t>
            </a:r>
            <a:endParaRPr sz="900" baseline="30864" dirty="0">
              <a:latin typeface="Neue Frutiger World" panose="020B0603040304020203" pitchFamily="34" charset="0"/>
              <a:cs typeface="Neue Frutiger World" panose="020B0603040304020203" pitchFamily="34" charset="0"/>
            </a:endParaRPr>
          </a:p>
          <a:p>
            <a:pPr marL="177785" marR="142228" indent="-101592" algn="just">
              <a:lnSpc>
                <a:spcPct val="104200"/>
              </a:lnSpc>
              <a:spcBef>
                <a:spcPts val="450"/>
              </a:spcBef>
              <a:buChar char="•"/>
              <a:tabLst>
                <a:tab pos="177785" algn="l"/>
              </a:tabLst>
            </a:pPr>
            <a:r>
              <a:rPr lang="en-GB" sz="900" dirty="0">
                <a:solidFill>
                  <a:srgbClr val="231F20"/>
                </a:solidFill>
                <a:latin typeface="Neue Frutiger World" panose="020B0603040304020203" pitchFamily="34" charset="0"/>
                <a:cs typeface="Neue Frutiger World" panose="020B0603040304020203" pitchFamily="34" charset="0"/>
              </a:rPr>
              <a:t>Estimated 3 year incremental expenditures (from date of implantation) for patients with infection compared to a non-infected control group were </a:t>
            </a:r>
            <a:r>
              <a:rPr lang="en-GB" sz="900" spc="20" dirty="0">
                <a:solidFill>
                  <a:srgbClr val="231F20"/>
                </a:solidFill>
                <a:latin typeface="Neue Frutiger World" panose="020B0603040304020203" pitchFamily="34" charset="0"/>
                <a:cs typeface="Neue Frutiger World" panose="020B0603040304020203" pitchFamily="34" charset="0"/>
              </a:rPr>
              <a:t>€</a:t>
            </a:r>
            <a:r>
              <a:rPr lang="en-GB" sz="900" dirty="0">
                <a:solidFill>
                  <a:srgbClr val="231F20"/>
                </a:solidFill>
                <a:latin typeface="Neue Frutiger World" panose="020B0603040304020203" pitchFamily="34" charset="0"/>
                <a:cs typeface="Neue Frutiger World" panose="020B0603040304020203" pitchFamily="34" charset="0"/>
              </a:rPr>
              <a:t>31,493 (de novo implants) and </a:t>
            </a:r>
            <a:r>
              <a:rPr lang="en-GB" sz="900" spc="20" dirty="0">
                <a:solidFill>
                  <a:srgbClr val="231F20"/>
                </a:solidFill>
                <a:latin typeface="Neue Frutiger World" panose="020B0603040304020203" pitchFamily="34" charset="0"/>
                <a:cs typeface="Neue Frutiger World" panose="020B0603040304020203" pitchFamily="34" charset="0"/>
              </a:rPr>
              <a:t>€3</a:t>
            </a:r>
            <a:r>
              <a:rPr lang="en-GB" sz="900" dirty="0">
                <a:solidFill>
                  <a:srgbClr val="231F20"/>
                </a:solidFill>
                <a:latin typeface="Neue Frutiger World" panose="020B0603040304020203" pitchFamily="34" charset="0"/>
                <a:cs typeface="Neue Frutiger World" panose="020B0603040304020203" pitchFamily="34" charset="0"/>
              </a:rPr>
              <a:t>3,777 for replacement patients. Cumulative costs for patients with major infections (over 3 years) were </a:t>
            </a:r>
            <a:r>
              <a:rPr lang="en-GB" sz="900" spc="20" dirty="0">
                <a:solidFill>
                  <a:srgbClr val="231F20"/>
                </a:solidFill>
                <a:latin typeface="Neue Frutiger World" panose="020B0603040304020203" pitchFamily="34" charset="0"/>
                <a:cs typeface="Neue Frutiger World" panose="020B0603040304020203" pitchFamily="34" charset="0"/>
              </a:rPr>
              <a:t>€</a:t>
            </a:r>
            <a:r>
              <a:rPr lang="en-GB" sz="900" dirty="0">
                <a:solidFill>
                  <a:srgbClr val="231F20"/>
                </a:solidFill>
                <a:latin typeface="Neue Frutiger World" panose="020B0603040304020203" pitchFamily="34" charset="0"/>
                <a:cs typeface="Neue Frutiger World" panose="020B0603040304020203" pitchFamily="34" charset="0"/>
              </a:rPr>
              <a:t>99,706</a:t>
            </a:r>
            <a:r>
              <a:rPr lang="en-GB" sz="900" baseline="30000" dirty="0">
                <a:solidFill>
                  <a:srgbClr val="231F20"/>
                </a:solidFill>
                <a:latin typeface="Neue Frutiger World" panose="020B0603040304020203" pitchFamily="34" charset="0"/>
                <a:cs typeface="Neue Frutiger World" panose="020B0603040304020203" pitchFamily="34" charset="0"/>
              </a:rPr>
              <a:t>38</a:t>
            </a:r>
            <a:endParaRPr sz="900" baseline="30864" dirty="0">
              <a:latin typeface="Neue Frutiger World" panose="020B0603040304020203" pitchFamily="34" charset="0"/>
              <a:cs typeface="Neue Frutiger World" panose="020B0603040304020203" pitchFamily="34" charset="0"/>
            </a:endParaRPr>
          </a:p>
          <a:p>
            <a:pPr algn="just">
              <a:spcBef>
                <a:spcPts val="50"/>
              </a:spcBef>
            </a:pPr>
            <a:endParaRPr sz="700" dirty="0">
              <a:latin typeface="Neue Frutiger World" panose="020B0603040304020203" pitchFamily="34" charset="0"/>
              <a:cs typeface="Neue Frutiger World" panose="020B0603040304020203" pitchFamily="34" charset="0"/>
            </a:endParaRPr>
          </a:p>
        </p:txBody>
      </p:sp>
      <p:graphicFrame>
        <p:nvGraphicFramePr>
          <p:cNvPr id="7" name="object 5">
            <a:extLst>
              <a:ext uri="{FF2B5EF4-FFF2-40B4-BE49-F238E27FC236}">
                <a16:creationId xmlns:a16="http://schemas.microsoft.com/office/drawing/2014/main" id="{3665868B-94A8-4C8C-9173-ED1C7D188FCC}"/>
              </a:ext>
            </a:extLst>
          </p:cNvPr>
          <p:cNvGraphicFramePr>
            <a:graphicFrameLocks noGrp="1"/>
          </p:cNvGraphicFramePr>
          <p:nvPr>
            <p:extLst>
              <p:ext uri="{D42A27DB-BD31-4B8C-83A1-F6EECF244321}">
                <p14:modId xmlns:p14="http://schemas.microsoft.com/office/powerpoint/2010/main" val="605222143"/>
              </p:ext>
            </p:extLst>
          </p:nvPr>
        </p:nvGraphicFramePr>
        <p:xfrm>
          <a:off x="5985857" y="843558"/>
          <a:ext cx="2400300" cy="1108710"/>
        </p:xfrm>
        <a:graphic>
          <a:graphicData uri="http://schemas.openxmlformats.org/drawingml/2006/table">
            <a:tbl>
              <a:tblPr firstRow="1" bandRow="1">
                <a:tableStyleId>{2D5ABB26-0587-4C30-8999-92F81FD0307C}</a:tableStyleId>
              </a:tblPr>
              <a:tblGrid>
                <a:gridCol w="758825">
                  <a:extLst>
                    <a:ext uri="{9D8B030D-6E8A-4147-A177-3AD203B41FA5}">
                      <a16:colId xmlns:a16="http://schemas.microsoft.com/office/drawing/2014/main" val="20000"/>
                    </a:ext>
                  </a:extLst>
                </a:gridCol>
                <a:gridCol w="786765">
                  <a:extLst>
                    <a:ext uri="{9D8B030D-6E8A-4147-A177-3AD203B41FA5}">
                      <a16:colId xmlns:a16="http://schemas.microsoft.com/office/drawing/2014/main" val="20001"/>
                    </a:ext>
                  </a:extLst>
                </a:gridCol>
                <a:gridCol w="854710">
                  <a:extLst>
                    <a:ext uri="{9D8B030D-6E8A-4147-A177-3AD203B41FA5}">
                      <a16:colId xmlns:a16="http://schemas.microsoft.com/office/drawing/2014/main" val="20002"/>
                    </a:ext>
                  </a:extLst>
                </a:gridCol>
              </a:tblGrid>
              <a:tr h="245110">
                <a:tc gridSpan="3">
                  <a:txBody>
                    <a:bodyPr/>
                    <a:lstStyle/>
                    <a:p>
                      <a:pPr marL="973455">
                        <a:lnSpc>
                          <a:spcPct val="100000"/>
                        </a:lnSpc>
                        <a:spcBef>
                          <a:spcPts val="465"/>
                        </a:spcBef>
                      </a:pPr>
                      <a:r>
                        <a:rPr sz="800" dirty="0">
                          <a:solidFill>
                            <a:srgbClr val="231F20"/>
                          </a:solidFill>
                          <a:latin typeface="Neue Frutiger World" panose="020B0603040304020203" pitchFamily="34" charset="0"/>
                          <a:cs typeface="Neue Frutiger World" panose="020B0603040304020203" pitchFamily="34" charset="0"/>
                        </a:rPr>
                        <a:t>Timing</a:t>
                      </a:r>
                      <a:r>
                        <a:rPr sz="800" spc="-7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90" dirty="0">
                          <a:solidFill>
                            <a:srgbClr val="231F20"/>
                          </a:solidFill>
                          <a:latin typeface="Neue Frutiger World" panose="020B0603040304020203" pitchFamily="34" charset="0"/>
                          <a:cs typeface="Neue Frutiger World" panose="020B0603040304020203" pitchFamily="34" charset="0"/>
                        </a:rPr>
                        <a:t> </a:t>
                      </a:r>
                      <a:r>
                        <a:rPr sz="800" spc="-15" dirty="0">
                          <a:solidFill>
                            <a:srgbClr val="231F20"/>
                          </a:solidFill>
                          <a:latin typeface="Neue Frutiger World" panose="020B0603040304020203" pitchFamily="34" charset="0"/>
                          <a:cs typeface="Neue Frutiger World" panose="020B0603040304020203" pitchFamily="34" charset="0"/>
                        </a:rPr>
                        <a:t>l</a:t>
                      </a:r>
                      <a:r>
                        <a:rPr sz="800" dirty="0">
                          <a:solidFill>
                            <a:srgbClr val="231F20"/>
                          </a:solidFill>
                          <a:latin typeface="Neue Frutiger World" panose="020B0603040304020203" pitchFamily="34" charset="0"/>
                          <a:cs typeface="Neue Frutiger World" panose="020B0603040304020203" pitchFamily="34" charset="0"/>
                        </a:rPr>
                        <a:t>ead</a:t>
                      </a:r>
                      <a:r>
                        <a:rPr sz="800" spc="-7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r</a:t>
                      </a:r>
                      <a:r>
                        <a:rPr sz="800" dirty="0">
                          <a:solidFill>
                            <a:srgbClr val="231F20"/>
                          </a:solidFill>
                          <a:latin typeface="Neue Frutiger World" panose="020B0603040304020203" pitchFamily="34" charset="0"/>
                          <a:cs typeface="Neue Frutiger World" panose="020B0603040304020203" pitchFamily="34" charset="0"/>
                        </a:rPr>
                        <a:t>em</a:t>
                      </a:r>
                      <a:r>
                        <a:rPr sz="800" spc="-15" dirty="0">
                          <a:solidFill>
                            <a:srgbClr val="231F20"/>
                          </a:solidFill>
                          <a:latin typeface="Neue Frutiger World" panose="020B0603040304020203" pitchFamily="34" charset="0"/>
                          <a:cs typeface="Neue Frutiger World" panose="020B0603040304020203" pitchFamily="34" charset="0"/>
                        </a:rPr>
                        <a:t>ova</a:t>
                      </a:r>
                      <a:r>
                        <a:rPr sz="800" dirty="0">
                          <a:solidFill>
                            <a:srgbClr val="231F20"/>
                          </a:solidFill>
                          <a:latin typeface="Neue Frutiger World" panose="020B0603040304020203" pitchFamily="34" charset="0"/>
                          <a:cs typeface="Neue Frutiger World" panose="020B0603040304020203" pitchFamily="34" charset="0"/>
                        </a:rPr>
                        <a:t>l</a:t>
                      </a:r>
                      <a:r>
                        <a:rPr sz="700" baseline="30864" dirty="0">
                          <a:solidFill>
                            <a:srgbClr val="231F20"/>
                          </a:solidFill>
                          <a:latin typeface="Neue Frutiger World" panose="020B0603040304020203" pitchFamily="34" charset="0"/>
                          <a:cs typeface="Neue Frutiger World" panose="020B0603040304020203" pitchFamily="34" charset="0"/>
                        </a:rPr>
                        <a:t>11</a:t>
                      </a:r>
                      <a:endParaRPr sz="700" baseline="30864" dirty="0">
                        <a:latin typeface="Neue Frutiger World" panose="020B0603040304020203" pitchFamily="34" charset="0"/>
                        <a:cs typeface="Neue Frutiger World" panose="020B0603040304020203" pitchFamily="34" charset="0"/>
                      </a:endParaRPr>
                    </a:p>
                  </a:txBody>
                  <a:tcPr marL="0" marR="0" marT="59055" marB="0">
                    <a:lnB w="9525">
                      <a:solidFill>
                        <a:srgbClr val="989AA5"/>
                      </a:solidFill>
                      <a:prstDash val="solid"/>
                    </a:lnB>
                    <a:solidFill>
                      <a:srgbClr val="D9DAE4"/>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228600">
                <a:tc>
                  <a:txBody>
                    <a:bodyPr/>
                    <a:lstStyle/>
                    <a:p>
                      <a:pPr>
                        <a:lnSpc>
                          <a:spcPct val="100000"/>
                        </a:lnSpc>
                      </a:pPr>
                      <a:endParaRPr sz="800" dirty="0">
                        <a:latin typeface="Neue Frutiger World" panose="020B0603040304020203" pitchFamily="34" charset="0"/>
                        <a:cs typeface="Neue Frutiger World" panose="020B0603040304020203" pitchFamily="34" charset="0"/>
                      </a:endParaRPr>
                    </a:p>
                  </a:txBody>
                  <a:tcPr marL="0" marR="0" marT="0" marB="0">
                    <a:lnT w="9525">
                      <a:solidFill>
                        <a:srgbClr val="989AA5"/>
                      </a:solidFill>
                      <a:prstDash val="solid"/>
                    </a:lnT>
                    <a:lnB w="3175">
                      <a:solidFill>
                        <a:srgbClr val="00A9EB"/>
                      </a:solidFill>
                      <a:prstDash val="solid"/>
                    </a:lnB>
                  </a:tcPr>
                </a:tc>
                <a:tc>
                  <a:txBody>
                    <a:bodyPr/>
                    <a:lstStyle/>
                    <a:p>
                      <a:pPr marL="214629">
                        <a:lnSpc>
                          <a:spcPct val="100000"/>
                        </a:lnSpc>
                        <a:spcBef>
                          <a:spcPts val="400"/>
                        </a:spcBef>
                      </a:pPr>
                      <a:r>
                        <a:rPr sz="800" b="1" spc="-15" dirty="0">
                          <a:solidFill>
                            <a:srgbClr val="231F20"/>
                          </a:solidFill>
                          <a:latin typeface="Neue Frutiger World" panose="020B0603040304020203" pitchFamily="34" charset="0"/>
                          <a:cs typeface="Neue Frutiger World" panose="020B0603040304020203" pitchFamily="34" charset="0"/>
                        </a:rPr>
                        <a:t>&lt;10</a:t>
                      </a:r>
                      <a:r>
                        <a:rPr sz="800" b="1" spc="-25" dirty="0">
                          <a:solidFill>
                            <a:srgbClr val="231F20"/>
                          </a:solidFill>
                          <a:latin typeface="Neue Frutiger World" panose="020B0603040304020203" pitchFamily="34" charset="0"/>
                          <a:cs typeface="Neue Frutiger World" panose="020B0603040304020203" pitchFamily="34" charset="0"/>
                        </a:rPr>
                        <a:t> </a:t>
                      </a:r>
                      <a:r>
                        <a:rPr sz="800" b="1" spc="-5" dirty="0">
                          <a:solidFill>
                            <a:srgbClr val="231F20"/>
                          </a:solidFill>
                          <a:latin typeface="Neue Frutiger World" panose="020B0603040304020203" pitchFamily="34" charset="0"/>
                          <a:cs typeface="Neue Frutiger World" panose="020B0603040304020203" pitchFamily="34" charset="0"/>
                        </a:rPr>
                        <a:t>days</a:t>
                      </a:r>
                      <a:endParaRPr sz="800" dirty="0">
                        <a:latin typeface="Neue Frutiger World" panose="020B0603040304020203" pitchFamily="34" charset="0"/>
                        <a:cs typeface="Neue Frutiger World" panose="020B0603040304020203" pitchFamily="34" charset="0"/>
                      </a:endParaRPr>
                    </a:p>
                  </a:txBody>
                  <a:tcPr marL="0" marR="0" marT="50800" marB="0">
                    <a:lnT w="9525">
                      <a:solidFill>
                        <a:srgbClr val="989AA5"/>
                      </a:solidFill>
                      <a:prstDash val="solid"/>
                    </a:lnT>
                    <a:lnB w="3175">
                      <a:solidFill>
                        <a:srgbClr val="00A9EB"/>
                      </a:solidFill>
                      <a:prstDash val="solid"/>
                    </a:lnB>
                  </a:tcPr>
                </a:tc>
                <a:tc>
                  <a:txBody>
                    <a:bodyPr/>
                    <a:lstStyle/>
                    <a:p>
                      <a:pPr marL="140970">
                        <a:lnSpc>
                          <a:spcPct val="100000"/>
                        </a:lnSpc>
                        <a:spcBef>
                          <a:spcPts val="400"/>
                        </a:spcBef>
                      </a:pPr>
                      <a:r>
                        <a:rPr sz="800" b="1" spc="-15" dirty="0">
                          <a:solidFill>
                            <a:srgbClr val="231F20"/>
                          </a:solidFill>
                          <a:latin typeface="Neue Frutiger World" panose="020B0603040304020203" pitchFamily="34" charset="0"/>
                          <a:cs typeface="Neue Frutiger World" panose="020B0603040304020203" pitchFamily="34" charset="0"/>
                        </a:rPr>
                        <a:t>&gt;10</a:t>
                      </a:r>
                      <a:r>
                        <a:rPr sz="800" b="1" spc="-25" dirty="0">
                          <a:solidFill>
                            <a:srgbClr val="231F20"/>
                          </a:solidFill>
                          <a:latin typeface="Neue Frutiger World" panose="020B0603040304020203" pitchFamily="34" charset="0"/>
                          <a:cs typeface="Neue Frutiger World" panose="020B0603040304020203" pitchFamily="34" charset="0"/>
                        </a:rPr>
                        <a:t> </a:t>
                      </a:r>
                      <a:r>
                        <a:rPr sz="800" b="1" spc="-5" dirty="0">
                          <a:solidFill>
                            <a:srgbClr val="231F20"/>
                          </a:solidFill>
                          <a:latin typeface="Neue Frutiger World" panose="020B0603040304020203" pitchFamily="34" charset="0"/>
                          <a:cs typeface="Neue Frutiger World" panose="020B0603040304020203" pitchFamily="34" charset="0"/>
                        </a:rPr>
                        <a:t>days</a:t>
                      </a:r>
                      <a:endParaRPr sz="800" dirty="0">
                        <a:latin typeface="Neue Frutiger World" panose="020B0603040304020203" pitchFamily="34" charset="0"/>
                        <a:cs typeface="Neue Frutiger World" panose="020B0603040304020203" pitchFamily="34" charset="0"/>
                      </a:endParaRPr>
                    </a:p>
                  </a:txBody>
                  <a:tcPr marL="0" marR="0" marT="50800" marB="0">
                    <a:lnT w="9525">
                      <a:solidFill>
                        <a:srgbClr val="989AA5"/>
                      </a:solidFill>
                      <a:prstDash val="solid"/>
                    </a:lnT>
                    <a:lnB w="3175">
                      <a:solidFill>
                        <a:srgbClr val="00A9EB"/>
                      </a:solidFill>
                      <a:prstDash val="solid"/>
                    </a:lnB>
                  </a:tcPr>
                </a:tc>
                <a:extLst>
                  <a:ext uri="{0D108BD9-81ED-4DB2-BD59-A6C34878D82A}">
                    <a16:rowId xmlns:a16="http://schemas.microsoft.com/office/drawing/2014/main" val="10001"/>
                  </a:ext>
                </a:extLst>
              </a:tr>
              <a:tr h="317500">
                <a:tc>
                  <a:txBody>
                    <a:bodyPr/>
                    <a:lstStyle/>
                    <a:p>
                      <a:pPr marL="57150">
                        <a:lnSpc>
                          <a:spcPct val="100000"/>
                        </a:lnSpc>
                        <a:spcBef>
                          <a:spcPts val="250"/>
                        </a:spcBef>
                      </a:pPr>
                      <a:r>
                        <a:rPr sz="800" spc="5" dirty="0">
                          <a:solidFill>
                            <a:srgbClr val="231F20"/>
                          </a:solidFill>
                          <a:latin typeface="Neue Frutiger World" panose="020B0603040304020203" pitchFamily="34" charset="0"/>
                          <a:cs typeface="Neue Frutiger World" panose="020B0603040304020203" pitchFamily="34" charset="0"/>
                        </a:rPr>
                        <a:t>LOHS</a:t>
                      </a:r>
                      <a:endParaRPr sz="800" dirty="0">
                        <a:latin typeface="Neue Frutiger World" panose="020B0603040304020203" pitchFamily="34" charset="0"/>
                        <a:cs typeface="Neue Frutiger World" panose="020B0603040304020203" pitchFamily="34" charset="0"/>
                      </a:endParaRPr>
                    </a:p>
                    <a:p>
                      <a:pPr marL="57150">
                        <a:lnSpc>
                          <a:spcPct val="100000"/>
                        </a:lnSpc>
                        <a:spcBef>
                          <a:spcPts val="40"/>
                        </a:spcBef>
                      </a:pPr>
                      <a:r>
                        <a:rPr sz="800" spc="-5" dirty="0">
                          <a:solidFill>
                            <a:srgbClr val="231F20"/>
                          </a:solidFill>
                          <a:latin typeface="Neue Frutiger World" panose="020B0603040304020203" pitchFamily="34" charset="0"/>
                          <a:cs typeface="Neue Frutiger World" panose="020B0603040304020203" pitchFamily="34" charset="0"/>
                        </a:rPr>
                        <a:t>(days)</a:t>
                      </a:r>
                      <a:endParaRPr sz="800" dirty="0">
                        <a:latin typeface="Neue Frutiger World" panose="020B0603040304020203" pitchFamily="34" charset="0"/>
                        <a:cs typeface="Neue Frutiger World" panose="020B0603040304020203" pitchFamily="34" charset="0"/>
                      </a:endParaRPr>
                    </a:p>
                  </a:txBody>
                  <a:tcPr marL="0" marR="0" marT="31750" marB="0">
                    <a:lnT w="3175">
                      <a:solidFill>
                        <a:srgbClr val="00A9EB"/>
                      </a:solidFill>
                      <a:prstDash val="solid"/>
                    </a:lnT>
                    <a:lnB w="3175">
                      <a:solidFill>
                        <a:srgbClr val="00A9EB"/>
                      </a:solidFill>
                      <a:prstDash val="solid"/>
                    </a:lnB>
                  </a:tcPr>
                </a:tc>
                <a:tc>
                  <a:txBody>
                    <a:bodyPr/>
                    <a:lstStyle/>
                    <a:p>
                      <a:pPr marL="214629">
                        <a:lnSpc>
                          <a:spcPct val="100000"/>
                        </a:lnSpc>
                        <a:spcBef>
                          <a:spcPts val="750"/>
                        </a:spcBef>
                      </a:pPr>
                      <a:r>
                        <a:rPr sz="800" dirty="0">
                          <a:solidFill>
                            <a:srgbClr val="231F20"/>
                          </a:solidFill>
                          <a:latin typeface="Neue Frutiger World" panose="020B0603040304020203" pitchFamily="34" charset="0"/>
                          <a:cs typeface="Neue Frutiger World" panose="020B0603040304020203" pitchFamily="34" charset="0"/>
                        </a:rPr>
                        <a:t>18</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3</a:t>
                      </a:r>
                      <a:endParaRPr sz="800" dirty="0">
                        <a:latin typeface="Neue Frutiger World" panose="020B0603040304020203" pitchFamily="34" charset="0"/>
                        <a:cs typeface="Neue Frutiger World" panose="020B0603040304020203" pitchFamily="34" charset="0"/>
                      </a:endParaRPr>
                    </a:p>
                  </a:txBody>
                  <a:tcPr marL="0" marR="0" marT="95250" marB="0">
                    <a:lnT w="3175">
                      <a:solidFill>
                        <a:srgbClr val="00A9EB"/>
                      </a:solidFill>
                      <a:prstDash val="solid"/>
                    </a:lnT>
                    <a:lnB w="3175">
                      <a:solidFill>
                        <a:srgbClr val="00A9EB"/>
                      </a:solidFill>
                      <a:prstDash val="solid"/>
                    </a:lnB>
                  </a:tcPr>
                </a:tc>
                <a:tc>
                  <a:txBody>
                    <a:bodyPr/>
                    <a:lstStyle/>
                    <a:p>
                      <a:pPr marL="140970">
                        <a:lnSpc>
                          <a:spcPct val="100000"/>
                        </a:lnSpc>
                        <a:spcBef>
                          <a:spcPts val="750"/>
                        </a:spcBef>
                      </a:pPr>
                      <a:r>
                        <a:rPr sz="800" dirty="0">
                          <a:solidFill>
                            <a:srgbClr val="231F20"/>
                          </a:solidFill>
                          <a:latin typeface="Neue Frutiger World" panose="020B0603040304020203" pitchFamily="34" charset="0"/>
                          <a:cs typeface="Neue Frutiger World" panose="020B0603040304020203" pitchFamily="34" charset="0"/>
                        </a:rPr>
                        <a:t>44</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a:t>
                      </a:r>
                      <a:r>
                        <a:rPr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38</a:t>
                      </a:r>
                      <a:endParaRPr sz="800" dirty="0">
                        <a:latin typeface="Neue Frutiger World" panose="020B0603040304020203" pitchFamily="34" charset="0"/>
                        <a:cs typeface="Neue Frutiger World" panose="020B0603040304020203" pitchFamily="34" charset="0"/>
                      </a:endParaRPr>
                    </a:p>
                  </a:txBody>
                  <a:tcPr marL="0" marR="0" marT="95250" marB="0">
                    <a:lnT w="3175">
                      <a:solidFill>
                        <a:srgbClr val="00A9EB"/>
                      </a:solidFill>
                      <a:prstDash val="solid"/>
                    </a:lnT>
                    <a:lnB w="3175">
                      <a:solidFill>
                        <a:srgbClr val="00A9EB"/>
                      </a:solidFill>
                      <a:prstDash val="solid"/>
                    </a:lnB>
                  </a:tcPr>
                </a:tc>
                <a:extLst>
                  <a:ext uri="{0D108BD9-81ED-4DB2-BD59-A6C34878D82A}">
                    <a16:rowId xmlns:a16="http://schemas.microsoft.com/office/drawing/2014/main" val="10002"/>
                  </a:ext>
                </a:extLst>
              </a:tr>
              <a:tr h="317500">
                <a:tc>
                  <a:txBody>
                    <a:bodyPr/>
                    <a:lstStyle/>
                    <a:p>
                      <a:pPr marL="57150">
                        <a:lnSpc>
                          <a:spcPct val="100000"/>
                        </a:lnSpc>
                        <a:spcBef>
                          <a:spcPts val="250"/>
                        </a:spcBef>
                      </a:pPr>
                      <a:r>
                        <a:rPr sz="800" spc="-10" dirty="0">
                          <a:solidFill>
                            <a:srgbClr val="231F20"/>
                          </a:solidFill>
                          <a:latin typeface="Neue Frutiger World" panose="020B0603040304020203" pitchFamily="34" charset="0"/>
                          <a:cs typeface="Neue Frutiger World" panose="020B0603040304020203" pitchFamily="34" charset="0"/>
                        </a:rPr>
                        <a:t>Survival</a:t>
                      </a:r>
                      <a:endParaRPr sz="800" dirty="0">
                        <a:latin typeface="Neue Frutiger World" panose="020B0603040304020203" pitchFamily="34" charset="0"/>
                        <a:cs typeface="Neue Frutiger World" panose="020B0603040304020203" pitchFamily="34" charset="0"/>
                      </a:endParaRPr>
                    </a:p>
                    <a:p>
                      <a:pPr marL="57150">
                        <a:lnSpc>
                          <a:spcPct val="100000"/>
                        </a:lnSpc>
                        <a:spcBef>
                          <a:spcPts val="40"/>
                        </a:spcBef>
                      </a:pPr>
                      <a:r>
                        <a:rPr sz="800" spc="-15" dirty="0">
                          <a:solidFill>
                            <a:srgbClr val="231F20"/>
                          </a:solidFill>
                          <a:latin typeface="Neue Frutiger World" panose="020B0603040304020203" pitchFamily="34" charset="0"/>
                          <a:cs typeface="Neue Frutiger World" panose="020B0603040304020203" pitchFamily="34" charset="0"/>
                        </a:rPr>
                        <a:t>(at</a:t>
                      </a:r>
                      <a:r>
                        <a:rPr sz="800" spc="-2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1-year)</a:t>
                      </a:r>
                      <a:endParaRPr sz="800" dirty="0">
                        <a:latin typeface="Neue Frutiger World" panose="020B0603040304020203" pitchFamily="34" charset="0"/>
                        <a:cs typeface="Neue Frutiger World" panose="020B0603040304020203" pitchFamily="34" charset="0"/>
                      </a:endParaRPr>
                    </a:p>
                  </a:txBody>
                  <a:tcPr marL="0" marR="0" marT="31750" marB="0">
                    <a:lnT w="3175">
                      <a:solidFill>
                        <a:srgbClr val="00A9EB"/>
                      </a:solidFill>
                      <a:prstDash val="solid"/>
                    </a:lnT>
                    <a:lnB w="3175">
                      <a:solidFill>
                        <a:srgbClr val="00A9EB"/>
                      </a:solidFill>
                      <a:prstDash val="solid"/>
                    </a:lnB>
                  </a:tcPr>
                </a:tc>
                <a:tc>
                  <a:txBody>
                    <a:bodyPr/>
                    <a:lstStyle/>
                    <a:p>
                      <a:pPr marL="214629">
                        <a:lnSpc>
                          <a:spcPct val="100000"/>
                        </a:lnSpc>
                        <a:spcBef>
                          <a:spcPts val="750"/>
                        </a:spcBef>
                      </a:pPr>
                      <a:r>
                        <a:rPr sz="800" spc="-5" dirty="0">
                          <a:solidFill>
                            <a:srgbClr val="231F20"/>
                          </a:solidFill>
                          <a:latin typeface="Neue Frutiger World" panose="020B0603040304020203" pitchFamily="34" charset="0"/>
                          <a:cs typeface="Neue Frutiger World" panose="020B0603040304020203" pitchFamily="34" charset="0"/>
                        </a:rPr>
                        <a:t>83.1%</a:t>
                      </a:r>
                      <a:endParaRPr sz="800" dirty="0">
                        <a:latin typeface="Neue Frutiger World" panose="020B0603040304020203" pitchFamily="34" charset="0"/>
                        <a:cs typeface="Neue Frutiger World" panose="020B0603040304020203" pitchFamily="34" charset="0"/>
                      </a:endParaRPr>
                    </a:p>
                  </a:txBody>
                  <a:tcPr marL="0" marR="0" marT="95250" marB="0">
                    <a:lnT w="3175">
                      <a:solidFill>
                        <a:srgbClr val="00A9EB"/>
                      </a:solidFill>
                      <a:prstDash val="solid"/>
                    </a:lnT>
                    <a:lnB w="3175">
                      <a:solidFill>
                        <a:srgbClr val="00A9EB"/>
                      </a:solidFill>
                      <a:prstDash val="solid"/>
                    </a:lnB>
                  </a:tcPr>
                </a:tc>
                <a:tc>
                  <a:txBody>
                    <a:bodyPr/>
                    <a:lstStyle/>
                    <a:p>
                      <a:pPr marL="140970">
                        <a:lnSpc>
                          <a:spcPct val="100000"/>
                        </a:lnSpc>
                        <a:spcBef>
                          <a:spcPts val="750"/>
                        </a:spcBef>
                      </a:pPr>
                      <a:r>
                        <a:rPr sz="800" dirty="0">
                          <a:solidFill>
                            <a:srgbClr val="231F20"/>
                          </a:solidFill>
                          <a:latin typeface="Neue Frutiger World" panose="020B0603040304020203" pitchFamily="34" charset="0"/>
                          <a:cs typeface="Neue Frutiger World" panose="020B0603040304020203" pitchFamily="34" charset="0"/>
                        </a:rPr>
                        <a:t>66.1%</a:t>
                      </a:r>
                      <a:endParaRPr sz="800" dirty="0">
                        <a:latin typeface="Neue Frutiger World" panose="020B0603040304020203" pitchFamily="34" charset="0"/>
                        <a:cs typeface="Neue Frutiger World" panose="020B0603040304020203" pitchFamily="34" charset="0"/>
                      </a:endParaRPr>
                    </a:p>
                  </a:txBody>
                  <a:tcPr marL="0" marR="0" marT="95250" marB="0">
                    <a:lnT w="3175">
                      <a:solidFill>
                        <a:srgbClr val="00A9EB"/>
                      </a:solidFill>
                      <a:prstDash val="solid"/>
                    </a:lnT>
                    <a:lnB w="3175">
                      <a:solidFill>
                        <a:srgbClr val="00A9EB"/>
                      </a:solidFill>
                      <a:prstDash val="solid"/>
                    </a:lnB>
                  </a:tcPr>
                </a:tc>
                <a:extLst>
                  <a:ext uri="{0D108BD9-81ED-4DB2-BD59-A6C34878D82A}">
                    <a16:rowId xmlns:a16="http://schemas.microsoft.com/office/drawing/2014/main" val="10003"/>
                  </a:ext>
                </a:extLst>
              </a:tr>
            </a:tbl>
          </a:graphicData>
        </a:graphic>
      </p:graphicFrame>
      <p:sp>
        <p:nvSpPr>
          <p:cNvPr id="8" name="TextBox 7">
            <a:extLst>
              <a:ext uri="{FF2B5EF4-FFF2-40B4-BE49-F238E27FC236}">
                <a16:creationId xmlns:a16="http://schemas.microsoft.com/office/drawing/2014/main" id="{2FC2DB92-F79E-4509-94AE-E46F590C0687}"/>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9" name="Rectangle 8">
            <a:hlinkClick r:id="rId2" action="ppaction://hlinksldjump"/>
            <a:extLst>
              <a:ext uri="{FF2B5EF4-FFF2-40B4-BE49-F238E27FC236}">
                <a16:creationId xmlns:a16="http://schemas.microsoft.com/office/drawing/2014/main" id="{0AACFD31-0CDC-494E-89BF-2FC98F207DCE}"/>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0" name="Rectangle 9">
            <a:hlinkClick r:id="rId3" action="ppaction://hlinksldjump"/>
            <a:extLst>
              <a:ext uri="{FF2B5EF4-FFF2-40B4-BE49-F238E27FC236}">
                <a16:creationId xmlns:a16="http://schemas.microsoft.com/office/drawing/2014/main" id="{DE087EDC-0F35-42B6-B9E9-5D241864C691}"/>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1" name="Rectangle 10">
            <a:hlinkClick r:id="rId4" action="ppaction://hlinksldjump"/>
            <a:extLst>
              <a:ext uri="{FF2B5EF4-FFF2-40B4-BE49-F238E27FC236}">
                <a16:creationId xmlns:a16="http://schemas.microsoft.com/office/drawing/2014/main" id="{854AC8C1-9911-43F5-A9B2-E80901C427B6}"/>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2" name="Rectangle 11">
            <a:hlinkClick r:id="rId5" action="ppaction://hlinksldjump"/>
            <a:extLst>
              <a:ext uri="{FF2B5EF4-FFF2-40B4-BE49-F238E27FC236}">
                <a16:creationId xmlns:a16="http://schemas.microsoft.com/office/drawing/2014/main" id="{21F07D2E-EF60-47EE-9763-CE51349544EE}"/>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3" name="Rectangle 12">
            <a:hlinkClick r:id="rId6" action="ppaction://hlinksldjump"/>
            <a:extLst>
              <a:ext uri="{FF2B5EF4-FFF2-40B4-BE49-F238E27FC236}">
                <a16:creationId xmlns:a16="http://schemas.microsoft.com/office/drawing/2014/main" id="{F6D29C7A-EDFE-4F7E-ACCB-420740734EF3}"/>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7" action="ppaction://hlinksldjump"/>
            <a:extLst>
              <a:ext uri="{FF2B5EF4-FFF2-40B4-BE49-F238E27FC236}">
                <a16:creationId xmlns:a16="http://schemas.microsoft.com/office/drawing/2014/main" id="{D6199D02-DC15-409C-91D8-42B31E2EA004}"/>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8" action="ppaction://hlinksldjump"/>
            <a:extLst>
              <a:ext uri="{FF2B5EF4-FFF2-40B4-BE49-F238E27FC236}">
                <a16:creationId xmlns:a16="http://schemas.microsoft.com/office/drawing/2014/main" id="{FFBC4B10-63B4-4F86-8D89-A3A5C072FC6D}"/>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9" action="ppaction://hlinksldjump"/>
            <a:extLst>
              <a:ext uri="{FF2B5EF4-FFF2-40B4-BE49-F238E27FC236}">
                <a16:creationId xmlns:a16="http://schemas.microsoft.com/office/drawing/2014/main" id="{21AD5075-E4ED-41BE-A944-956652A4C7E9}"/>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extLst>
              <a:ext uri="{FF2B5EF4-FFF2-40B4-BE49-F238E27FC236}">
                <a16:creationId xmlns:a16="http://schemas.microsoft.com/office/drawing/2014/main" id="{8F70B40A-88FE-4B0E-8CB2-8D8883F7B221}"/>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10" action="ppaction://hlinksldjump"/>
            <a:extLst>
              <a:ext uri="{FF2B5EF4-FFF2-40B4-BE49-F238E27FC236}">
                <a16:creationId xmlns:a16="http://schemas.microsoft.com/office/drawing/2014/main" id="{42A94C42-6857-48F0-A37D-8FACE58284E8}"/>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11" action="ppaction://hlinksldjump"/>
            <a:extLst>
              <a:ext uri="{FF2B5EF4-FFF2-40B4-BE49-F238E27FC236}">
                <a16:creationId xmlns:a16="http://schemas.microsoft.com/office/drawing/2014/main" id="{53DF79E4-AB03-4DAC-BC46-AF833AA3506A}"/>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12" action="ppaction://hlinksldjump"/>
            <a:extLst>
              <a:ext uri="{FF2B5EF4-FFF2-40B4-BE49-F238E27FC236}">
                <a16:creationId xmlns:a16="http://schemas.microsoft.com/office/drawing/2014/main" id="{A885F67A-EACE-4938-BE2F-3D391B256D01}"/>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3" action="ppaction://hlinksldjump"/>
            <a:extLst>
              <a:ext uri="{FF2B5EF4-FFF2-40B4-BE49-F238E27FC236}">
                <a16:creationId xmlns:a16="http://schemas.microsoft.com/office/drawing/2014/main" id="{CF0D3654-539F-4DE0-9B28-3521DE9C4029}"/>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4" action="ppaction://hlinksldjump"/>
            <a:extLst>
              <a:ext uri="{FF2B5EF4-FFF2-40B4-BE49-F238E27FC236}">
                <a16:creationId xmlns:a16="http://schemas.microsoft.com/office/drawing/2014/main" id="{9147CCB0-748B-4BCD-B401-1868DF605717}"/>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5" action="ppaction://hlinksldjump"/>
            <a:extLst>
              <a:ext uri="{FF2B5EF4-FFF2-40B4-BE49-F238E27FC236}">
                <a16:creationId xmlns:a16="http://schemas.microsoft.com/office/drawing/2014/main" id="{E5B90A41-D72E-41D4-8473-3821CF272A66}"/>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6" action="ppaction://hlinksldjump"/>
            <a:extLst>
              <a:ext uri="{FF2B5EF4-FFF2-40B4-BE49-F238E27FC236}">
                <a16:creationId xmlns:a16="http://schemas.microsoft.com/office/drawing/2014/main" id="{D806C468-147A-4289-91D4-C3642AED38F2}"/>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7" action="ppaction://hlinksldjump"/>
            <a:extLst>
              <a:ext uri="{FF2B5EF4-FFF2-40B4-BE49-F238E27FC236}">
                <a16:creationId xmlns:a16="http://schemas.microsoft.com/office/drawing/2014/main" id="{29F3E1FB-4A49-499F-9632-9DC599662BEB}"/>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8" action="ppaction://hlinksldjump"/>
            <a:extLst>
              <a:ext uri="{FF2B5EF4-FFF2-40B4-BE49-F238E27FC236}">
                <a16:creationId xmlns:a16="http://schemas.microsoft.com/office/drawing/2014/main" id="{A178231C-449B-4B91-841F-054042F4E086}"/>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9" action="ppaction://hlinksldjump"/>
            <a:extLst>
              <a:ext uri="{FF2B5EF4-FFF2-40B4-BE49-F238E27FC236}">
                <a16:creationId xmlns:a16="http://schemas.microsoft.com/office/drawing/2014/main" id="{5A83DC3B-4862-4FB4-A5A1-A13ECE41858D}"/>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20" action="ppaction://hlinksldjump"/>
            <a:extLst>
              <a:ext uri="{FF2B5EF4-FFF2-40B4-BE49-F238E27FC236}">
                <a16:creationId xmlns:a16="http://schemas.microsoft.com/office/drawing/2014/main" id="{CFDFB17C-F78D-4D2D-BE9C-805107439F55}"/>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21" action="ppaction://hlinksldjump"/>
            <a:extLst>
              <a:ext uri="{FF2B5EF4-FFF2-40B4-BE49-F238E27FC236}">
                <a16:creationId xmlns:a16="http://schemas.microsoft.com/office/drawing/2014/main" id="{98A994BE-C4F4-4707-B0C5-2D5F15BA32A7}"/>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22" action="ppaction://hlinksldjump"/>
            <a:extLst>
              <a:ext uri="{FF2B5EF4-FFF2-40B4-BE49-F238E27FC236}">
                <a16:creationId xmlns:a16="http://schemas.microsoft.com/office/drawing/2014/main" id="{0AB41695-C2CE-4350-A22F-C86BE1FFB97B}"/>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extLst>
              <a:ext uri="{FF2B5EF4-FFF2-40B4-BE49-F238E27FC236}">
                <a16:creationId xmlns:a16="http://schemas.microsoft.com/office/drawing/2014/main" id="{31264D7F-AF2C-4C08-9118-7E93E320668F}"/>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23" action="ppaction://hlinksldjump"/>
            <a:extLst>
              <a:ext uri="{FF2B5EF4-FFF2-40B4-BE49-F238E27FC236}">
                <a16:creationId xmlns:a16="http://schemas.microsoft.com/office/drawing/2014/main" id="{43414B34-85E7-4EB0-A49F-0D8935FFA6D6}"/>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4" action="ppaction://hlinksldjump"/>
            <a:extLst>
              <a:ext uri="{FF2B5EF4-FFF2-40B4-BE49-F238E27FC236}">
                <a16:creationId xmlns:a16="http://schemas.microsoft.com/office/drawing/2014/main" id="{3F6C6397-FB9B-4E80-8096-A2B9E9323BF0}"/>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5" action="ppaction://hlinksldjump"/>
            <a:extLst>
              <a:ext uri="{FF2B5EF4-FFF2-40B4-BE49-F238E27FC236}">
                <a16:creationId xmlns:a16="http://schemas.microsoft.com/office/drawing/2014/main" id="{2181C79A-A156-4987-B062-A781B05F5267}"/>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extLst>
              <a:ext uri="{FF2B5EF4-FFF2-40B4-BE49-F238E27FC236}">
                <a16:creationId xmlns:a16="http://schemas.microsoft.com/office/drawing/2014/main" id="{58B53189-10AE-417D-BA40-7799156300DB}"/>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36" name="Table 35">
            <a:extLst>
              <a:ext uri="{FF2B5EF4-FFF2-40B4-BE49-F238E27FC236}">
                <a16:creationId xmlns:a16="http://schemas.microsoft.com/office/drawing/2014/main" id="{0A103415-F59E-4D91-B869-C616B250998D}"/>
              </a:ext>
            </a:extLst>
          </p:cNvPr>
          <p:cNvGraphicFramePr>
            <a:graphicFrameLocks noGrp="1"/>
          </p:cNvGraphicFramePr>
          <p:nvPr>
            <p:extLst>
              <p:ext uri="{D42A27DB-BD31-4B8C-83A1-F6EECF244321}">
                <p14:modId xmlns:p14="http://schemas.microsoft.com/office/powerpoint/2010/main" val="3656262867"/>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37" name="Rectangle 36">
            <a:hlinkClick r:id="rId2" action="ppaction://hlinksldjump"/>
            <a:extLst>
              <a:ext uri="{FF2B5EF4-FFF2-40B4-BE49-F238E27FC236}">
                <a16:creationId xmlns:a16="http://schemas.microsoft.com/office/drawing/2014/main" id="{25D23D9C-7E41-48FA-9798-00FE7EC7E9E2}"/>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3" action="ppaction://hlinksldjump"/>
            <a:extLst>
              <a:ext uri="{FF2B5EF4-FFF2-40B4-BE49-F238E27FC236}">
                <a16:creationId xmlns:a16="http://schemas.microsoft.com/office/drawing/2014/main" id="{F97440AF-CC11-4750-BDDB-3D18FAF247B4}"/>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4" action="ppaction://hlinksldjump"/>
            <a:extLst>
              <a:ext uri="{FF2B5EF4-FFF2-40B4-BE49-F238E27FC236}">
                <a16:creationId xmlns:a16="http://schemas.microsoft.com/office/drawing/2014/main" id="{6E854175-7C59-42DC-8A7B-62DA921E0B4E}"/>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5" action="ppaction://hlinksldjump"/>
            <a:extLst>
              <a:ext uri="{FF2B5EF4-FFF2-40B4-BE49-F238E27FC236}">
                <a16:creationId xmlns:a16="http://schemas.microsoft.com/office/drawing/2014/main" id="{4A02E21B-40DA-4B2E-8FD1-0651032153B2}"/>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6" action="ppaction://hlinksldjump"/>
            <a:extLst>
              <a:ext uri="{FF2B5EF4-FFF2-40B4-BE49-F238E27FC236}">
                <a16:creationId xmlns:a16="http://schemas.microsoft.com/office/drawing/2014/main" id="{926CDE57-486E-43E2-AFCF-EF6FD5BF153C}"/>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7" action="ppaction://hlinksldjump"/>
            <a:extLst>
              <a:ext uri="{FF2B5EF4-FFF2-40B4-BE49-F238E27FC236}">
                <a16:creationId xmlns:a16="http://schemas.microsoft.com/office/drawing/2014/main" id="{BCDAB84E-5958-4AB8-A580-E460C1E69E92}"/>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8" action="ppaction://hlinksldjump"/>
            <a:extLst>
              <a:ext uri="{FF2B5EF4-FFF2-40B4-BE49-F238E27FC236}">
                <a16:creationId xmlns:a16="http://schemas.microsoft.com/office/drawing/2014/main" id="{ACCE7501-6247-4406-A9B6-B905898013DC}"/>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9" action="ppaction://hlinksldjump"/>
            <a:extLst>
              <a:ext uri="{FF2B5EF4-FFF2-40B4-BE49-F238E27FC236}">
                <a16:creationId xmlns:a16="http://schemas.microsoft.com/office/drawing/2014/main" id="{28F3F5F8-A9FC-416F-A980-B925BDF1FC93}"/>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extLst>
              <a:ext uri="{FF2B5EF4-FFF2-40B4-BE49-F238E27FC236}">
                <a16:creationId xmlns:a16="http://schemas.microsoft.com/office/drawing/2014/main" id="{78D38C7A-87AD-4A26-AC06-2A15E6150B1C}"/>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10" action="ppaction://hlinksldjump"/>
            <a:extLst>
              <a:ext uri="{FF2B5EF4-FFF2-40B4-BE49-F238E27FC236}">
                <a16:creationId xmlns:a16="http://schemas.microsoft.com/office/drawing/2014/main" id="{209FFC08-6C13-43B1-B5E6-B1647DF076D9}"/>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11" action="ppaction://hlinksldjump"/>
            <a:extLst>
              <a:ext uri="{FF2B5EF4-FFF2-40B4-BE49-F238E27FC236}">
                <a16:creationId xmlns:a16="http://schemas.microsoft.com/office/drawing/2014/main" id="{4F74825A-68BF-4F1B-BCD7-F4CA707B8697}"/>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12" action="ppaction://hlinksldjump"/>
            <a:extLst>
              <a:ext uri="{FF2B5EF4-FFF2-40B4-BE49-F238E27FC236}">
                <a16:creationId xmlns:a16="http://schemas.microsoft.com/office/drawing/2014/main" id="{93CB944D-DD81-44F2-BFF9-566978EA9394}"/>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3" action="ppaction://hlinksldjump"/>
            <a:extLst>
              <a:ext uri="{FF2B5EF4-FFF2-40B4-BE49-F238E27FC236}">
                <a16:creationId xmlns:a16="http://schemas.microsoft.com/office/drawing/2014/main" id="{D59275EE-3AA7-4C6E-BC6D-2DAE66C9B396}"/>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4" action="ppaction://hlinksldjump"/>
            <a:extLst>
              <a:ext uri="{FF2B5EF4-FFF2-40B4-BE49-F238E27FC236}">
                <a16:creationId xmlns:a16="http://schemas.microsoft.com/office/drawing/2014/main" id="{D54E9AB5-F7D1-4F0A-B174-964A32E9D213}"/>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5" action="ppaction://hlinksldjump"/>
            <a:extLst>
              <a:ext uri="{FF2B5EF4-FFF2-40B4-BE49-F238E27FC236}">
                <a16:creationId xmlns:a16="http://schemas.microsoft.com/office/drawing/2014/main" id="{2D67D83B-8293-41A2-8D3B-6EFD07045037}"/>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6" action="ppaction://hlinksldjump"/>
            <a:extLst>
              <a:ext uri="{FF2B5EF4-FFF2-40B4-BE49-F238E27FC236}">
                <a16:creationId xmlns:a16="http://schemas.microsoft.com/office/drawing/2014/main" id="{1B474D5E-EA13-4FFF-A01D-A70252845582}"/>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7" action="ppaction://hlinksldjump"/>
            <a:extLst>
              <a:ext uri="{FF2B5EF4-FFF2-40B4-BE49-F238E27FC236}">
                <a16:creationId xmlns:a16="http://schemas.microsoft.com/office/drawing/2014/main" id="{ABEC85B4-F647-4783-AEEC-D643C21425F4}"/>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8" action="ppaction://hlinksldjump"/>
            <a:extLst>
              <a:ext uri="{FF2B5EF4-FFF2-40B4-BE49-F238E27FC236}">
                <a16:creationId xmlns:a16="http://schemas.microsoft.com/office/drawing/2014/main" id="{C37E583E-CD05-4992-9DAF-1D66B3614C5C}"/>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9" action="ppaction://hlinksldjump"/>
            <a:extLst>
              <a:ext uri="{FF2B5EF4-FFF2-40B4-BE49-F238E27FC236}">
                <a16:creationId xmlns:a16="http://schemas.microsoft.com/office/drawing/2014/main" id="{69BE4073-CEF7-4FC7-8E7C-086F42C280A2}"/>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20" action="ppaction://hlinksldjump"/>
            <a:extLst>
              <a:ext uri="{FF2B5EF4-FFF2-40B4-BE49-F238E27FC236}">
                <a16:creationId xmlns:a16="http://schemas.microsoft.com/office/drawing/2014/main" id="{98E36CB4-D6D0-4077-9C62-59DD14949A47}"/>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21" action="ppaction://hlinksldjump"/>
            <a:extLst>
              <a:ext uri="{FF2B5EF4-FFF2-40B4-BE49-F238E27FC236}">
                <a16:creationId xmlns:a16="http://schemas.microsoft.com/office/drawing/2014/main" id="{00987490-8639-46DE-B9D8-0512DC07DDBD}"/>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22" action="ppaction://hlinksldjump"/>
            <a:extLst>
              <a:ext uri="{FF2B5EF4-FFF2-40B4-BE49-F238E27FC236}">
                <a16:creationId xmlns:a16="http://schemas.microsoft.com/office/drawing/2014/main" id="{5E12002D-67C1-4FCF-8CB8-0FF9F14BDA6B}"/>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extLst>
              <a:ext uri="{FF2B5EF4-FFF2-40B4-BE49-F238E27FC236}">
                <a16:creationId xmlns:a16="http://schemas.microsoft.com/office/drawing/2014/main" id="{B4F7FBAA-721F-44E2-8973-9BF5BBDF7BBC}"/>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23" action="ppaction://hlinksldjump"/>
            <a:extLst>
              <a:ext uri="{FF2B5EF4-FFF2-40B4-BE49-F238E27FC236}">
                <a16:creationId xmlns:a16="http://schemas.microsoft.com/office/drawing/2014/main" id="{E092128C-2E30-4146-A487-8E8BFFACE1D8}"/>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4" action="ppaction://hlinksldjump"/>
            <a:extLst>
              <a:ext uri="{FF2B5EF4-FFF2-40B4-BE49-F238E27FC236}">
                <a16:creationId xmlns:a16="http://schemas.microsoft.com/office/drawing/2014/main" id="{914FDA7C-9541-48E3-BFE0-25631BC2846A}"/>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5" action="ppaction://hlinksldjump"/>
            <a:extLst>
              <a:ext uri="{FF2B5EF4-FFF2-40B4-BE49-F238E27FC236}">
                <a16:creationId xmlns:a16="http://schemas.microsoft.com/office/drawing/2014/main" id="{5D624AD3-85F2-4868-AD3E-6ABD54A4E8CD}"/>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5438042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BF92D-EB51-44A3-8D94-21E9902EA066}"/>
              </a:ext>
            </a:extLst>
          </p:cNvPr>
          <p:cNvSpPr>
            <a:spLocks noGrp="1"/>
          </p:cNvSpPr>
          <p:nvPr>
            <p:ph type="title"/>
          </p:nvPr>
        </p:nvSpPr>
        <p:spPr/>
        <p:txBody>
          <a:bodyPr/>
          <a:lstStyle/>
          <a:p>
            <a:r>
              <a:rPr lang="en-GB" spc="-25" noProof="0" dirty="0">
                <a:latin typeface="Neue Frutiger World" panose="020B0603040304020203" pitchFamily="34" charset="0"/>
                <a:cs typeface="Neue Frutiger World" panose="020B0603040304020203" pitchFamily="34" charset="0"/>
              </a:rPr>
              <a:t>Cost</a:t>
            </a:r>
            <a:r>
              <a:rPr lang="en-GB" spc="30" noProof="0" dirty="0">
                <a:latin typeface="Neue Frutiger World" panose="020B0603040304020203" pitchFamily="34" charset="0"/>
                <a:cs typeface="Neue Frutiger World" panose="020B0603040304020203" pitchFamily="34" charset="0"/>
              </a:rPr>
              <a:t> </a:t>
            </a:r>
            <a:r>
              <a:rPr lang="en-GB" spc="-5" noProof="0" dirty="0">
                <a:latin typeface="Neue Frutiger World" panose="020B0603040304020203" pitchFamily="34" charset="0"/>
                <a:cs typeface="Neue Frutiger World" panose="020B0603040304020203" pitchFamily="34" charset="0"/>
              </a:rPr>
              <a:t>of infection</a:t>
            </a:r>
            <a:r>
              <a:rPr lang="en-GB" spc="35" noProof="0" dirty="0">
                <a:latin typeface="Neue Frutiger World" panose="020B0603040304020203" pitchFamily="34" charset="0"/>
                <a:cs typeface="Neue Frutiger World" panose="020B0603040304020203" pitchFamily="34" charset="0"/>
              </a:rPr>
              <a:t> </a:t>
            </a:r>
            <a:r>
              <a:rPr lang="en-GB" spc="229" noProof="0" dirty="0">
                <a:latin typeface="Neue Frutiger World" panose="020B0603040304020203" pitchFamily="34" charset="0"/>
                <a:cs typeface="Neue Frutiger World" panose="020B0603040304020203" pitchFamily="34" charset="0"/>
              </a:rPr>
              <a:t>–</a:t>
            </a:r>
            <a:r>
              <a:rPr lang="en-GB" spc="35" noProof="0" dirty="0">
                <a:latin typeface="Neue Frutiger World" panose="020B0603040304020203" pitchFamily="34" charset="0"/>
                <a:cs typeface="Neue Frutiger World" panose="020B0603040304020203" pitchFamily="34" charset="0"/>
              </a:rPr>
              <a:t> </a:t>
            </a:r>
            <a:r>
              <a:rPr lang="en-GB" spc="-10" noProof="0" dirty="0">
                <a:latin typeface="Neue Frutiger World" panose="020B0603040304020203" pitchFamily="34" charset="0"/>
                <a:cs typeface="Neue Frutiger World" panose="020B0603040304020203" pitchFamily="34" charset="0"/>
              </a:rPr>
              <a:t>conversation</a:t>
            </a:r>
            <a:r>
              <a:rPr lang="en-GB" spc="35" noProof="0" dirty="0">
                <a:latin typeface="Neue Frutiger World" panose="020B0603040304020203" pitchFamily="34" charset="0"/>
                <a:cs typeface="Neue Frutiger World" panose="020B0603040304020203" pitchFamily="34" charset="0"/>
              </a:rPr>
              <a:t> </a:t>
            </a:r>
            <a:r>
              <a:rPr lang="en-GB" spc="-15" noProof="0" dirty="0">
                <a:latin typeface="Neue Frutiger World" panose="020B0603040304020203" pitchFamily="34" charset="0"/>
                <a:cs typeface="Neue Frutiger World" panose="020B0603040304020203" pitchFamily="34" charset="0"/>
              </a:rPr>
              <a:t>starter</a:t>
            </a:r>
            <a:r>
              <a:rPr lang="en-GB" spc="-5" noProof="0" dirty="0">
                <a:latin typeface="Neue Frutiger World" panose="020B0603040304020203" pitchFamily="34" charset="0"/>
                <a:cs typeface="Neue Frutiger World" panose="020B0603040304020203" pitchFamily="34" charset="0"/>
              </a:rPr>
              <a:t> </a:t>
            </a:r>
            <a:r>
              <a:rPr lang="en-GB" spc="25" noProof="0" dirty="0">
                <a:latin typeface="Neue Frutiger World" panose="020B0603040304020203" pitchFamily="34" charset="0"/>
                <a:cs typeface="Neue Frutiger World" panose="020B0603040304020203" pitchFamily="34" charset="0"/>
              </a:rPr>
              <a:t>1</a:t>
            </a:r>
            <a:endParaRPr lang="en-GB" noProof="0" dirty="0">
              <a:latin typeface="Neue Frutiger World" panose="020B0603040304020203" pitchFamily="34" charset="0"/>
              <a:cs typeface="Neue Frutiger World" panose="020B0603040304020203" pitchFamily="34" charset="0"/>
            </a:endParaRPr>
          </a:p>
        </p:txBody>
      </p:sp>
      <p:sp>
        <p:nvSpPr>
          <p:cNvPr id="3" name="Footer Placeholder 2">
            <a:extLst>
              <a:ext uri="{FF2B5EF4-FFF2-40B4-BE49-F238E27FC236}">
                <a16:creationId xmlns:a16="http://schemas.microsoft.com/office/drawing/2014/main" id="{B44CD3D6-C563-4AF8-BD84-EACD23DC096C}"/>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2698CEE0-8676-467A-BADA-E02711F5678F}"/>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24</a:t>
            </a:fld>
            <a:endParaRPr lang="en-US" noProof="0" dirty="0">
              <a:latin typeface="Neue Frutiger World" panose="020B0603040304020203" pitchFamily="34" charset="0"/>
              <a:cs typeface="Neue Frutiger World" panose="020B0603040304020203" pitchFamily="34" charset="0"/>
            </a:endParaRPr>
          </a:p>
        </p:txBody>
      </p:sp>
      <p:sp>
        <p:nvSpPr>
          <p:cNvPr id="7" name="object 5">
            <a:extLst>
              <a:ext uri="{FF2B5EF4-FFF2-40B4-BE49-F238E27FC236}">
                <a16:creationId xmlns:a16="http://schemas.microsoft.com/office/drawing/2014/main" id="{DCAF70C1-A1E1-41A0-817E-8A77C486CCD0}"/>
              </a:ext>
            </a:extLst>
          </p:cNvPr>
          <p:cNvSpPr txBox="1"/>
          <p:nvPr/>
        </p:nvSpPr>
        <p:spPr>
          <a:xfrm>
            <a:off x="1547664" y="771550"/>
            <a:ext cx="2952328" cy="1275606"/>
          </a:xfrm>
          <a:prstGeom prst="rect">
            <a:avLst/>
          </a:prstGeom>
        </p:spPr>
        <p:txBody>
          <a:bodyPr vert="horz" wrap="square" lIns="0" tIns="92710" rIns="0" bIns="0" rtlCol="0">
            <a:spAutoFit/>
          </a:bodyPr>
          <a:lstStyle/>
          <a:p>
            <a:pPr marL="12699">
              <a:spcBef>
                <a:spcPts val="730"/>
              </a:spcBef>
            </a:pPr>
            <a:r>
              <a:rPr sz="1300" b="1" dirty="0">
                <a:solidFill>
                  <a:srgbClr val="231F20"/>
                </a:solidFill>
                <a:latin typeface="Neue Frutiger World" panose="020B0603040304020203" pitchFamily="34" charset="0"/>
                <a:cs typeface="Neue Frutiger World" panose="020B0603040304020203" pitchFamily="34" charset="0"/>
              </a:rPr>
              <a:t>Open ended</a:t>
            </a:r>
            <a:r>
              <a:rPr sz="1300" b="1" spc="5"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question:</a:t>
            </a:r>
            <a:endParaRPr sz="1300" dirty="0">
              <a:latin typeface="Neue Frutiger World" panose="020B0603040304020203" pitchFamily="34" charset="0"/>
              <a:cs typeface="Neue Frutiger World" panose="020B0603040304020203" pitchFamily="34" charset="0"/>
            </a:endParaRPr>
          </a:p>
          <a:p>
            <a:pPr marL="12699">
              <a:spcBef>
                <a:spcPts val="390"/>
              </a:spcBef>
            </a:pPr>
            <a:r>
              <a:rPr lang="en-GB" sz="800" spc="-10" dirty="0">
                <a:solidFill>
                  <a:srgbClr val="231F20"/>
                </a:solidFill>
                <a:latin typeface="Neue Frutiger World" panose="020B0603040304020203" pitchFamily="34" charset="0"/>
                <a:cs typeface="Neue Frutiger World" panose="020B0603040304020203" pitchFamily="34" charset="0"/>
              </a:rPr>
              <a:t>How much does an infection cost to treat?</a:t>
            </a:r>
            <a:endParaRPr sz="800" dirty="0">
              <a:latin typeface="Neue Frutiger World" panose="020B0603040304020203" pitchFamily="34" charset="0"/>
              <a:cs typeface="Neue Frutiger World" panose="020B0603040304020203" pitchFamily="34" charset="0"/>
            </a:endParaRPr>
          </a:p>
          <a:p>
            <a:pPr>
              <a:lnSpc>
                <a:spcPct val="100000"/>
              </a:lnSpc>
            </a:pPr>
            <a:endParaRPr sz="900" dirty="0">
              <a:latin typeface="Neue Frutiger World" panose="020B0603040304020203" pitchFamily="34" charset="0"/>
              <a:cs typeface="Neue Frutiger World" panose="020B0603040304020203" pitchFamily="34" charset="0"/>
            </a:endParaRPr>
          </a:p>
          <a:p>
            <a:pPr>
              <a:spcBef>
                <a:spcPts val="10"/>
              </a:spcBef>
            </a:pPr>
            <a:endParaRPr sz="1050" dirty="0">
              <a:latin typeface="Neue Frutiger World" panose="020B0603040304020203" pitchFamily="34" charset="0"/>
              <a:cs typeface="Neue Frutiger World" panose="020B0603040304020203" pitchFamily="34" charset="0"/>
            </a:endParaRPr>
          </a:p>
          <a:p>
            <a:pPr marL="12699"/>
            <a:r>
              <a:rPr sz="1300" b="1" spc="-15" dirty="0">
                <a:solidFill>
                  <a:srgbClr val="231F20"/>
                </a:solidFill>
                <a:latin typeface="Neue Frutiger World" panose="020B0603040304020203" pitchFamily="34" charset="0"/>
                <a:cs typeface="Neue Frutiger World" panose="020B0603040304020203" pitchFamily="34" charset="0"/>
              </a:rPr>
              <a:t>Potential</a:t>
            </a:r>
            <a:r>
              <a:rPr sz="1300" b="1" spc="25" dirty="0">
                <a:solidFill>
                  <a:srgbClr val="231F20"/>
                </a:solidFill>
                <a:latin typeface="Neue Frutiger World" panose="020B0603040304020203" pitchFamily="34" charset="0"/>
                <a:cs typeface="Neue Frutiger World" panose="020B0603040304020203" pitchFamily="34" charset="0"/>
              </a:rPr>
              <a:t> </a:t>
            </a:r>
            <a:r>
              <a:rPr sz="1300" b="1" dirty="0">
                <a:solidFill>
                  <a:srgbClr val="231F20"/>
                </a:solidFill>
                <a:latin typeface="Neue Frutiger World" panose="020B0603040304020203" pitchFamily="34" charset="0"/>
                <a:cs typeface="Neue Frutiger World" panose="020B0603040304020203" pitchFamily="34" charset="0"/>
              </a:rPr>
              <a:t>physician</a:t>
            </a:r>
            <a:r>
              <a:rPr sz="1300" b="1" spc="30"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12699" marR="5079">
              <a:lnSpc>
                <a:spcPct val="104200"/>
              </a:lnSpc>
              <a:spcBef>
                <a:spcPts val="350"/>
              </a:spcBef>
            </a:pPr>
            <a:r>
              <a:rPr lang="en-GB" sz="800" spc="-5" dirty="0">
                <a:solidFill>
                  <a:srgbClr val="231F20"/>
                </a:solidFill>
                <a:latin typeface="Neue Frutiger World" panose="020B0603040304020203" pitchFamily="34" charset="0"/>
                <a:cs typeface="Neue Frutiger World" panose="020B0603040304020203" pitchFamily="34" charset="0"/>
              </a:rPr>
              <a:t>I don’t know what these costs are, but I would think they are quite high.</a:t>
            </a:r>
            <a:endParaRPr sz="800" dirty="0">
              <a:latin typeface="Neue Frutiger World" panose="020B0603040304020203" pitchFamily="34" charset="0"/>
              <a:cs typeface="Neue Frutiger World" panose="020B0603040304020203" pitchFamily="34" charset="0"/>
            </a:endParaRPr>
          </a:p>
        </p:txBody>
      </p:sp>
      <p:sp>
        <p:nvSpPr>
          <p:cNvPr id="8" name="object 6">
            <a:extLst>
              <a:ext uri="{FF2B5EF4-FFF2-40B4-BE49-F238E27FC236}">
                <a16:creationId xmlns:a16="http://schemas.microsoft.com/office/drawing/2014/main" id="{969830C0-267B-4CC0-BB4E-675D2F7BFFE4}"/>
              </a:ext>
            </a:extLst>
          </p:cNvPr>
          <p:cNvSpPr txBox="1"/>
          <p:nvPr/>
        </p:nvSpPr>
        <p:spPr>
          <a:xfrm>
            <a:off x="4639406" y="771550"/>
            <a:ext cx="4037050" cy="2004651"/>
          </a:xfrm>
          <a:prstGeom prst="rect">
            <a:avLst/>
          </a:prstGeom>
        </p:spPr>
        <p:txBody>
          <a:bodyPr vert="horz" wrap="square" lIns="0" tIns="92710" rIns="0" bIns="0" rtlCol="0">
            <a:spAutoFit/>
          </a:bodyPr>
          <a:lstStyle/>
          <a:p>
            <a:pPr marL="50796">
              <a:spcBef>
                <a:spcPts val="730"/>
              </a:spcBef>
            </a:pPr>
            <a:r>
              <a:rPr sz="1300" b="1" spc="-5" dirty="0">
                <a:solidFill>
                  <a:srgbClr val="231F20"/>
                </a:solidFill>
                <a:latin typeface="Neue Frutiger World" panose="020B0603040304020203" pitchFamily="34" charset="0"/>
                <a:cs typeface="Neue Frutiger World" panose="020B0603040304020203" pitchFamily="34" charset="0"/>
              </a:rPr>
              <a:t>Rep</a:t>
            </a:r>
            <a:r>
              <a:rPr sz="1300" b="1"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50796" marR="152387">
              <a:lnSpc>
                <a:spcPct val="104200"/>
              </a:lnSpc>
              <a:spcBef>
                <a:spcPts val="350"/>
              </a:spcBef>
            </a:pPr>
            <a:r>
              <a:rPr sz="800" spc="-20" dirty="0">
                <a:solidFill>
                  <a:srgbClr val="231F20"/>
                </a:solidFill>
                <a:latin typeface="Neue Frutiger World" panose="020B0603040304020203" pitchFamily="34" charset="0"/>
                <a:cs typeface="Neue Frutiger World" panose="020B0603040304020203" pitchFamily="34" charset="0"/>
              </a:rPr>
              <a:t>You </a:t>
            </a:r>
            <a:r>
              <a:rPr sz="800" spc="-10" dirty="0">
                <a:solidFill>
                  <a:srgbClr val="231F20"/>
                </a:solidFill>
                <a:latin typeface="Neue Frutiger World" panose="020B0603040304020203" pitchFamily="34" charset="0"/>
                <a:cs typeface="Neue Frutiger World" panose="020B0603040304020203" pitchFamily="34" charset="0"/>
              </a:rPr>
              <a:t>are right </a:t>
            </a:r>
            <a:r>
              <a:rPr sz="800" spc="-15" dirty="0">
                <a:solidFill>
                  <a:srgbClr val="231F20"/>
                </a:solidFill>
                <a:latin typeface="Neue Frutiger World" panose="020B0603040304020203" pitchFamily="34" charset="0"/>
                <a:cs typeface="Neue Frutiger World" panose="020B0603040304020203" pitchFamily="34" charset="0"/>
              </a:rPr>
              <a:t>that </a:t>
            </a:r>
            <a:r>
              <a:rPr sz="800" spc="-5" dirty="0">
                <a:solidFill>
                  <a:srgbClr val="231F20"/>
                </a:solidFill>
                <a:latin typeface="Neue Frutiger World" panose="020B0603040304020203" pitchFamily="34" charset="0"/>
                <a:cs typeface="Neue Frutiger World" panose="020B0603040304020203" pitchFamily="34" charset="0"/>
              </a:rPr>
              <a:t>they </a:t>
            </a:r>
            <a:r>
              <a:rPr sz="800" spc="-10" dirty="0">
                <a:solidFill>
                  <a:srgbClr val="231F20"/>
                </a:solidFill>
                <a:latin typeface="Neue Frutiger World" panose="020B0603040304020203" pitchFamily="34" charset="0"/>
                <a:cs typeface="Neue Frutiger World" panose="020B0603040304020203" pitchFamily="34" charset="0"/>
              </a:rPr>
              <a:t>are </a:t>
            </a:r>
            <a:r>
              <a:rPr sz="800" spc="-5" dirty="0">
                <a:solidFill>
                  <a:srgbClr val="231F20"/>
                </a:solidFill>
                <a:latin typeface="Neue Frutiger World" panose="020B0603040304020203" pitchFamily="34" charset="0"/>
                <a:cs typeface="Neue Frutiger World" panose="020B0603040304020203" pitchFamily="34" charset="0"/>
              </a:rPr>
              <a:t>costly </a:t>
            </a:r>
            <a:r>
              <a:rPr sz="800" spc="-20" dirty="0">
                <a:solidFill>
                  <a:srgbClr val="231F20"/>
                </a:solidFill>
                <a:latin typeface="Neue Frutiger World" panose="020B0603040304020203" pitchFamily="34" charset="0"/>
                <a:cs typeface="Neue Frutiger World" panose="020B0603040304020203" pitchFamily="34" charset="0"/>
              </a:rPr>
              <a:t>to </a:t>
            </a:r>
            <a:r>
              <a:rPr sz="800" spc="-15" dirty="0">
                <a:solidFill>
                  <a:srgbClr val="231F20"/>
                </a:solidFill>
                <a:latin typeface="Neue Frutiger World" panose="020B0603040304020203" pitchFamily="34" charset="0"/>
                <a:cs typeface="Neue Frutiger World" panose="020B0603040304020203" pitchFamily="34" charset="0"/>
              </a:rPr>
              <a:t>treat, </a:t>
            </a:r>
            <a:r>
              <a:rPr lang="en-US" sz="800" spc="-10" dirty="0">
                <a:solidFill>
                  <a:srgbClr val="231F20"/>
                </a:solidFill>
                <a:latin typeface="Neue Frutiger World" panose="020B0603040304020203" pitchFamily="34" charset="0"/>
                <a:cs typeface="Neue Frutiger World" panose="020B0603040304020203" pitchFamily="34" charset="0"/>
              </a:rPr>
              <a:t>however </a:t>
            </a:r>
            <a:r>
              <a:rPr lang="en-US" sz="800" dirty="0">
                <a:solidFill>
                  <a:srgbClr val="231F20"/>
                </a:solidFill>
                <a:latin typeface="Neue Frutiger World" panose="020B0603040304020203" pitchFamily="34" charset="0"/>
                <a:cs typeface="Neue Frutiger World" panose="020B0603040304020203" pitchFamily="34" charset="0"/>
              </a:rPr>
              <a:t>did you know the cumulative costs can be as much as </a:t>
            </a:r>
            <a:r>
              <a:rPr lang="en-GB" sz="800" spc="20" dirty="0">
                <a:solidFill>
                  <a:srgbClr val="231F20"/>
                </a:solidFill>
                <a:latin typeface="Neue Frutiger World" panose="020B0603040304020203" pitchFamily="34" charset="0"/>
                <a:cs typeface="Neue Frutiger World" panose="020B0603040304020203" pitchFamily="34" charset="0"/>
              </a:rPr>
              <a:t>€</a:t>
            </a:r>
            <a:r>
              <a:rPr lang="en-GB" sz="800" dirty="0">
                <a:solidFill>
                  <a:srgbClr val="231F20"/>
                </a:solidFill>
                <a:latin typeface="Neue Frutiger World" panose="020B0603040304020203" pitchFamily="34" charset="0"/>
                <a:cs typeface="Neue Frutiger World" panose="020B0603040304020203" pitchFamily="34" charset="0"/>
              </a:rPr>
              <a:t>99,706 (Incremental </a:t>
            </a:r>
            <a:r>
              <a:rPr lang="en-GB" sz="800" spc="20" dirty="0">
                <a:solidFill>
                  <a:srgbClr val="231F20"/>
                </a:solidFill>
                <a:latin typeface="Neue Frutiger World" panose="020B0603040304020203" pitchFamily="34" charset="0"/>
                <a:cs typeface="Neue Frutiger World" panose="020B0603040304020203" pitchFamily="34" charset="0"/>
              </a:rPr>
              <a:t>€59,419)</a:t>
            </a:r>
            <a:r>
              <a:rPr lang="en-GB" sz="800" dirty="0">
                <a:solidFill>
                  <a:srgbClr val="231F20"/>
                </a:solidFill>
                <a:latin typeface="Neue Frutiger World" panose="020B0603040304020203" pitchFamily="34" charset="0"/>
                <a:cs typeface="Neue Frutiger World" panose="020B0603040304020203" pitchFamily="34" charset="0"/>
              </a:rPr>
              <a:t> over three years?</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The </a:t>
            </a:r>
            <a:r>
              <a:rPr lang="en-US" sz="800" spc="-10" dirty="0">
                <a:solidFill>
                  <a:srgbClr val="231F20"/>
                </a:solidFill>
                <a:latin typeface="Neue Frutiger World" panose="020B0603040304020203" pitchFamily="34" charset="0"/>
                <a:cs typeface="Neue Frutiger World" panose="020B0603040304020203" pitchFamily="34" charset="0"/>
              </a:rPr>
              <a:t>cost </a:t>
            </a:r>
            <a:r>
              <a:rPr lang="en-US" sz="800" dirty="0">
                <a:solidFill>
                  <a:srgbClr val="231F20"/>
                </a:solidFill>
                <a:latin typeface="Neue Frutiger World" panose="020B0603040304020203" pitchFamily="34" charset="0"/>
                <a:cs typeface="Neue Frutiger World" panose="020B0603040304020203" pitchFamily="34" charset="0"/>
              </a:rPr>
              <a:t>of </a:t>
            </a:r>
            <a:r>
              <a:rPr lang="en-US" sz="800" spc="-5" dirty="0">
                <a:solidFill>
                  <a:srgbClr val="231F20"/>
                </a:solidFill>
                <a:latin typeface="Neue Frutiger World" panose="020B0603040304020203" pitchFamily="34" charset="0"/>
                <a:cs typeface="Neue Frutiger World" panose="020B0603040304020203" pitchFamily="34" charset="0"/>
              </a:rPr>
              <a:t>a </a:t>
            </a:r>
            <a:r>
              <a:rPr lang="en-US" sz="800" spc="5" dirty="0">
                <a:solidFill>
                  <a:srgbClr val="231F20"/>
                </a:solidFill>
                <a:latin typeface="Neue Frutiger World" panose="020B0603040304020203" pitchFamily="34" charset="0"/>
                <a:cs typeface="Neue Frutiger World" panose="020B0603040304020203" pitchFamily="34" charset="0"/>
              </a:rPr>
              <a:t>CIED </a:t>
            </a:r>
            <a:r>
              <a:rPr lang="en-US" sz="800" spc="-10" dirty="0">
                <a:solidFill>
                  <a:srgbClr val="231F20"/>
                </a:solidFill>
                <a:latin typeface="Neue Frutiger World" panose="020B0603040304020203" pitchFamily="34" charset="0"/>
                <a:cs typeface="Neue Frutiger World" panose="020B0603040304020203" pitchFamily="34" charset="0"/>
              </a:rPr>
              <a:t>infection depends on the country and reimbursement, as shows one paper attempting to compare the costs across Europe.</a:t>
            </a:r>
            <a:r>
              <a:rPr lang="en-US" sz="800" spc="-10" baseline="30000" dirty="0">
                <a:solidFill>
                  <a:srgbClr val="231F20"/>
                </a:solidFill>
                <a:latin typeface="Neue Frutiger World" panose="020B0603040304020203" pitchFamily="34" charset="0"/>
                <a:cs typeface="Neue Frutiger World" panose="020B0603040304020203" pitchFamily="34" charset="0"/>
              </a:rPr>
              <a:t>38</a:t>
            </a:r>
            <a:r>
              <a:rPr lang="en-US" sz="800" spc="15" dirty="0">
                <a:solidFill>
                  <a:srgbClr val="231F20"/>
                </a:solidFill>
                <a:latin typeface="Neue Frutiger World" panose="020B0603040304020203" pitchFamily="34" charset="0"/>
                <a:cs typeface="Neue Frutiger World" panose="020B0603040304020203" pitchFamily="34" charset="0"/>
              </a:rPr>
              <a:t> </a:t>
            </a:r>
            <a:r>
              <a:rPr lang="en-GB" sz="800" spc="15" dirty="0">
                <a:solidFill>
                  <a:srgbClr val="231F20"/>
                </a:solidFill>
                <a:latin typeface="Neue Frutiger World" panose="020B0603040304020203" pitchFamily="34" charset="0"/>
                <a:cs typeface="Neue Frutiger World" panose="020B0603040304020203" pitchFamily="34" charset="0"/>
              </a:rPr>
              <a:t>An important conclusion of the study is that treatment for infected devices is significantly more expensive than non-infected devices and the cost will increase over time. CRT-D replacement in France (over 2 years was €27,449, infected compared with €23,966 non-infected. In the UK this was £22,615, infected, compared with £8,801, non-infected (average over all CIED devices).</a:t>
            </a:r>
            <a:r>
              <a:rPr lang="en-GB" sz="800" spc="15" baseline="30000" dirty="0">
                <a:solidFill>
                  <a:srgbClr val="231F20"/>
                </a:solidFill>
                <a:latin typeface="Neue Frutiger World" panose="020B0603040304020203" pitchFamily="34" charset="0"/>
                <a:cs typeface="Neue Frutiger World" panose="020B0603040304020203" pitchFamily="34" charset="0"/>
              </a:rPr>
              <a:t>36,39, 41</a:t>
            </a:r>
            <a:endParaRPr sz="800" dirty="0">
              <a:latin typeface="Neue Frutiger World" panose="020B0603040304020203" pitchFamily="34" charset="0"/>
              <a:cs typeface="Neue Frutiger World" panose="020B0603040304020203" pitchFamily="34" charset="0"/>
            </a:endParaRPr>
          </a:p>
          <a:p>
            <a:pPr>
              <a:spcBef>
                <a:spcPts val="40"/>
              </a:spcBef>
            </a:pPr>
            <a:endParaRPr sz="800" dirty="0">
              <a:latin typeface="Neue Frutiger World" panose="020B0603040304020203" pitchFamily="34" charset="0"/>
              <a:cs typeface="Neue Frutiger World" panose="020B0603040304020203" pitchFamily="34" charset="0"/>
            </a:endParaRPr>
          </a:p>
          <a:p>
            <a:pPr marL="50796" marR="17778">
              <a:lnSpc>
                <a:spcPct val="104200"/>
              </a:lnSpc>
            </a:pPr>
            <a:r>
              <a:rPr sz="800" spc="-5" dirty="0">
                <a:solidFill>
                  <a:srgbClr val="0077CD"/>
                </a:solidFill>
                <a:latin typeface="Neue Frutiger World" panose="020B0603040304020203" pitchFamily="34" charset="0"/>
                <a:cs typeface="Neue Frutiger World" panose="020B0603040304020203" pitchFamily="34" charset="0"/>
              </a:rPr>
              <a:t>Given</a:t>
            </a:r>
            <a:r>
              <a:rPr sz="800" spc="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this</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enormous</a:t>
            </a:r>
            <a:r>
              <a:rPr sz="800" spc="15" dirty="0">
                <a:solidFill>
                  <a:srgbClr val="0077CD"/>
                </a:solidFill>
                <a:latin typeface="Neue Frutiger World" panose="020B0603040304020203" pitchFamily="34" charset="0"/>
                <a:cs typeface="Neue Frutiger World" panose="020B0603040304020203" pitchFamily="34" charset="0"/>
              </a:rPr>
              <a:t> </a:t>
            </a:r>
            <a:r>
              <a:rPr sz="800" spc="-5" dirty="0">
                <a:solidFill>
                  <a:srgbClr val="0077CD"/>
                </a:solidFill>
                <a:latin typeface="Neue Frutiger World" panose="020B0603040304020203" pitchFamily="34" charset="0"/>
                <a:cs typeface="Neue Frutiger World" panose="020B0603040304020203" pitchFamily="34" charset="0"/>
              </a:rPr>
              <a:t>economic</a:t>
            </a:r>
            <a:r>
              <a:rPr sz="800" spc="15" dirty="0">
                <a:solidFill>
                  <a:srgbClr val="0077CD"/>
                </a:solidFill>
                <a:latin typeface="Neue Frutiger World" panose="020B0603040304020203" pitchFamily="34" charset="0"/>
                <a:cs typeface="Neue Frutiger World" panose="020B0603040304020203" pitchFamily="34" charset="0"/>
              </a:rPr>
              <a:t> </a:t>
            </a:r>
            <a:r>
              <a:rPr sz="800" spc="-10" dirty="0">
                <a:solidFill>
                  <a:srgbClr val="0077CD"/>
                </a:solidFill>
                <a:latin typeface="Neue Frutiger World" panose="020B0603040304020203" pitchFamily="34" charset="0"/>
                <a:cs typeface="Neue Frutiger World" panose="020B0603040304020203" pitchFamily="34" charset="0"/>
              </a:rPr>
              <a:t>burden</a:t>
            </a:r>
            <a:r>
              <a:rPr sz="800" spc="5" dirty="0">
                <a:solidFill>
                  <a:srgbClr val="0077CD"/>
                </a:solidFill>
                <a:latin typeface="Neue Frutiger World" panose="020B0603040304020203" pitchFamily="34" charset="0"/>
                <a:cs typeface="Neue Frutiger World" panose="020B0603040304020203" pitchFamily="34" charset="0"/>
              </a:rPr>
              <a:t> </a:t>
            </a:r>
            <a:r>
              <a:rPr lang="en-GB" sz="800" spc="-20" dirty="0">
                <a:solidFill>
                  <a:srgbClr val="0077CD"/>
                </a:solidFill>
                <a:latin typeface="Neue Frutiger World" panose="020B0603040304020203" pitchFamily="34" charset="0"/>
                <a:cs typeface="Neue Frutiger World" panose="020B0603040304020203" pitchFamily="34" charset="0"/>
              </a:rPr>
              <a:t>to the healthcare service and the continuing burden to your patients, would you agree, referring for early extraction would be the best course of action?</a:t>
            </a:r>
            <a:endParaRPr sz="800" dirty="0">
              <a:latin typeface="Neue Frutiger World" panose="020B0603040304020203" pitchFamily="34" charset="0"/>
              <a:cs typeface="Neue Frutiger World" panose="020B0603040304020203" pitchFamily="34" charset="0"/>
            </a:endParaRPr>
          </a:p>
        </p:txBody>
      </p:sp>
      <p:sp>
        <p:nvSpPr>
          <p:cNvPr id="9" name="object 8">
            <a:extLst>
              <a:ext uri="{FF2B5EF4-FFF2-40B4-BE49-F238E27FC236}">
                <a16:creationId xmlns:a16="http://schemas.microsoft.com/office/drawing/2014/main" id="{624B9099-36A1-4331-8753-A4F5586019B5}"/>
              </a:ext>
            </a:extLst>
          </p:cNvPr>
          <p:cNvSpPr txBox="1"/>
          <p:nvPr/>
        </p:nvSpPr>
        <p:spPr>
          <a:xfrm>
            <a:off x="1628885" y="3356029"/>
            <a:ext cx="2511067" cy="1276503"/>
          </a:xfrm>
          <a:prstGeom prst="rect">
            <a:avLst/>
          </a:prstGeom>
        </p:spPr>
        <p:txBody>
          <a:bodyPr vert="horz" wrap="square" lIns="0" tIns="12700" rIns="0" bIns="0" rtlCol="0">
            <a:spAutoFit/>
          </a:bodyPr>
          <a:lstStyle/>
          <a:p>
            <a:pPr marL="12699">
              <a:spcBef>
                <a:spcPts val="100"/>
              </a:spcBef>
            </a:pPr>
            <a:r>
              <a:rPr lang="en-GB" sz="2100" b="1" spc="25" dirty="0">
                <a:solidFill>
                  <a:srgbClr val="00629F"/>
                </a:solidFill>
                <a:latin typeface="Neue Frutiger World" panose="020B0603040304020203" pitchFamily="34" charset="0"/>
                <a:cs typeface="Neue Frutiger World" panose="020B0603040304020203" pitchFamily="34" charset="0"/>
              </a:rPr>
              <a:t>€</a:t>
            </a:r>
            <a:r>
              <a:rPr sz="2100" b="1" spc="25" dirty="0">
                <a:solidFill>
                  <a:srgbClr val="00629F"/>
                </a:solidFill>
                <a:latin typeface="Neue Frutiger World" panose="020B0603040304020203" pitchFamily="34" charset="0"/>
                <a:cs typeface="Neue Frutiger World" panose="020B0603040304020203" pitchFamily="34" charset="0"/>
              </a:rPr>
              <a:t>4</a:t>
            </a:r>
            <a:r>
              <a:rPr lang="en-GB" sz="2100" b="1" spc="25" dirty="0">
                <a:solidFill>
                  <a:srgbClr val="00629F"/>
                </a:solidFill>
                <a:latin typeface="Neue Frutiger World" panose="020B0603040304020203" pitchFamily="34" charset="0"/>
                <a:cs typeface="Neue Frutiger World" panose="020B0603040304020203" pitchFamily="34" charset="0"/>
              </a:rPr>
              <a:t>0</a:t>
            </a:r>
            <a:r>
              <a:rPr sz="2100" b="1" spc="25" dirty="0">
                <a:solidFill>
                  <a:srgbClr val="00629F"/>
                </a:solidFill>
                <a:latin typeface="Neue Frutiger World" panose="020B0603040304020203" pitchFamily="34" charset="0"/>
                <a:cs typeface="Neue Frutiger World" panose="020B0603040304020203" pitchFamily="34" charset="0"/>
              </a:rPr>
              <a:t>,2</a:t>
            </a:r>
            <a:r>
              <a:rPr lang="en-GB" sz="2100" b="1" spc="25" dirty="0">
                <a:solidFill>
                  <a:srgbClr val="00629F"/>
                </a:solidFill>
                <a:latin typeface="Neue Frutiger World" panose="020B0603040304020203" pitchFamily="34" charset="0"/>
                <a:cs typeface="Neue Frutiger World" panose="020B0603040304020203" pitchFamily="34" charset="0"/>
              </a:rPr>
              <a:t>87</a:t>
            </a:r>
            <a:r>
              <a:rPr sz="2100" b="1" spc="-40" dirty="0">
                <a:solidFill>
                  <a:srgbClr val="00629F"/>
                </a:solidFill>
                <a:latin typeface="Neue Frutiger World" panose="020B0603040304020203" pitchFamily="34" charset="0"/>
                <a:cs typeface="Neue Frutiger World" panose="020B0603040304020203" pitchFamily="34" charset="0"/>
              </a:rPr>
              <a:t> </a:t>
            </a:r>
            <a:r>
              <a:rPr sz="2100" b="1" dirty="0">
                <a:solidFill>
                  <a:srgbClr val="00629F"/>
                </a:solidFill>
                <a:latin typeface="Neue Frutiger World" panose="020B0603040304020203" pitchFamily="34" charset="0"/>
                <a:cs typeface="Neue Frutiger World" panose="020B0603040304020203" pitchFamily="34" charset="0"/>
              </a:rPr>
              <a:t>vs.</a:t>
            </a:r>
            <a:endParaRPr sz="2100" dirty="0">
              <a:latin typeface="Neue Frutiger World" panose="020B0603040304020203" pitchFamily="34" charset="0"/>
              <a:cs typeface="Neue Frutiger World" panose="020B0603040304020203" pitchFamily="34" charset="0"/>
            </a:endParaRPr>
          </a:p>
          <a:p>
            <a:pPr marL="507322"/>
            <a:r>
              <a:rPr lang="en-GB" sz="2100" b="1" spc="25" dirty="0">
                <a:solidFill>
                  <a:srgbClr val="00629F"/>
                </a:solidFill>
                <a:latin typeface="Neue Frutiger World" panose="020B0603040304020203" pitchFamily="34" charset="0"/>
                <a:cs typeface="Neue Frutiger World" panose="020B0603040304020203" pitchFamily="34" charset="0"/>
              </a:rPr>
              <a:t>€99,706 (3 yrs)</a:t>
            </a:r>
            <a:endParaRPr sz="2100" dirty="0">
              <a:latin typeface="Neue Frutiger World" panose="020B0603040304020203" pitchFamily="34" charset="0"/>
              <a:cs typeface="Neue Frutiger World" panose="020B0603040304020203" pitchFamily="34" charset="0"/>
            </a:endParaRPr>
          </a:p>
          <a:p>
            <a:pPr marL="12699" marR="53970">
              <a:lnSpc>
                <a:spcPct val="102600"/>
              </a:lnSpc>
              <a:spcBef>
                <a:spcPts val="1565"/>
              </a:spcBef>
            </a:pPr>
            <a:r>
              <a:rPr sz="650" spc="10" dirty="0">
                <a:solidFill>
                  <a:srgbClr val="545860"/>
                </a:solidFill>
                <a:latin typeface="Neue Frutiger World" panose="020B0603040304020203" pitchFamily="34" charset="0"/>
                <a:cs typeface="Neue Frutiger World" panose="020B0603040304020203" pitchFamily="34" charset="0"/>
              </a:rPr>
              <a:t>S</a:t>
            </a:r>
            <a:r>
              <a:rPr lang="en-GB" sz="650" spc="10" dirty="0">
                <a:solidFill>
                  <a:srgbClr val="545860"/>
                </a:solidFill>
                <a:latin typeface="Neue Frutiger World" panose="020B0603040304020203" pitchFamily="34" charset="0"/>
                <a:cs typeface="Neue Frutiger World" panose="020B0603040304020203" pitchFamily="34" charset="0"/>
              </a:rPr>
              <a:t>askia Ludwig</a:t>
            </a:r>
            <a:r>
              <a:rPr sz="650" spc="5"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et</a:t>
            </a:r>
            <a:r>
              <a:rPr sz="650" spc="10"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al. (201</a:t>
            </a:r>
            <a:r>
              <a:rPr lang="en-GB" sz="650" spc="5" dirty="0">
                <a:solidFill>
                  <a:srgbClr val="545860"/>
                </a:solidFill>
                <a:latin typeface="Neue Frutiger World" panose="020B0603040304020203" pitchFamily="34" charset="0"/>
                <a:cs typeface="Neue Frutiger World" panose="020B0603040304020203" pitchFamily="34" charset="0"/>
              </a:rPr>
              <a:t>8) </a:t>
            </a:r>
            <a:r>
              <a:rPr lang="en-US" sz="650" spc="5" dirty="0">
                <a:solidFill>
                  <a:srgbClr val="545860"/>
                </a:solidFill>
                <a:latin typeface="Neue Frutiger World" panose="020B0603040304020203" pitchFamily="34" charset="0"/>
                <a:cs typeface="Neue Frutiger World" panose="020B0603040304020203" pitchFamily="34" charset="0"/>
              </a:rPr>
              <a:t>Incidence and costs of cardiac device infections: retrospective analysis using German health claims data. </a:t>
            </a:r>
            <a:r>
              <a:rPr lang="da-DK" sz="650" spc="5" dirty="0">
                <a:solidFill>
                  <a:srgbClr val="545860"/>
                </a:solidFill>
                <a:latin typeface="Neue Frutiger World" panose="020B0603040304020203" pitchFamily="34" charset="0"/>
                <a:cs typeface="Neue Frutiger World" panose="020B0603040304020203" pitchFamily="34" charset="0"/>
              </a:rPr>
              <a:t>Pub Med PMID: 29132224 DOI: 10.2217/cer-2017-0080</a:t>
            </a:r>
            <a:endParaRPr sz="650" dirty="0">
              <a:latin typeface="Neue Frutiger World" panose="020B0603040304020203" pitchFamily="34" charset="0"/>
              <a:cs typeface="Neue Frutiger World" panose="020B0603040304020203" pitchFamily="34" charset="0"/>
            </a:endParaRPr>
          </a:p>
        </p:txBody>
      </p:sp>
      <p:sp>
        <p:nvSpPr>
          <p:cNvPr id="10" name="object 9">
            <a:extLst>
              <a:ext uri="{FF2B5EF4-FFF2-40B4-BE49-F238E27FC236}">
                <a16:creationId xmlns:a16="http://schemas.microsoft.com/office/drawing/2014/main" id="{A4EE4A9F-642F-496C-B0CD-9947BC12A137}"/>
              </a:ext>
            </a:extLst>
          </p:cNvPr>
          <p:cNvSpPr txBox="1"/>
          <p:nvPr/>
        </p:nvSpPr>
        <p:spPr>
          <a:xfrm>
            <a:off x="1547664" y="2722695"/>
            <a:ext cx="2295043" cy="263790"/>
          </a:xfrm>
          <a:prstGeom prst="rect">
            <a:avLst/>
          </a:prstGeom>
        </p:spPr>
        <p:txBody>
          <a:bodyPr vert="horz" wrap="square" lIns="0" tIns="7620" rIns="0" bIns="0" rtlCol="0">
            <a:spAutoFit/>
          </a:bodyPr>
          <a:lstStyle/>
          <a:p>
            <a:pPr marL="12699" marR="5079">
              <a:lnSpc>
                <a:spcPct val="104200"/>
              </a:lnSpc>
              <a:spcBef>
                <a:spcPts val="60"/>
              </a:spcBef>
            </a:pPr>
            <a:r>
              <a:rPr lang="en-GB" sz="800" spc="-5" dirty="0">
                <a:solidFill>
                  <a:srgbClr val="231F20"/>
                </a:solidFill>
                <a:latin typeface="Neue Frutiger World" panose="020B0603040304020203" pitchFamily="34" charset="0"/>
                <a:cs typeface="Neue Frutiger World" panose="020B0603040304020203" pitchFamily="34" charset="0"/>
              </a:rPr>
              <a:t>Infected CIED patients are more costly to treat and create significant additional costs over time.</a:t>
            </a:r>
            <a:endParaRPr sz="800" dirty="0">
              <a:latin typeface="Neue Frutiger World" panose="020B0603040304020203" pitchFamily="34" charset="0"/>
              <a:cs typeface="Neue Frutiger World" panose="020B0603040304020203" pitchFamily="34" charset="0"/>
            </a:endParaRPr>
          </a:p>
        </p:txBody>
      </p:sp>
      <p:sp>
        <p:nvSpPr>
          <p:cNvPr id="12" name="TextBox 11">
            <a:extLst>
              <a:ext uri="{FF2B5EF4-FFF2-40B4-BE49-F238E27FC236}">
                <a16:creationId xmlns:a16="http://schemas.microsoft.com/office/drawing/2014/main" id="{BFE19B16-088F-4BBB-ABF2-D6290420EA1E}"/>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3" name="Rectangle 12">
            <a:hlinkClick r:id="rId2" action="ppaction://hlinksldjump"/>
            <a:extLst>
              <a:ext uri="{FF2B5EF4-FFF2-40B4-BE49-F238E27FC236}">
                <a16:creationId xmlns:a16="http://schemas.microsoft.com/office/drawing/2014/main" id="{4007D1F3-3368-4039-9760-980E9EDA64A6}"/>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3" action="ppaction://hlinksldjump"/>
            <a:extLst>
              <a:ext uri="{FF2B5EF4-FFF2-40B4-BE49-F238E27FC236}">
                <a16:creationId xmlns:a16="http://schemas.microsoft.com/office/drawing/2014/main" id="{65BD5BCC-28ED-44FB-AC08-F2E61787B834}"/>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4" action="ppaction://hlinksldjump"/>
            <a:extLst>
              <a:ext uri="{FF2B5EF4-FFF2-40B4-BE49-F238E27FC236}">
                <a16:creationId xmlns:a16="http://schemas.microsoft.com/office/drawing/2014/main" id="{1F564EF0-6471-4D31-8AE2-3A437C655229}"/>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5" action="ppaction://hlinksldjump"/>
            <a:extLst>
              <a:ext uri="{FF2B5EF4-FFF2-40B4-BE49-F238E27FC236}">
                <a16:creationId xmlns:a16="http://schemas.microsoft.com/office/drawing/2014/main" id="{6C696EE7-0451-40DF-9D47-23F8CC633628}"/>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6" action="ppaction://hlinksldjump"/>
            <a:extLst>
              <a:ext uri="{FF2B5EF4-FFF2-40B4-BE49-F238E27FC236}">
                <a16:creationId xmlns:a16="http://schemas.microsoft.com/office/drawing/2014/main" id="{5FE7A931-3258-4B5F-A9A8-4EDBC27A12AF}"/>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7" action="ppaction://hlinksldjump"/>
            <a:extLst>
              <a:ext uri="{FF2B5EF4-FFF2-40B4-BE49-F238E27FC236}">
                <a16:creationId xmlns:a16="http://schemas.microsoft.com/office/drawing/2014/main" id="{60622F54-081B-420C-A00C-9115409ADC2E}"/>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8" action="ppaction://hlinksldjump"/>
            <a:extLst>
              <a:ext uri="{FF2B5EF4-FFF2-40B4-BE49-F238E27FC236}">
                <a16:creationId xmlns:a16="http://schemas.microsoft.com/office/drawing/2014/main" id="{7B759A6A-633A-4EF0-9A80-C04233DF970A}"/>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9" action="ppaction://hlinksldjump"/>
            <a:extLst>
              <a:ext uri="{FF2B5EF4-FFF2-40B4-BE49-F238E27FC236}">
                <a16:creationId xmlns:a16="http://schemas.microsoft.com/office/drawing/2014/main" id="{85E01229-83DD-45ED-8EB6-991D0902DCD5}"/>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extLst>
              <a:ext uri="{FF2B5EF4-FFF2-40B4-BE49-F238E27FC236}">
                <a16:creationId xmlns:a16="http://schemas.microsoft.com/office/drawing/2014/main" id="{91927B01-2E53-4354-9014-DC033F63732A}"/>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0" action="ppaction://hlinksldjump"/>
            <a:extLst>
              <a:ext uri="{FF2B5EF4-FFF2-40B4-BE49-F238E27FC236}">
                <a16:creationId xmlns:a16="http://schemas.microsoft.com/office/drawing/2014/main" id="{4102673B-132F-46EA-AD12-B1B6FA523667}"/>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1" action="ppaction://hlinksldjump"/>
            <a:extLst>
              <a:ext uri="{FF2B5EF4-FFF2-40B4-BE49-F238E27FC236}">
                <a16:creationId xmlns:a16="http://schemas.microsoft.com/office/drawing/2014/main" id="{FE6FE1E2-F4CC-43B9-90F5-463F1D5B3B90}"/>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2" action="ppaction://hlinksldjump"/>
            <a:extLst>
              <a:ext uri="{FF2B5EF4-FFF2-40B4-BE49-F238E27FC236}">
                <a16:creationId xmlns:a16="http://schemas.microsoft.com/office/drawing/2014/main" id="{133E9023-F2A0-4013-8A35-773303D7768A}"/>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3" action="ppaction://hlinksldjump"/>
            <a:extLst>
              <a:ext uri="{FF2B5EF4-FFF2-40B4-BE49-F238E27FC236}">
                <a16:creationId xmlns:a16="http://schemas.microsoft.com/office/drawing/2014/main" id="{8EF08D26-0081-4784-B278-F764BA48C47C}"/>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4" action="ppaction://hlinksldjump"/>
            <a:extLst>
              <a:ext uri="{FF2B5EF4-FFF2-40B4-BE49-F238E27FC236}">
                <a16:creationId xmlns:a16="http://schemas.microsoft.com/office/drawing/2014/main" id="{0E644E17-8F1E-419E-95D2-BD153F27C593}"/>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5" action="ppaction://hlinksldjump"/>
            <a:extLst>
              <a:ext uri="{FF2B5EF4-FFF2-40B4-BE49-F238E27FC236}">
                <a16:creationId xmlns:a16="http://schemas.microsoft.com/office/drawing/2014/main" id="{140F6009-0F4D-4E72-AA5F-5F918D683A8A}"/>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6" action="ppaction://hlinksldjump"/>
            <a:extLst>
              <a:ext uri="{FF2B5EF4-FFF2-40B4-BE49-F238E27FC236}">
                <a16:creationId xmlns:a16="http://schemas.microsoft.com/office/drawing/2014/main" id="{DEA58C11-C098-496B-9FD7-6F3BE0F27957}"/>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17" action="ppaction://hlinksldjump"/>
            <a:extLst>
              <a:ext uri="{FF2B5EF4-FFF2-40B4-BE49-F238E27FC236}">
                <a16:creationId xmlns:a16="http://schemas.microsoft.com/office/drawing/2014/main" id="{1030C939-1A52-4B12-BF1A-3178F0388971}"/>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18" action="ppaction://hlinksldjump"/>
            <a:extLst>
              <a:ext uri="{FF2B5EF4-FFF2-40B4-BE49-F238E27FC236}">
                <a16:creationId xmlns:a16="http://schemas.microsoft.com/office/drawing/2014/main" id="{88255C83-74DA-40FD-8FCD-A6BBA080148C}"/>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19" action="ppaction://hlinksldjump"/>
            <a:extLst>
              <a:ext uri="{FF2B5EF4-FFF2-40B4-BE49-F238E27FC236}">
                <a16:creationId xmlns:a16="http://schemas.microsoft.com/office/drawing/2014/main" id="{471CFB41-4C6A-474C-BE89-0E0E2081ED31}"/>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20" action="ppaction://hlinksldjump"/>
            <a:extLst>
              <a:ext uri="{FF2B5EF4-FFF2-40B4-BE49-F238E27FC236}">
                <a16:creationId xmlns:a16="http://schemas.microsoft.com/office/drawing/2014/main" id="{1885DB53-D41D-4BAB-A599-0D7452FBAC98}"/>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1" action="ppaction://hlinksldjump"/>
            <a:extLst>
              <a:ext uri="{FF2B5EF4-FFF2-40B4-BE49-F238E27FC236}">
                <a16:creationId xmlns:a16="http://schemas.microsoft.com/office/drawing/2014/main" id="{6E8E588D-3841-4A67-8999-52C3BE09126B}"/>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2" action="ppaction://hlinksldjump"/>
            <a:extLst>
              <a:ext uri="{FF2B5EF4-FFF2-40B4-BE49-F238E27FC236}">
                <a16:creationId xmlns:a16="http://schemas.microsoft.com/office/drawing/2014/main" id="{2C16C2D5-CEB5-41C9-A615-76BCDF6C0C57}"/>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extLst>
              <a:ext uri="{FF2B5EF4-FFF2-40B4-BE49-F238E27FC236}">
                <a16:creationId xmlns:a16="http://schemas.microsoft.com/office/drawing/2014/main" id="{CD6A417C-8998-4D97-8D26-627D9096A132}"/>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23" action="ppaction://hlinksldjump"/>
            <a:extLst>
              <a:ext uri="{FF2B5EF4-FFF2-40B4-BE49-F238E27FC236}">
                <a16:creationId xmlns:a16="http://schemas.microsoft.com/office/drawing/2014/main" id="{D2508169-04A5-42C7-9A62-6F41DA444F99}"/>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24" action="ppaction://hlinksldjump"/>
            <a:extLst>
              <a:ext uri="{FF2B5EF4-FFF2-40B4-BE49-F238E27FC236}">
                <a16:creationId xmlns:a16="http://schemas.microsoft.com/office/drawing/2014/main" id="{F822D69D-FC2C-4252-9BD7-36F5C4DE7FB1}"/>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25" action="ppaction://hlinksldjump"/>
            <a:extLst>
              <a:ext uri="{FF2B5EF4-FFF2-40B4-BE49-F238E27FC236}">
                <a16:creationId xmlns:a16="http://schemas.microsoft.com/office/drawing/2014/main" id="{9FD08FCC-6BA5-4191-ACF3-44AADD39A0C6}"/>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extLst>
              <a:ext uri="{FF2B5EF4-FFF2-40B4-BE49-F238E27FC236}">
                <a16:creationId xmlns:a16="http://schemas.microsoft.com/office/drawing/2014/main" id="{36241B4F-C28F-410D-9CD0-9350FA891B9D}"/>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40" name="Table 39">
            <a:extLst>
              <a:ext uri="{FF2B5EF4-FFF2-40B4-BE49-F238E27FC236}">
                <a16:creationId xmlns:a16="http://schemas.microsoft.com/office/drawing/2014/main" id="{EB768AF8-BB79-404F-896C-48DDF8384123}"/>
              </a:ext>
            </a:extLst>
          </p:cNvPr>
          <p:cNvGraphicFramePr>
            <a:graphicFrameLocks noGrp="1"/>
          </p:cNvGraphicFramePr>
          <p:nvPr>
            <p:extLst>
              <p:ext uri="{D42A27DB-BD31-4B8C-83A1-F6EECF244321}">
                <p14:modId xmlns:p14="http://schemas.microsoft.com/office/powerpoint/2010/main" val="3574876676"/>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41" name="Rectangle 40">
            <a:hlinkClick r:id="rId2" action="ppaction://hlinksldjump"/>
            <a:extLst>
              <a:ext uri="{FF2B5EF4-FFF2-40B4-BE49-F238E27FC236}">
                <a16:creationId xmlns:a16="http://schemas.microsoft.com/office/drawing/2014/main" id="{C1C4D981-E9B0-453F-B34A-16526092CF86}"/>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3" action="ppaction://hlinksldjump"/>
            <a:extLst>
              <a:ext uri="{FF2B5EF4-FFF2-40B4-BE49-F238E27FC236}">
                <a16:creationId xmlns:a16="http://schemas.microsoft.com/office/drawing/2014/main" id="{098CA640-4D9A-4050-9254-DAC5D6D2E8BB}"/>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4" action="ppaction://hlinksldjump"/>
            <a:extLst>
              <a:ext uri="{FF2B5EF4-FFF2-40B4-BE49-F238E27FC236}">
                <a16:creationId xmlns:a16="http://schemas.microsoft.com/office/drawing/2014/main" id="{00AA4AC0-721E-4D25-9313-956B24B6F91A}"/>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5" action="ppaction://hlinksldjump"/>
            <a:extLst>
              <a:ext uri="{FF2B5EF4-FFF2-40B4-BE49-F238E27FC236}">
                <a16:creationId xmlns:a16="http://schemas.microsoft.com/office/drawing/2014/main" id="{B722FE28-D486-40BB-9C86-638EC5544FCA}"/>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6" action="ppaction://hlinksldjump"/>
            <a:extLst>
              <a:ext uri="{FF2B5EF4-FFF2-40B4-BE49-F238E27FC236}">
                <a16:creationId xmlns:a16="http://schemas.microsoft.com/office/drawing/2014/main" id="{E726477D-D90C-49C4-AA6F-F9D0A7BC8B42}"/>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7" action="ppaction://hlinksldjump"/>
            <a:extLst>
              <a:ext uri="{FF2B5EF4-FFF2-40B4-BE49-F238E27FC236}">
                <a16:creationId xmlns:a16="http://schemas.microsoft.com/office/drawing/2014/main" id="{4853A526-6C75-43A5-81D5-86418238157F}"/>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8" action="ppaction://hlinksldjump"/>
            <a:extLst>
              <a:ext uri="{FF2B5EF4-FFF2-40B4-BE49-F238E27FC236}">
                <a16:creationId xmlns:a16="http://schemas.microsoft.com/office/drawing/2014/main" id="{87208D6B-621B-4301-9AAD-0CC8FA24B224}"/>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9" action="ppaction://hlinksldjump"/>
            <a:extLst>
              <a:ext uri="{FF2B5EF4-FFF2-40B4-BE49-F238E27FC236}">
                <a16:creationId xmlns:a16="http://schemas.microsoft.com/office/drawing/2014/main" id="{42149C67-5D32-4945-80C0-99C77897B633}"/>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extLst>
              <a:ext uri="{FF2B5EF4-FFF2-40B4-BE49-F238E27FC236}">
                <a16:creationId xmlns:a16="http://schemas.microsoft.com/office/drawing/2014/main" id="{4203B25D-FE72-485D-8C66-09FB69670002}"/>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0" action="ppaction://hlinksldjump"/>
            <a:extLst>
              <a:ext uri="{FF2B5EF4-FFF2-40B4-BE49-F238E27FC236}">
                <a16:creationId xmlns:a16="http://schemas.microsoft.com/office/drawing/2014/main" id="{1C857CBB-7406-4DA9-BDD8-3D68072DB743}"/>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1" action="ppaction://hlinksldjump"/>
            <a:extLst>
              <a:ext uri="{FF2B5EF4-FFF2-40B4-BE49-F238E27FC236}">
                <a16:creationId xmlns:a16="http://schemas.microsoft.com/office/drawing/2014/main" id="{C75923B9-D7CF-4E89-997B-B6F72C7A3783}"/>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2" action="ppaction://hlinksldjump"/>
            <a:extLst>
              <a:ext uri="{FF2B5EF4-FFF2-40B4-BE49-F238E27FC236}">
                <a16:creationId xmlns:a16="http://schemas.microsoft.com/office/drawing/2014/main" id="{B7281837-4CB5-4A3D-8C58-6CEB627D7199}"/>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3" action="ppaction://hlinksldjump"/>
            <a:extLst>
              <a:ext uri="{FF2B5EF4-FFF2-40B4-BE49-F238E27FC236}">
                <a16:creationId xmlns:a16="http://schemas.microsoft.com/office/drawing/2014/main" id="{82A3B90F-AAFA-40B2-B740-B450B0CA9692}"/>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4" action="ppaction://hlinksldjump"/>
            <a:extLst>
              <a:ext uri="{FF2B5EF4-FFF2-40B4-BE49-F238E27FC236}">
                <a16:creationId xmlns:a16="http://schemas.microsoft.com/office/drawing/2014/main" id="{FAE71280-FAE5-4E45-8896-78C461D68CE7}"/>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5" action="ppaction://hlinksldjump"/>
            <a:extLst>
              <a:ext uri="{FF2B5EF4-FFF2-40B4-BE49-F238E27FC236}">
                <a16:creationId xmlns:a16="http://schemas.microsoft.com/office/drawing/2014/main" id="{A54020A0-E642-4ECF-94B6-822ECD7F41F5}"/>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6" action="ppaction://hlinksldjump"/>
            <a:extLst>
              <a:ext uri="{FF2B5EF4-FFF2-40B4-BE49-F238E27FC236}">
                <a16:creationId xmlns:a16="http://schemas.microsoft.com/office/drawing/2014/main" id="{2B1FCD41-830C-43DD-9613-3D0A4FBB6802}"/>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7" action="ppaction://hlinksldjump"/>
            <a:extLst>
              <a:ext uri="{FF2B5EF4-FFF2-40B4-BE49-F238E27FC236}">
                <a16:creationId xmlns:a16="http://schemas.microsoft.com/office/drawing/2014/main" id="{B25F6F09-1AA7-415F-AC55-4A983B952E39}"/>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18" action="ppaction://hlinksldjump"/>
            <a:extLst>
              <a:ext uri="{FF2B5EF4-FFF2-40B4-BE49-F238E27FC236}">
                <a16:creationId xmlns:a16="http://schemas.microsoft.com/office/drawing/2014/main" id="{025A2D7C-5C15-47DD-B401-41FC5C04C696}"/>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19" action="ppaction://hlinksldjump"/>
            <a:extLst>
              <a:ext uri="{FF2B5EF4-FFF2-40B4-BE49-F238E27FC236}">
                <a16:creationId xmlns:a16="http://schemas.microsoft.com/office/drawing/2014/main" id="{B18DE033-31DF-4487-A847-6109C6757D82}"/>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20" action="ppaction://hlinksldjump"/>
            <a:extLst>
              <a:ext uri="{FF2B5EF4-FFF2-40B4-BE49-F238E27FC236}">
                <a16:creationId xmlns:a16="http://schemas.microsoft.com/office/drawing/2014/main" id="{C3779E68-4372-4CDA-9BFD-9898937BE273}"/>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1" action="ppaction://hlinksldjump"/>
            <a:extLst>
              <a:ext uri="{FF2B5EF4-FFF2-40B4-BE49-F238E27FC236}">
                <a16:creationId xmlns:a16="http://schemas.microsoft.com/office/drawing/2014/main" id="{A7D626DB-E1F6-4561-A8E9-6CE94BFA7383}"/>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2" action="ppaction://hlinksldjump"/>
            <a:extLst>
              <a:ext uri="{FF2B5EF4-FFF2-40B4-BE49-F238E27FC236}">
                <a16:creationId xmlns:a16="http://schemas.microsoft.com/office/drawing/2014/main" id="{F24585B3-C412-4185-8AC6-BD9B385F0A1F}"/>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extLst>
              <a:ext uri="{FF2B5EF4-FFF2-40B4-BE49-F238E27FC236}">
                <a16:creationId xmlns:a16="http://schemas.microsoft.com/office/drawing/2014/main" id="{BD85C6C1-3FCF-466B-889A-3F5404B7E07E}"/>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23" action="ppaction://hlinksldjump"/>
            <a:extLst>
              <a:ext uri="{FF2B5EF4-FFF2-40B4-BE49-F238E27FC236}">
                <a16:creationId xmlns:a16="http://schemas.microsoft.com/office/drawing/2014/main" id="{265A19D5-5FF7-4DB5-891D-9515A9471CA6}"/>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hlinkClick r:id="rId24" action="ppaction://hlinksldjump"/>
            <a:extLst>
              <a:ext uri="{FF2B5EF4-FFF2-40B4-BE49-F238E27FC236}">
                <a16:creationId xmlns:a16="http://schemas.microsoft.com/office/drawing/2014/main" id="{C9A6BB83-E0A4-47CD-8D89-1827E3899A43}"/>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25" action="ppaction://hlinksldjump"/>
            <a:extLst>
              <a:ext uri="{FF2B5EF4-FFF2-40B4-BE49-F238E27FC236}">
                <a16:creationId xmlns:a16="http://schemas.microsoft.com/office/drawing/2014/main" id="{A0EA2D28-B314-44DE-B096-C0513731D577}"/>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pic>
        <p:nvPicPr>
          <p:cNvPr id="67" name="Picture 66">
            <a:extLst>
              <a:ext uri="{FF2B5EF4-FFF2-40B4-BE49-F238E27FC236}">
                <a16:creationId xmlns:a16="http://schemas.microsoft.com/office/drawing/2014/main" id="{00000000-0008-0000-0000-0000450E0000}"/>
              </a:ext>
            </a:extLst>
          </p:cNvPr>
          <p:cNvPicPr>
            <a:picLocks noChangeAspect="1" noChangeArrowheads="1"/>
          </p:cNvPicPr>
          <p:nvPr/>
        </p:nvPicPr>
        <p:blipFill>
          <a:blip r:embed="rId26">
            <a:duotone>
              <a:schemeClr val="accent1">
                <a:shade val="45000"/>
                <a:satMod val="135000"/>
              </a:schemeClr>
              <a:prstClr val="white"/>
            </a:duotone>
            <a:lum bright="40000" contrast="-40000"/>
            <a:extLst>
              <a:ext uri="{28A0092B-C50C-407E-A947-70E740481C1C}">
                <a14:useLocalDpi xmlns:a14="http://schemas.microsoft.com/office/drawing/2010/main" val="0"/>
              </a:ext>
            </a:extLst>
          </a:blip>
          <a:srcRect/>
          <a:stretch>
            <a:fillRect/>
          </a:stretch>
        </p:blipFill>
        <p:spPr bwMode="auto">
          <a:xfrm>
            <a:off x="3176418" y="3157002"/>
            <a:ext cx="768722" cy="507357"/>
          </a:xfrm>
          <a:prstGeom prst="rect">
            <a:avLst/>
          </a:prstGeom>
          <a:noFill/>
          <a:ln>
            <a:noFill/>
          </a:ln>
        </p:spPr>
      </p:pic>
    </p:spTree>
    <p:extLst>
      <p:ext uri="{BB962C8B-B14F-4D97-AF65-F5344CB8AC3E}">
        <p14:creationId xmlns:p14="http://schemas.microsoft.com/office/powerpoint/2010/main" val="249988197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FF497-22FD-41E5-A5EB-AC0EF098BC90}"/>
              </a:ext>
            </a:extLst>
          </p:cNvPr>
          <p:cNvSpPr>
            <a:spLocks noGrp="1"/>
          </p:cNvSpPr>
          <p:nvPr>
            <p:ph type="title"/>
          </p:nvPr>
        </p:nvSpPr>
        <p:spPr/>
        <p:txBody>
          <a:bodyPr/>
          <a:lstStyle/>
          <a:p>
            <a:r>
              <a:rPr lang="en-GB" spc="-25" noProof="0" dirty="0">
                <a:latin typeface="Neue Frutiger World" panose="020B0603040304020203" pitchFamily="34" charset="0"/>
                <a:cs typeface="Neue Frutiger World" panose="020B0603040304020203" pitchFamily="34" charset="0"/>
              </a:rPr>
              <a:t>Cost</a:t>
            </a:r>
            <a:r>
              <a:rPr lang="en-GB" spc="30" noProof="0" dirty="0">
                <a:latin typeface="Neue Frutiger World" panose="020B0603040304020203" pitchFamily="34" charset="0"/>
                <a:cs typeface="Neue Frutiger World" panose="020B0603040304020203" pitchFamily="34" charset="0"/>
              </a:rPr>
              <a:t> </a:t>
            </a:r>
            <a:r>
              <a:rPr lang="en-GB" spc="-5" noProof="0" dirty="0">
                <a:latin typeface="Neue Frutiger World" panose="020B0603040304020203" pitchFamily="34" charset="0"/>
                <a:cs typeface="Neue Frutiger World" panose="020B0603040304020203" pitchFamily="34" charset="0"/>
              </a:rPr>
              <a:t>of infection</a:t>
            </a:r>
            <a:r>
              <a:rPr lang="en-GB" spc="35" noProof="0" dirty="0">
                <a:latin typeface="Neue Frutiger World" panose="020B0603040304020203" pitchFamily="34" charset="0"/>
                <a:cs typeface="Neue Frutiger World" panose="020B0603040304020203" pitchFamily="34" charset="0"/>
              </a:rPr>
              <a:t> </a:t>
            </a:r>
            <a:r>
              <a:rPr lang="en-GB" spc="229" noProof="0" dirty="0">
                <a:latin typeface="Neue Frutiger World" panose="020B0603040304020203" pitchFamily="34" charset="0"/>
                <a:cs typeface="Neue Frutiger World" panose="020B0603040304020203" pitchFamily="34" charset="0"/>
              </a:rPr>
              <a:t>–</a:t>
            </a:r>
            <a:r>
              <a:rPr lang="en-GB" spc="35" noProof="0" dirty="0">
                <a:latin typeface="Neue Frutiger World" panose="020B0603040304020203" pitchFamily="34" charset="0"/>
                <a:cs typeface="Neue Frutiger World" panose="020B0603040304020203" pitchFamily="34" charset="0"/>
              </a:rPr>
              <a:t> </a:t>
            </a:r>
            <a:r>
              <a:rPr lang="en-GB" spc="-10" noProof="0" dirty="0">
                <a:latin typeface="Neue Frutiger World" panose="020B0603040304020203" pitchFamily="34" charset="0"/>
                <a:cs typeface="Neue Frutiger World" panose="020B0603040304020203" pitchFamily="34" charset="0"/>
              </a:rPr>
              <a:t>conversation</a:t>
            </a:r>
            <a:r>
              <a:rPr lang="en-GB" spc="35" noProof="0" dirty="0">
                <a:latin typeface="Neue Frutiger World" panose="020B0603040304020203" pitchFamily="34" charset="0"/>
                <a:cs typeface="Neue Frutiger World" panose="020B0603040304020203" pitchFamily="34" charset="0"/>
              </a:rPr>
              <a:t> </a:t>
            </a:r>
            <a:r>
              <a:rPr lang="en-GB" spc="-15" noProof="0" dirty="0">
                <a:latin typeface="Neue Frutiger World" panose="020B0603040304020203" pitchFamily="34" charset="0"/>
                <a:cs typeface="Neue Frutiger World" panose="020B0603040304020203" pitchFamily="34" charset="0"/>
              </a:rPr>
              <a:t>starter</a:t>
            </a:r>
            <a:r>
              <a:rPr lang="en-GB" spc="-5" noProof="0" dirty="0">
                <a:latin typeface="Neue Frutiger World" panose="020B0603040304020203" pitchFamily="34" charset="0"/>
                <a:cs typeface="Neue Frutiger World" panose="020B0603040304020203" pitchFamily="34" charset="0"/>
              </a:rPr>
              <a:t> </a:t>
            </a:r>
            <a:r>
              <a:rPr lang="en-GB" spc="25" noProof="0" dirty="0">
                <a:latin typeface="Neue Frutiger World" panose="020B0603040304020203" pitchFamily="34" charset="0"/>
                <a:cs typeface="Neue Frutiger World" panose="020B0603040304020203" pitchFamily="34" charset="0"/>
              </a:rPr>
              <a:t>2</a:t>
            </a:r>
            <a:endParaRPr lang="en-GB" noProof="0" dirty="0">
              <a:latin typeface="Neue Frutiger World" panose="020B0603040304020203" pitchFamily="34" charset="0"/>
              <a:cs typeface="Neue Frutiger World" panose="020B0603040304020203" pitchFamily="34" charset="0"/>
            </a:endParaRPr>
          </a:p>
        </p:txBody>
      </p:sp>
      <p:sp>
        <p:nvSpPr>
          <p:cNvPr id="3" name="Footer Placeholder 2">
            <a:extLst>
              <a:ext uri="{FF2B5EF4-FFF2-40B4-BE49-F238E27FC236}">
                <a16:creationId xmlns:a16="http://schemas.microsoft.com/office/drawing/2014/main" id="{9B05CBA3-22B3-49D3-9942-6D2083539105}"/>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CDFEA80D-75F3-4B59-BE9D-AB2ED2AC0F55}"/>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25</a:t>
            </a:fld>
            <a:endParaRPr lang="en-US" noProof="0" dirty="0">
              <a:latin typeface="Neue Frutiger World" panose="020B0603040304020203" pitchFamily="34" charset="0"/>
              <a:cs typeface="Neue Frutiger World" panose="020B0603040304020203" pitchFamily="34" charset="0"/>
            </a:endParaRPr>
          </a:p>
        </p:txBody>
      </p:sp>
      <p:sp>
        <p:nvSpPr>
          <p:cNvPr id="6" name="object 5">
            <a:extLst>
              <a:ext uri="{FF2B5EF4-FFF2-40B4-BE49-F238E27FC236}">
                <a16:creationId xmlns:a16="http://schemas.microsoft.com/office/drawing/2014/main" id="{BB8F372E-3AC8-447F-904A-26F28DAAAAC2}"/>
              </a:ext>
            </a:extLst>
          </p:cNvPr>
          <p:cNvSpPr txBox="1"/>
          <p:nvPr/>
        </p:nvSpPr>
        <p:spPr>
          <a:xfrm>
            <a:off x="1545805" y="771550"/>
            <a:ext cx="3036003" cy="1398716"/>
          </a:xfrm>
          <a:prstGeom prst="rect">
            <a:avLst/>
          </a:prstGeom>
        </p:spPr>
        <p:txBody>
          <a:bodyPr vert="horz" wrap="square" lIns="0" tIns="92710" rIns="0" bIns="0" rtlCol="0">
            <a:spAutoFit/>
          </a:bodyPr>
          <a:lstStyle/>
          <a:p>
            <a:pPr marL="12699">
              <a:spcBef>
                <a:spcPts val="730"/>
              </a:spcBef>
            </a:pPr>
            <a:r>
              <a:rPr sz="1300" b="1" dirty="0">
                <a:solidFill>
                  <a:srgbClr val="231F20"/>
                </a:solidFill>
                <a:latin typeface="Neue Frutiger World" panose="020B0603040304020203" pitchFamily="34" charset="0"/>
                <a:cs typeface="Neue Frutiger World" panose="020B0603040304020203" pitchFamily="34" charset="0"/>
              </a:rPr>
              <a:t>Open ended</a:t>
            </a:r>
            <a:r>
              <a:rPr sz="1300" b="1" spc="5"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question:</a:t>
            </a:r>
            <a:endParaRPr sz="1300" dirty="0">
              <a:latin typeface="Neue Frutiger World" panose="020B0603040304020203" pitchFamily="34" charset="0"/>
              <a:cs typeface="Neue Frutiger World" panose="020B0603040304020203" pitchFamily="34" charset="0"/>
            </a:endParaRPr>
          </a:p>
          <a:p>
            <a:pPr marL="12699">
              <a:spcBef>
                <a:spcPts val="390"/>
              </a:spcBef>
            </a:pPr>
            <a:r>
              <a:rPr lang="en-GB" sz="800" spc="-10" dirty="0">
                <a:solidFill>
                  <a:srgbClr val="231F20"/>
                </a:solidFill>
                <a:latin typeface="Neue Frutiger World" panose="020B0603040304020203" pitchFamily="34" charset="0"/>
                <a:cs typeface="Neue Frutiger World" panose="020B0603040304020203" pitchFamily="34" charset="0"/>
              </a:rPr>
              <a:t>Are you aware of the basis for the increased costs for infection patients?</a:t>
            </a:r>
            <a:endParaRPr sz="800" dirty="0">
              <a:latin typeface="Neue Frutiger World" panose="020B0603040304020203" pitchFamily="34" charset="0"/>
              <a:cs typeface="Neue Frutiger World" panose="020B0603040304020203" pitchFamily="34" charset="0"/>
            </a:endParaRPr>
          </a:p>
          <a:p>
            <a:pPr>
              <a:lnSpc>
                <a:spcPct val="100000"/>
              </a:lnSpc>
            </a:pPr>
            <a:endParaRPr sz="900" dirty="0">
              <a:latin typeface="Neue Frutiger World" panose="020B0603040304020203" pitchFamily="34" charset="0"/>
              <a:cs typeface="Neue Frutiger World" panose="020B0603040304020203" pitchFamily="34" charset="0"/>
            </a:endParaRPr>
          </a:p>
          <a:p>
            <a:pPr>
              <a:spcBef>
                <a:spcPts val="10"/>
              </a:spcBef>
            </a:pPr>
            <a:endParaRPr sz="1050" dirty="0">
              <a:latin typeface="Neue Frutiger World" panose="020B0603040304020203" pitchFamily="34" charset="0"/>
              <a:cs typeface="Neue Frutiger World" panose="020B0603040304020203" pitchFamily="34" charset="0"/>
            </a:endParaRPr>
          </a:p>
          <a:p>
            <a:pPr marL="12699"/>
            <a:r>
              <a:rPr sz="1300" b="1" spc="-15" dirty="0">
                <a:solidFill>
                  <a:srgbClr val="231F20"/>
                </a:solidFill>
                <a:latin typeface="Neue Frutiger World" panose="020B0603040304020203" pitchFamily="34" charset="0"/>
                <a:cs typeface="Neue Frutiger World" panose="020B0603040304020203" pitchFamily="34" charset="0"/>
              </a:rPr>
              <a:t>Potential</a:t>
            </a:r>
            <a:r>
              <a:rPr sz="1300" b="1" spc="25" dirty="0">
                <a:solidFill>
                  <a:srgbClr val="231F20"/>
                </a:solidFill>
                <a:latin typeface="Neue Frutiger World" panose="020B0603040304020203" pitchFamily="34" charset="0"/>
                <a:cs typeface="Neue Frutiger World" panose="020B0603040304020203" pitchFamily="34" charset="0"/>
              </a:rPr>
              <a:t> </a:t>
            </a:r>
            <a:r>
              <a:rPr sz="1300" b="1" dirty="0">
                <a:solidFill>
                  <a:srgbClr val="231F20"/>
                </a:solidFill>
                <a:latin typeface="Neue Frutiger World" panose="020B0603040304020203" pitchFamily="34" charset="0"/>
                <a:cs typeface="Neue Frutiger World" panose="020B0603040304020203" pitchFamily="34" charset="0"/>
              </a:rPr>
              <a:t>physician</a:t>
            </a:r>
            <a:r>
              <a:rPr sz="1300" b="1" spc="30"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12699" marR="5079">
              <a:lnSpc>
                <a:spcPct val="104200"/>
              </a:lnSpc>
              <a:spcBef>
                <a:spcPts val="350"/>
              </a:spcBef>
            </a:pPr>
            <a:r>
              <a:rPr lang="en-GB" sz="800" spc="-5" dirty="0">
                <a:solidFill>
                  <a:srgbClr val="231F20"/>
                </a:solidFill>
                <a:latin typeface="Neue Frutiger World" panose="020B0603040304020203" pitchFamily="34" charset="0"/>
                <a:cs typeface="Neue Frutiger World" panose="020B0603040304020203" pitchFamily="34" charset="0"/>
              </a:rPr>
              <a:t>I imagine the costs are mostly associated with treating the patient in hospital</a:t>
            </a:r>
            <a:endParaRPr sz="800" dirty="0">
              <a:latin typeface="Neue Frutiger World" panose="020B0603040304020203" pitchFamily="34" charset="0"/>
              <a:cs typeface="Neue Frutiger World" panose="020B0603040304020203" pitchFamily="34" charset="0"/>
            </a:endParaRPr>
          </a:p>
        </p:txBody>
      </p:sp>
      <p:sp>
        <p:nvSpPr>
          <p:cNvPr id="7" name="object 6">
            <a:extLst>
              <a:ext uri="{FF2B5EF4-FFF2-40B4-BE49-F238E27FC236}">
                <a16:creationId xmlns:a16="http://schemas.microsoft.com/office/drawing/2014/main" id="{BFFA4DAF-10D7-4781-95B6-2F43752AB1C4}"/>
              </a:ext>
            </a:extLst>
          </p:cNvPr>
          <p:cNvSpPr txBox="1"/>
          <p:nvPr/>
        </p:nvSpPr>
        <p:spPr>
          <a:xfrm>
            <a:off x="4787826" y="771550"/>
            <a:ext cx="3960638" cy="2248116"/>
          </a:xfrm>
          <a:prstGeom prst="rect">
            <a:avLst/>
          </a:prstGeom>
        </p:spPr>
        <p:txBody>
          <a:bodyPr vert="horz" wrap="square" lIns="0" tIns="92710" rIns="0" bIns="0" rtlCol="0">
            <a:spAutoFit/>
          </a:bodyPr>
          <a:lstStyle/>
          <a:p>
            <a:pPr marL="50796">
              <a:spcBef>
                <a:spcPts val="730"/>
              </a:spcBef>
            </a:pPr>
            <a:r>
              <a:rPr sz="1300" b="1" spc="-5" dirty="0">
                <a:solidFill>
                  <a:srgbClr val="231F20"/>
                </a:solidFill>
                <a:latin typeface="Neue Frutiger World" panose="020B0603040304020203" pitchFamily="34" charset="0"/>
                <a:cs typeface="Neue Frutiger World" panose="020B0603040304020203" pitchFamily="34" charset="0"/>
              </a:rPr>
              <a:t>Rep</a:t>
            </a:r>
            <a:r>
              <a:rPr sz="1300" b="1" dirty="0">
                <a:solidFill>
                  <a:srgbClr val="231F20"/>
                </a:solidFill>
                <a:latin typeface="Neue Frutiger World" panose="020B0603040304020203" pitchFamily="34" charset="0"/>
                <a:cs typeface="Neue Frutiger World" panose="020B0603040304020203" pitchFamily="34" charset="0"/>
              </a:rPr>
              <a:t> </a:t>
            </a:r>
            <a:r>
              <a:rPr sz="1300" b="1" spc="-5" dirty="0">
                <a:solidFill>
                  <a:srgbClr val="231F20"/>
                </a:solidFill>
                <a:latin typeface="Neue Frutiger World" panose="020B0603040304020203" pitchFamily="34" charset="0"/>
                <a:cs typeface="Neue Frutiger World" panose="020B0603040304020203" pitchFamily="34" charset="0"/>
              </a:rPr>
              <a:t>response:</a:t>
            </a:r>
            <a:endParaRPr sz="1300" dirty="0">
              <a:latin typeface="Neue Frutiger World" panose="020B0603040304020203" pitchFamily="34" charset="0"/>
              <a:cs typeface="Neue Frutiger World" panose="020B0603040304020203" pitchFamily="34" charset="0"/>
            </a:endParaRPr>
          </a:p>
          <a:p>
            <a:pPr marL="50796" marR="152387">
              <a:lnSpc>
                <a:spcPct val="104200"/>
              </a:lnSpc>
              <a:spcBef>
                <a:spcPts val="350"/>
              </a:spcBef>
            </a:pPr>
            <a:r>
              <a:rPr lang="en-US" sz="800" spc="15" dirty="0">
                <a:solidFill>
                  <a:srgbClr val="231F20"/>
                </a:solidFill>
                <a:latin typeface="Neue Frutiger World" panose="020B0603040304020203" pitchFamily="34" charset="0"/>
                <a:cs typeface="Neue Frutiger World" panose="020B0603040304020203" pitchFamily="34" charset="0"/>
              </a:rPr>
              <a:t>You are quite right! Patients who need to be treated in hospital cost more to treat. Importantly, in-patient stays were found to be very expensive, ranging from median £3,510 in the UK to €13,917.53 in Spain (Pacemaker only).</a:t>
            </a:r>
            <a:r>
              <a:rPr lang="en-US" sz="800" spc="15" baseline="30000" dirty="0">
                <a:solidFill>
                  <a:srgbClr val="231F20"/>
                </a:solidFill>
                <a:latin typeface="Neue Frutiger World" panose="020B0603040304020203" pitchFamily="34" charset="0"/>
                <a:cs typeface="Neue Frutiger World" panose="020B0603040304020203" pitchFamily="34" charset="0"/>
              </a:rPr>
              <a:t>19,40</a:t>
            </a:r>
            <a:r>
              <a:rPr lang="en-US" sz="800" spc="15" dirty="0">
                <a:solidFill>
                  <a:srgbClr val="231F20"/>
                </a:solidFill>
                <a:latin typeface="Neue Frutiger World" panose="020B0603040304020203" pitchFamily="34" charset="0"/>
                <a:cs typeface="Neue Frutiger World" panose="020B0603040304020203" pitchFamily="34" charset="0"/>
              </a:rPr>
              <a:t> In-patient stays can be reduced by early extraction and can help to prevent your patient from suffering ongoing infections.</a:t>
            </a:r>
            <a:r>
              <a:rPr lang="en-US" sz="800" spc="15" baseline="30000" dirty="0">
                <a:solidFill>
                  <a:srgbClr val="231F20"/>
                </a:solidFill>
                <a:latin typeface="Neue Frutiger World" panose="020B0603040304020203" pitchFamily="34" charset="0"/>
                <a:cs typeface="Neue Frutiger World" panose="020B0603040304020203" pitchFamily="34" charset="0"/>
              </a:rPr>
              <a:t>24</a:t>
            </a:r>
            <a:r>
              <a:rPr lang="en-US" sz="800" spc="15" dirty="0">
                <a:solidFill>
                  <a:srgbClr val="231F20"/>
                </a:solidFill>
                <a:latin typeface="Neue Frutiger World" panose="020B0603040304020203" pitchFamily="34" charset="0"/>
                <a:cs typeface="Neue Frutiger World" panose="020B0603040304020203" pitchFamily="34" charset="0"/>
              </a:rPr>
              <a:t> Burnhope et al. found that the average cost of a CIED infection inpatient admission was £41,820 (range £28 377–£56 498).</a:t>
            </a:r>
            <a:r>
              <a:rPr lang="en-US" sz="800" spc="15" baseline="30000" dirty="0">
                <a:solidFill>
                  <a:srgbClr val="231F20"/>
                </a:solidFill>
                <a:latin typeface="Neue Frutiger World" panose="020B0603040304020203" pitchFamily="34" charset="0"/>
                <a:cs typeface="Neue Frutiger World" panose="020B0603040304020203" pitchFamily="34" charset="0"/>
              </a:rPr>
              <a:t>37</a:t>
            </a:r>
            <a:endParaRPr lang="en-US" sz="800" dirty="0">
              <a:latin typeface="Neue Frutiger World" panose="020B0603040304020203" pitchFamily="34" charset="0"/>
              <a:cs typeface="Neue Frutiger World" panose="020B0603040304020203" pitchFamily="34" charset="0"/>
            </a:endParaRPr>
          </a:p>
          <a:p>
            <a:pPr>
              <a:lnSpc>
                <a:spcPct val="100000"/>
              </a:lnSpc>
            </a:pPr>
            <a:endParaRPr lang="en-US" sz="800" dirty="0">
              <a:latin typeface="Neue Frutiger World" panose="020B0603040304020203" pitchFamily="34" charset="0"/>
              <a:cs typeface="Neue Frutiger World" panose="020B0603040304020203" pitchFamily="34" charset="0"/>
            </a:endParaRPr>
          </a:p>
          <a:p>
            <a:pPr>
              <a:spcBef>
                <a:spcPts val="40"/>
              </a:spcBef>
            </a:pPr>
            <a:endParaRPr sz="800" dirty="0">
              <a:latin typeface="Neue Frutiger World" panose="020B0603040304020203" pitchFamily="34" charset="0"/>
              <a:cs typeface="Neue Frutiger World" panose="020B0603040304020203" pitchFamily="34" charset="0"/>
            </a:endParaRPr>
          </a:p>
          <a:p>
            <a:pPr marL="50796" marR="17778">
              <a:lnSpc>
                <a:spcPct val="104200"/>
              </a:lnSpc>
            </a:pPr>
            <a:r>
              <a:rPr lang="en-GB" sz="800" spc="-5" dirty="0">
                <a:solidFill>
                  <a:srgbClr val="0077CD"/>
                </a:solidFill>
                <a:latin typeface="Neue Frutiger World" panose="020B0603040304020203" pitchFamily="34" charset="0"/>
                <a:cs typeface="Neue Frutiger World" panose="020B0603040304020203" pitchFamily="34" charset="0"/>
              </a:rPr>
              <a:t>This highlights not only the very high cost of infection but the need to extract patients quickly. This has multiple benefits for the patient and in terms of bed blocking and cost to the healthcare system. As some of the treatment costs over time would be borne by this institution, early treatment would be the best way forward? If you agree, could I set up a meeting your colleagues and your team to discuss how costs and infections might be reduced?</a:t>
            </a:r>
            <a:endParaRPr sz="800" dirty="0">
              <a:latin typeface="Neue Frutiger World" panose="020B0603040304020203" pitchFamily="34" charset="0"/>
              <a:cs typeface="Neue Frutiger World" panose="020B0603040304020203" pitchFamily="34" charset="0"/>
            </a:endParaRPr>
          </a:p>
        </p:txBody>
      </p:sp>
      <p:sp>
        <p:nvSpPr>
          <p:cNvPr id="8" name="object 7">
            <a:extLst>
              <a:ext uri="{FF2B5EF4-FFF2-40B4-BE49-F238E27FC236}">
                <a16:creationId xmlns:a16="http://schemas.microsoft.com/office/drawing/2014/main" id="{CD3AD73A-8C15-4CFC-B98C-B328B7C821D1}"/>
              </a:ext>
            </a:extLst>
          </p:cNvPr>
          <p:cNvSpPr txBox="1"/>
          <p:nvPr/>
        </p:nvSpPr>
        <p:spPr>
          <a:xfrm>
            <a:off x="1545804" y="2365145"/>
            <a:ext cx="2594148" cy="263790"/>
          </a:xfrm>
          <a:prstGeom prst="rect">
            <a:avLst/>
          </a:prstGeom>
        </p:spPr>
        <p:txBody>
          <a:bodyPr vert="horz" wrap="square" lIns="0" tIns="7620" rIns="0" bIns="0" rtlCol="0">
            <a:spAutoFit/>
          </a:bodyPr>
          <a:lstStyle/>
          <a:p>
            <a:pPr marL="12699" marR="5079">
              <a:lnSpc>
                <a:spcPct val="104200"/>
              </a:lnSpc>
              <a:spcBef>
                <a:spcPts val="60"/>
              </a:spcBef>
            </a:pPr>
            <a:r>
              <a:rPr sz="800" dirty="0">
                <a:solidFill>
                  <a:srgbClr val="231F20"/>
                </a:solidFill>
                <a:latin typeface="Neue Frutiger World" panose="020B0603040304020203" pitchFamily="34" charset="0"/>
                <a:cs typeface="Neue Frutiger World" panose="020B0603040304020203" pitchFamily="34" charset="0"/>
              </a:rPr>
              <a:t>Early </a:t>
            </a:r>
            <a:r>
              <a:rPr sz="800" spc="5" dirty="0">
                <a:solidFill>
                  <a:srgbClr val="231F20"/>
                </a:solidFill>
                <a:latin typeface="Neue Frutiger World" panose="020B0603040304020203" pitchFamily="34" charset="0"/>
                <a:cs typeface="Neue Frutiger World" panose="020B0603040304020203" pitchFamily="34" charset="0"/>
              </a:rPr>
              <a:t>CIED </a:t>
            </a:r>
            <a:r>
              <a:rPr sz="800" spc="-10" dirty="0">
                <a:solidFill>
                  <a:srgbClr val="231F20"/>
                </a:solidFill>
                <a:latin typeface="Neue Frutiger World" panose="020B0603040304020203" pitchFamily="34" charset="0"/>
                <a:cs typeface="Neue Frutiger World" panose="020B0603040304020203" pitchFamily="34" charset="0"/>
              </a:rPr>
              <a:t>removal is associated </a:t>
            </a:r>
            <a:r>
              <a:rPr sz="800" spc="-5" dirty="0">
                <a:solidFill>
                  <a:srgbClr val="231F20"/>
                </a:solidFill>
                <a:latin typeface="Neue Frutiger World" panose="020B0603040304020203" pitchFamily="34" charset="0"/>
                <a:cs typeface="Neue Frutiger World" panose="020B0603040304020203" pitchFamily="34" charset="0"/>
              </a:rPr>
              <a:t>with a</a:t>
            </a:r>
            <a:r>
              <a:rPr lang="en-GB" sz="800" spc="-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significantly shorter hospital stay versus</a:t>
            </a:r>
            <a:r>
              <a:rPr lang="en-GB" sz="800" spc="-1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late</a:t>
            </a:r>
            <a:r>
              <a:rPr sz="80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removal:</a:t>
            </a:r>
            <a:endParaRPr sz="800" dirty="0">
              <a:latin typeface="Neue Frutiger World" panose="020B0603040304020203" pitchFamily="34" charset="0"/>
              <a:cs typeface="Neue Frutiger World" panose="020B0603040304020203" pitchFamily="34" charset="0"/>
            </a:endParaRPr>
          </a:p>
        </p:txBody>
      </p:sp>
      <p:grpSp>
        <p:nvGrpSpPr>
          <p:cNvPr id="9" name="object 10">
            <a:extLst>
              <a:ext uri="{FF2B5EF4-FFF2-40B4-BE49-F238E27FC236}">
                <a16:creationId xmlns:a16="http://schemas.microsoft.com/office/drawing/2014/main" id="{8312F6C5-198A-42FF-8256-A9E46E4BD719}"/>
              </a:ext>
            </a:extLst>
          </p:cNvPr>
          <p:cNvGrpSpPr/>
          <p:nvPr/>
        </p:nvGrpSpPr>
        <p:grpSpPr>
          <a:xfrm>
            <a:off x="2578318" y="2666359"/>
            <a:ext cx="727075" cy="727075"/>
            <a:chOff x="1399035" y="4617720"/>
            <a:chExt cx="727075" cy="727075"/>
          </a:xfrm>
        </p:grpSpPr>
        <p:pic>
          <p:nvPicPr>
            <p:cNvPr id="10" name="object 11">
              <a:extLst>
                <a:ext uri="{FF2B5EF4-FFF2-40B4-BE49-F238E27FC236}">
                  <a16:creationId xmlns:a16="http://schemas.microsoft.com/office/drawing/2014/main" id="{41A48D50-E912-489B-AFCB-38231CF2086F}"/>
                </a:ext>
              </a:extLst>
            </p:cNvPr>
            <p:cNvPicPr/>
            <p:nvPr/>
          </p:nvPicPr>
          <p:blipFill>
            <a:blip r:embed="rId2" cstate="print"/>
            <a:stretch>
              <a:fillRect/>
            </a:stretch>
          </p:blipFill>
          <p:spPr>
            <a:xfrm>
              <a:off x="1562312" y="4617720"/>
              <a:ext cx="65430" cy="150928"/>
            </a:xfrm>
            <a:prstGeom prst="rect">
              <a:avLst/>
            </a:prstGeom>
          </p:spPr>
        </p:pic>
        <p:pic>
          <p:nvPicPr>
            <p:cNvPr id="11" name="object 12">
              <a:extLst>
                <a:ext uri="{FF2B5EF4-FFF2-40B4-BE49-F238E27FC236}">
                  <a16:creationId xmlns:a16="http://schemas.microsoft.com/office/drawing/2014/main" id="{2B30C2C5-31C3-49EE-8187-F97D49C6ABEF}"/>
                </a:ext>
              </a:extLst>
            </p:cNvPr>
            <p:cNvPicPr/>
            <p:nvPr/>
          </p:nvPicPr>
          <p:blipFill>
            <a:blip r:embed="rId3" cstate="print"/>
            <a:stretch>
              <a:fillRect/>
            </a:stretch>
          </p:blipFill>
          <p:spPr>
            <a:xfrm>
              <a:off x="1897269" y="4617720"/>
              <a:ext cx="65430" cy="150928"/>
            </a:xfrm>
            <a:prstGeom prst="rect">
              <a:avLst/>
            </a:prstGeom>
          </p:spPr>
        </p:pic>
        <p:sp>
          <p:nvSpPr>
            <p:cNvPr id="12" name="object 13">
              <a:extLst>
                <a:ext uri="{FF2B5EF4-FFF2-40B4-BE49-F238E27FC236}">
                  <a16:creationId xmlns:a16="http://schemas.microsoft.com/office/drawing/2014/main" id="{5F3B7A9F-7F48-4DB6-A0AB-223CA210DA34}"/>
                </a:ext>
              </a:extLst>
            </p:cNvPr>
            <p:cNvSpPr/>
            <p:nvPr/>
          </p:nvSpPr>
          <p:spPr>
            <a:xfrm>
              <a:off x="1399035" y="4703342"/>
              <a:ext cx="727075" cy="641350"/>
            </a:xfrm>
            <a:custGeom>
              <a:avLst/>
              <a:gdLst/>
              <a:ahLst/>
              <a:cxnLst/>
              <a:rect l="l" t="t" r="r" b="b"/>
              <a:pathLst>
                <a:path w="727075" h="641350">
                  <a:moveTo>
                    <a:pt x="123050" y="0"/>
                  </a:moveTo>
                  <a:lnTo>
                    <a:pt x="43611" y="0"/>
                  </a:lnTo>
                  <a:lnTo>
                    <a:pt x="26633" y="3022"/>
                  </a:lnTo>
                  <a:lnTo>
                    <a:pt x="12771" y="11266"/>
                  </a:lnTo>
                  <a:lnTo>
                    <a:pt x="3426" y="23494"/>
                  </a:lnTo>
                  <a:lnTo>
                    <a:pt x="0" y="38468"/>
                  </a:lnTo>
                  <a:lnTo>
                    <a:pt x="0" y="602856"/>
                  </a:lnTo>
                  <a:lnTo>
                    <a:pt x="3426" y="617830"/>
                  </a:lnTo>
                  <a:lnTo>
                    <a:pt x="12771" y="630058"/>
                  </a:lnTo>
                  <a:lnTo>
                    <a:pt x="26633" y="638301"/>
                  </a:lnTo>
                  <a:lnTo>
                    <a:pt x="43611" y="641324"/>
                  </a:lnTo>
                  <a:lnTo>
                    <a:pt x="683323" y="641324"/>
                  </a:lnTo>
                  <a:lnTo>
                    <a:pt x="700303" y="638301"/>
                  </a:lnTo>
                  <a:lnTo>
                    <a:pt x="714170" y="630058"/>
                  </a:lnTo>
                  <a:lnTo>
                    <a:pt x="723519" y="617830"/>
                  </a:lnTo>
                  <a:lnTo>
                    <a:pt x="726948" y="602856"/>
                  </a:lnTo>
                  <a:lnTo>
                    <a:pt x="726948" y="556641"/>
                  </a:lnTo>
                  <a:lnTo>
                    <a:pt x="82969" y="556641"/>
                  </a:lnTo>
                  <a:lnTo>
                    <a:pt x="82969" y="463854"/>
                  </a:lnTo>
                  <a:lnTo>
                    <a:pt x="726948" y="463854"/>
                  </a:lnTo>
                  <a:lnTo>
                    <a:pt x="726948" y="420370"/>
                  </a:lnTo>
                  <a:lnTo>
                    <a:pt x="82969" y="420370"/>
                  </a:lnTo>
                  <a:lnTo>
                    <a:pt x="82969" y="327583"/>
                  </a:lnTo>
                  <a:lnTo>
                    <a:pt x="546900" y="327583"/>
                  </a:lnTo>
                  <a:lnTo>
                    <a:pt x="726948" y="327494"/>
                  </a:lnTo>
                  <a:lnTo>
                    <a:pt x="726948" y="284086"/>
                  </a:lnTo>
                  <a:lnTo>
                    <a:pt x="82969" y="284086"/>
                  </a:lnTo>
                  <a:lnTo>
                    <a:pt x="82969" y="191300"/>
                  </a:lnTo>
                  <a:lnTo>
                    <a:pt x="546900" y="191300"/>
                  </a:lnTo>
                  <a:lnTo>
                    <a:pt x="726948" y="191223"/>
                  </a:lnTo>
                  <a:lnTo>
                    <a:pt x="726948" y="105537"/>
                  </a:lnTo>
                  <a:lnTo>
                    <a:pt x="195986" y="105537"/>
                  </a:lnTo>
                  <a:lnTo>
                    <a:pt x="167627" y="99794"/>
                  </a:lnTo>
                  <a:lnTo>
                    <a:pt x="144440" y="84145"/>
                  </a:lnTo>
                  <a:lnTo>
                    <a:pt x="128792" y="60954"/>
                  </a:lnTo>
                  <a:lnTo>
                    <a:pt x="123050" y="32588"/>
                  </a:lnTo>
                  <a:lnTo>
                    <a:pt x="123050" y="0"/>
                  </a:lnTo>
                  <a:close/>
                </a:path>
                <a:path w="727075" h="641350">
                  <a:moveTo>
                    <a:pt x="237604" y="463854"/>
                  </a:moveTo>
                  <a:lnTo>
                    <a:pt x="177469" y="463854"/>
                  </a:lnTo>
                  <a:lnTo>
                    <a:pt x="177469" y="556641"/>
                  </a:lnTo>
                  <a:lnTo>
                    <a:pt x="237604" y="556641"/>
                  </a:lnTo>
                  <a:lnTo>
                    <a:pt x="237604" y="463854"/>
                  </a:lnTo>
                  <a:close/>
                </a:path>
                <a:path w="727075" h="641350">
                  <a:moveTo>
                    <a:pt x="392252" y="463854"/>
                  </a:moveTo>
                  <a:lnTo>
                    <a:pt x="332105" y="463854"/>
                  </a:lnTo>
                  <a:lnTo>
                    <a:pt x="332105" y="556641"/>
                  </a:lnTo>
                  <a:lnTo>
                    <a:pt x="392252" y="556641"/>
                  </a:lnTo>
                  <a:lnTo>
                    <a:pt x="392252" y="463854"/>
                  </a:lnTo>
                  <a:close/>
                </a:path>
                <a:path w="727075" h="641350">
                  <a:moveTo>
                    <a:pt x="726948" y="463854"/>
                  </a:moveTo>
                  <a:lnTo>
                    <a:pt x="486752" y="463854"/>
                  </a:lnTo>
                  <a:lnTo>
                    <a:pt x="486752" y="556641"/>
                  </a:lnTo>
                  <a:lnTo>
                    <a:pt x="726948" y="556641"/>
                  </a:lnTo>
                  <a:lnTo>
                    <a:pt x="726948" y="463854"/>
                  </a:lnTo>
                  <a:close/>
                </a:path>
                <a:path w="727075" h="641350">
                  <a:moveTo>
                    <a:pt x="237604" y="327583"/>
                  </a:moveTo>
                  <a:lnTo>
                    <a:pt x="177469" y="327583"/>
                  </a:lnTo>
                  <a:lnTo>
                    <a:pt x="177469" y="420370"/>
                  </a:lnTo>
                  <a:lnTo>
                    <a:pt x="237604" y="420370"/>
                  </a:lnTo>
                  <a:lnTo>
                    <a:pt x="237604" y="327583"/>
                  </a:lnTo>
                  <a:close/>
                </a:path>
                <a:path w="727075" h="641350">
                  <a:moveTo>
                    <a:pt x="392252" y="327583"/>
                  </a:moveTo>
                  <a:lnTo>
                    <a:pt x="332105" y="327583"/>
                  </a:lnTo>
                  <a:lnTo>
                    <a:pt x="332105" y="420370"/>
                  </a:lnTo>
                  <a:lnTo>
                    <a:pt x="392252" y="420370"/>
                  </a:lnTo>
                  <a:lnTo>
                    <a:pt x="392252" y="327583"/>
                  </a:lnTo>
                  <a:close/>
                </a:path>
                <a:path w="727075" h="641350">
                  <a:moveTo>
                    <a:pt x="546900" y="327583"/>
                  </a:moveTo>
                  <a:lnTo>
                    <a:pt x="486752" y="327583"/>
                  </a:lnTo>
                  <a:lnTo>
                    <a:pt x="486752" y="420370"/>
                  </a:lnTo>
                  <a:lnTo>
                    <a:pt x="726948" y="420370"/>
                  </a:lnTo>
                  <a:lnTo>
                    <a:pt x="546900" y="420281"/>
                  </a:lnTo>
                  <a:lnTo>
                    <a:pt x="546900" y="327583"/>
                  </a:lnTo>
                  <a:close/>
                </a:path>
                <a:path w="727075" h="641350">
                  <a:moveTo>
                    <a:pt x="726948" y="327494"/>
                  </a:moveTo>
                  <a:lnTo>
                    <a:pt x="641388" y="327494"/>
                  </a:lnTo>
                  <a:lnTo>
                    <a:pt x="641388" y="420281"/>
                  </a:lnTo>
                  <a:lnTo>
                    <a:pt x="726948" y="420281"/>
                  </a:lnTo>
                  <a:lnTo>
                    <a:pt x="726948" y="327494"/>
                  </a:lnTo>
                  <a:close/>
                </a:path>
                <a:path w="727075" h="641350">
                  <a:moveTo>
                    <a:pt x="237604" y="191300"/>
                  </a:moveTo>
                  <a:lnTo>
                    <a:pt x="177469" y="191300"/>
                  </a:lnTo>
                  <a:lnTo>
                    <a:pt x="177469" y="284086"/>
                  </a:lnTo>
                  <a:lnTo>
                    <a:pt x="237604" y="284086"/>
                  </a:lnTo>
                  <a:lnTo>
                    <a:pt x="237604" y="191300"/>
                  </a:lnTo>
                  <a:close/>
                </a:path>
                <a:path w="727075" h="641350">
                  <a:moveTo>
                    <a:pt x="392252" y="191300"/>
                  </a:moveTo>
                  <a:lnTo>
                    <a:pt x="332105" y="191300"/>
                  </a:lnTo>
                  <a:lnTo>
                    <a:pt x="332105" y="284086"/>
                  </a:lnTo>
                  <a:lnTo>
                    <a:pt x="392252" y="284086"/>
                  </a:lnTo>
                  <a:lnTo>
                    <a:pt x="392252" y="191300"/>
                  </a:lnTo>
                  <a:close/>
                </a:path>
                <a:path w="727075" h="641350">
                  <a:moveTo>
                    <a:pt x="546900" y="191300"/>
                  </a:moveTo>
                  <a:lnTo>
                    <a:pt x="486752" y="191300"/>
                  </a:lnTo>
                  <a:lnTo>
                    <a:pt x="486752" y="284086"/>
                  </a:lnTo>
                  <a:lnTo>
                    <a:pt x="726948" y="284086"/>
                  </a:lnTo>
                  <a:lnTo>
                    <a:pt x="546900" y="284010"/>
                  </a:lnTo>
                  <a:lnTo>
                    <a:pt x="546900" y="191300"/>
                  </a:lnTo>
                  <a:close/>
                </a:path>
                <a:path w="727075" h="641350">
                  <a:moveTo>
                    <a:pt x="726948" y="191223"/>
                  </a:moveTo>
                  <a:lnTo>
                    <a:pt x="641388" y="191223"/>
                  </a:lnTo>
                  <a:lnTo>
                    <a:pt x="641388" y="284010"/>
                  </a:lnTo>
                  <a:lnTo>
                    <a:pt x="726948" y="284010"/>
                  </a:lnTo>
                  <a:lnTo>
                    <a:pt x="726948" y="191223"/>
                  </a:lnTo>
                  <a:close/>
                </a:path>
                <a:path w="727075" h="641350">
                  <a:moveTo>
                    <a:pt x="458012" y="0"/>
                  </a:moveTo>
                  <a:lnTo>
                    <a:pt x="268922" y="0"/>
                  </a:lnTo>
                  <a:lnTo>
                    <a:pt x="268922" y="32588"/>
                  </a:lnTo>
                  <a:lnTo>
                    <a:pt x="263182" y="60954"/>
                  </a:lnTo>
                  <a:lnTo>
                    <a:pt x="247537" y="84145"/>
                  </a:lnTo>
                  <a:lnTo>
                    <a:pt x="224350" y="99794"/>
                  </a:lnTo>
                  <a:lnTo>
                    <a:pt x="195986" y="105537"/>
                  </a:lnTo>
                  <a:lnTo>
                    <a:pt x="530948" y="105537"/>
                  </a:lnTo>
                  <a:lnTo>
                    <a:pt x="502584" y="99794"/>
                  </a:lnTo>
                  <a:lnTo>
                    <a:pt x="479398" y="84145"/>
                  </a:lnTo>
                  <a:lnTo>
                    <a:pt x="463753" y="60954"/>
                  </a:lnTo>
                  <a:lnTo>
                    <a:pt x="458012" y="32588"/>
                  </a:lnTo>
                  <a:lnTo>
                    <a:pt x="458012" y="0"/>
                  </a:lnTo>
                  <a:close/>
                </a:path>
                <a:path w="727075" h="641350">
                  <a:moveTo>
                    <a:pt x="683323" y="0"/>
                  </a:moveTo>
                  <a:lnTo>
                    <a:pt x="603885" y="0"/>
                  </a:lnTo>
                  <a:lnTo>
                    <a:pt x="603885" y="32588"/>
                  </a:lnTo>
                  <a:lnTo>
                    <a:pt x="598144" y="60954"/>
                  </a:lnTo>
                  <a:lnTo>
                    <a:pt x="582499" y="84145"/>
                  </a:lnTo>
                  <a:lnTo>
                    <a:pt x="559313" y="99794"/>
                  </a:lnTo>
                  <a:lnTo>
                    <a:pt x="530948" y="105537"/>
                  </a:lnTo>
                  <a:lnTo>
                    <a:pt x="726948" y="105537"/>
                  </a:lnTo>
                  <a:lnTo>
                    <a:pt x="726948" y="38468"/>
                  </a:lnTo>
                  <a:lnTo>
                    <a:pt x="723519" y="23494"/>
                  </a:lnTo>
                  <a:lnTo>
                    <a:pt x="714170" y="11266"/>
                  </a:lnTo>
                  <a:lnTo>
                    <a:pt x="700303" y="3022"/>
                  </a:lnTo>
                  <a:lnTo>
                    <a:pt x="683323" y="0"/>
                  </a:lnTo>
                  <a:close/>
                </a:path>
              </a:pathLst>
            </a:custGeom>
            <a:solidFill>
              <a:srgbClr val="9AD7F9"/>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sp>
        <p:nvSpPr>
          <p:cNvPr id="13" name="object 14">
            <a:extLst>
              <a:ext uri="{FF2B5EF4-FFF2-40B4-BE49-F238E27FC236}">
                <a16:creationId xmlns:a16="http://schemas.microsoft.com/office/drawing/2014/main" id="{C4A13E92-3E0D-453D-95F0-D3F4F0C59803}"/>
              </a:ext>
            </a:extLst>
          </p:cNvPr>
          <p:cNvSpPr txBox="1"/>
          <p:nvPr/>
        </p:nvSpPr>
        <p:spPr>
          <a:xfrm>
            <a:off x="1545804" y="3325231"/>
            <a:ext cx="2096670" cy="1379545"/>
          </a:xfrm>
          <a:prstGeom prst="rect">
            <a:avLst/>
          </a:prstGeom>
        </p:spPr>
        <p:txBody>
          <a:bodyPr vert="horz" wrap="square" lIns="0" tIns="12700" rIns="0" bIns="0" rtlCol="0">
            <a:spAutoFit/>
          </a:bodyPr>
          <a:lstStyle/>
          <a:p>
            <a:pPr marR="527641" algn="r">
              <a:spcBef>
                <a:spcPts val="100"/>
              </a:spcBef>
            </a:pPr>
            <a:r>
              <a:rPr sz="2100" b="1" spc="-5" dirty="0">
                <a:solidFill>
                  <a:srgbClr val="00629F"/>
                </a:solidFill>
                <a:latin typeface="Neue Frutiger World" panose="020B0603040304020203" pitchFamily="34" charset="0"/>
                <a:cs typeface="Neue Frutiger World" panose="020B0603040304020203" pitchFamily="34" charset="0"/>
              </a:rPr>
              <a:t>18</a:t>
            </a:r>
            <a:r>
              <a:rPr sz="2100" b="1" spc="20" dirty="0">
                <a:solidFill>
                  <a:srgbClr val="00629F"/>
                </a:solidFill>
                <a:latin typeface="Neue Frutiger World" panose="020B0603040304020203" pitchFamily="34" charset="0"/>
                <a:cs typeface="Neue Frutiger World" panose="020B0603040304020203" pitchFamily="34" charset="0"/>
              </a:rPr>
              <a:t> </a:t>
            </a:r>
            <a:r>
              <a:rPr sz="2100" b="1" spc="-10" dirty="0">
                <a:solidFill>
                  <a:srgbClr val="00629F"/>
                </a:solidFill>
                <a:latin typeface="Neue Frutiger World" panose="020B0603040304020203" pitchFamily="34" charset="0"/>
                <a:cs typeface="Neue Frutiger World" panose="020B0603040304020203" pitchFamily="34" charset="0"/>
              </a:rPr>
              <a:t>days</a:t>
            </a:r>
            <a:r>
              <a:rPr sz="2100" b="1" spc="-25" dirty="0">
                <a:solidFill>
                  <a:srgbClr val="00629F"/>
                </a:solidFill>
                <a:latin typeface="Neue Frutiger World" panose="020B0603040304020203" pitchFamily="34" charset="0"/>
                <a:cs typeface="Neue Frutiger World" panose="020B0603040304020203" pitchFamily="34" charset="0"/>
              </a:rPr>
              <a:t> </a:t>
            </a:r>
            <a:r>
              <a:rPr sz="2100" b="1" dirty="0">
                <a:solidFill>
                  <a:srgbClr val="00629F"/>
                </a:solidFill>
                <a:latin typeface="Neue Frutiger World" panose="020B0603040304020203" pitchFamily="34" charset="0"/>
                <a:cs typeface="Neue Frutiger World" panose="020B0603040304020203" pitchFamily="34" charset="0"/>
              </a:rPr>
              <a:t>vs.</a:t>
            </a:r>
            <a:endParaRPr sz="2100" dirty="0">
              <a:latin typeface="Neue Frutiger World" panose="020B0603040304020203" pitchFamily="34" charset="0"/>
              <a:cs typeface="Neue Frutiger World" panose="020B0603040304020203" pitchFamily="34" charset="0"/>
            </a:endParaRPr>
          </a:p>
          <a:p>
            <a:pPr marR="600025" algn="r"/>
            <a:r>
              <a:rPr sz="2100" b="1" spc="35" dirty="0">
                <a:solidFill>
                  <a:srgbClr val="00629F"/>
                </a:solidFill>
                <a:latin typeface="Neue Frutiger World" panose="020B0603040304020203" pitchFamily="34" charset="0"/>
                <a:cs typeface="Neue Frutiger World" panose="020B0603040304020203" pitchFamily="34" charset="0"/>
              </a:rPr>
              <a:t>44</a:t>
            </a:r>
            <a:r>
              <a:rPr sz="2100" b="1" spc="10" dirty="0">
                <a:solidFill>
                  <a:srgbClr val="00629F"/>
                </a:solidFill>
                <a:latin typeface="Neue Frutiger World" panose="020B0603040304020203" pitchFamily="34" charset="0"/>
                <a:cs typeface="Neue Frutiger World" panose="020B0603040304020203" pitchFamily="34" charset="0"/>
              </a:rPr>
              <a:t> </a:t>
            </a:r>
            <a:r>
              <a:rPr sz="2100" b="1" spc="-10" dirty="0">
                <a:solidFill>
                  <a:srgbClr val="00629F"/>
                </a:solidFill>
                <a:latin typeface="Neue Frutiger World" panose="020B0603040304020203" pitchFamily="34" charset="0"/>
                <a:cs typeface="Neue Frutiger World" panose="020B0603040304020203" pitchFamily="34" charset="0"/>
              </a:rPr>
              <a:t>days</a:t>
            </a:r>
            <a:endParaRPr sz="2100" dirty="0">
              <a:latin typeface="Neue Frutiger World" panose="020B0603040304020203" pitchFamily="34" charset="0"/>
              <a:cs typeface="Neue Frutiger World" panose="020B0603040304020203" pitchFamily="34" charset="0"/>
            </a:endParaRPr>
          </a:p>
          <a:p>
            <a:pPr marL="12699" marR="5079">
              <a:lnSpc>
                <a:spcPct val="102600"/>
              </a:lnSpc>
              <a:spcBef>
                <a:spcPts val="1565"/>
              </a:spcBef>
            </a:pPr>
            <a:r>
              <a:rPr sz="650" spc="5" dirty="0">
                <a:solidFill>
                  <a:srgbClr val="545860"/>
                </a:solidFill>
                <a:latin typeface="Neue Frutiger World" panose="020B0603040304020203" pitchFamily="34" charset="0"/>
                <a:cs typeface="Neue Frutiger World" panose="020B0603040304020203" pitchFamily="34" charset="0"/>
              </a:rPr>
              <a:t>Rungpradubvong, </a:t>
            </a:r>
            <a:r>
              <a:rPr sz="650" spc="-5" dirty="0">
                <a:solidFill>
                  <a:srgbClr val="545860"/>
                </a:solidFill>
                <a:latin typeface="Neue Frutiger World" panose="020B0603040304020203" pitchFamily="34" charset="0"/>
                <a:cs typeface="Neue Frutiger World" panose="020B0603040304020203" pitchFamily="34" charset="0"/>
              </a:rPr>
              <a:t>V.,</a:t>
            </a:r>
            <a:r>
              <a:rPr sz="650" spc="10"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et</a:t>
            </a:r>
            <a:r>
              <a:rPr sz="650" spc="5" dirty="0">
                <a:solidFill>
                  <a:srgbClr val="545860"/>
                </a:solidFill>
                <a:latin typeface="Neue Frutiger World" panose="020B0603040304020203" pitchFamily="34" charset="0"/>
                <a:cs typeface="Neue Frutiger World" panose="020B0603040304020203" pitchFamily="34" charset="0"/>
              </a:rPr>
              <a:t> al.</a:t>
            </a:r>
            <a:r>
              <a:rPr sz="650" spc="10"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2014). </a:t>
            </a:r>
            <a:r>
              <a:rPr sz="650" dirty="0">
                <a:solidFill>
                  <a:srgbClr val="545860"/>
                </a:solidFill>
                <a:latin typeface="Neue Frutiger World" panose="020B0603040304020203" pitchFamily="34" charset="0"/>
                <a:cs typeface="Neue Frutiger World" panose="020B0603040304020203" pitchFamily="34" charset="0"/>
              </a:rPr>
              <a:t>Outcomes</a:t>
            </a:r>
            <a:r>
              <a:rPr sz="650" spc="10" dirty="0">
                <a:solidFill>
                  <a:srgbClr val="545860"/>
                </a:solidFill>
                <a:latin typeface="Neue Frutiger World" panose="020B0603040304020203" pitchFamily="34" charset="0"/>
                <a:cs typeface="Neue Frutiger World" panose="020B0603040304020203" pitchFamily="34" charset="0"/>
              </a:rPr>
              <a:t> </a:t>
            </a:r>
            <a:r>
              <a:rPr sz="650" dirty="0">
                <a:solidFill>
                  <a:srgbClr val="545860"/>
                </a:solidFill>
                <a:latin typeface="Neue Frutiger World" panose="020B0603040304020203" pitchFamily="34" charset="0"/>
                <a:cs typeface="Neue Frutiger World" panose="020B0603040304020203" pitchFamily="34" charset="0"/>
              </a:rPr>
              <a:t>of</a:t>
            </a:r>
            <a:r>
              <a:rPr lang="en-GB" sz="650"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early and </a:t>
            </a:r>
            <a:r>
              <a:rPr sz="650" spc="10" dirty="0">
                <a:solidFill>
                  <a:srgbClr val="545860"/>
                </a:solidFill>
                <a:latin typeface="Neue Frutiger World" panose="020B0603040304020203" pitchFamily="34" charset="0"/>
                <a:cs typeface="Neue Frutiger World" panose="020B0603040304020203" pitchFamily="34" charset="0"/>
              </a:rPr>
              <a:t>delayed </a:t>
            </a:r>
            <a:r>
              <a:rPr sz="650" spc="5" dirty="0">
                <a:solidFill>
                  <a:srgbClr val="545860"/>
                </a:solidFill>
                <a:latin typeface="Neue Frutiger World" panose="020B0603040304020203" pitchFamily="34" charset="0"/>
                <a:cs typeface="Neue Frutiger World" panose="020B0603040304020203" pitchFamily="34" charset="0"/>
              </a:rPr>
              <a:t>removal </a:t>
            </a:r>
            <a:r>
              <a:rPr sz="650" dirty="0">
                <a:solidFill>
                  <a:srgbClr val="545860"/>
                </a:solidFill>
                <a:latin typeface="Neue Frutiger World" panose="020B0603040304020203" pitchFamily="34" charset="0"/>
                <a:cs typeface="Neue Frutiger World" panose="020B0603040304020203" pitchFamily="34" charset="0"/>
              </a:rPr>
              <a:t>in </a:t>
            </a:r>
            <a:r>
              <a:rPr sz="650" spc="5" dirty="0">
                <a:solidFill>
                  <a:srgbClr val="545860"/>
                </a:solidFill>
                <a:latin typeface="Neue Frutiger World" panose="020B0603040304020203" pitchFamily="34" charset="0"/>
                <a:cs typeface="Neue Frutiger World" panose="020B0603040304020203" pitchFamily="34" charset="0"/>
              </a:rPr>
              <a:t>patients with cardiac</a:t>
            </a:r>
            <a:r>
              <a:rPr lang="en-GB" sz="650" spc="5"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implantable electronic </a:t>
            </a:r>
            <a:r>
              <a:rPr sz="650" spc="10" dirty="0">
                <a:solidFill>
                  <a:srgbClr val="545860"/>
                </a:solidFill>
                <a:latin typeface="Neue Frutiger World" panose="020B0603040304020203" pitchFamily="34" charset="0"/>
                <a:cs typeface="Neue Frutiger World" panose="020B0603040304020203" pitchFamily="34" charset="0"/>
              </a:rPr>
              <a:t>device infection. </a:t>
            </a:r>
            <a:r>
              <a:rPr sz="650" dirty="0">
                <a:solidFill>
                  <a:srgbClr val="545860"/>
                </a:solidFill>
                <a:latin typeface="Neue Frutiger World" panose="020B0603040304020203" pitchFamily="34" charset="0"/>
                <a:cs typeface="Neue Frutiger World" panose="020B0603040304020203" pitchFamily="34" charset="0"/>
              </a:rPr>
              <a:t>Poster</a:t>
            </a:r>
            <a:r>
              <a:rPr lang="en-GB" sz="650"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Presentation. 2014 Heart </a:t>
            </a:r>
            <a:r>
              <a:rPr sz="650" spc="10" dirty="0">
                <a:solidFill>
                  <a:srgbClr val="545860"/>
                </a:solidFill>
                <a:latin typeface="Neue Frutiger World" panose="020B0603040304020203" pitchFamily="34" charset="0"/>
                <a:cs typeface="Neue Frutiger World" panose="020B0603040304020203" pitchFamily="34" charset="0"/>
              </a:rPr>
              <a:t>Rhythm </a:t>
            </a:r>
            <a:r>
              <a:rPr sz="650" spc="15" dirty="0">
                <a:solidFill>
                  <a:srgbClr val="545860"/>
                </a:solidFill>
                <a:latin typeface="Neue Frutiger World" panose="020B0603040304020203" pitchFamily="34" charset="0"/>
                <a:cs typeface="Neue Frutiger World" panose="020B0603040304020203" pitchFamily="34" charset="0"/>
              </a:rPr>
              <a:t>Society </a:t>
            </a:r>
            <a:r>
              <a:rPr sz="650" spc="5" dirty="0">
                <a:solidFill>
                  <a:srgbClr val="545860"/>
                </a:solidFill>
                <a:latin typeface="Neue Frutiger World" panose="020B0603040304020203" pitchFamily="34" charset="0"/>
                <a:cs typeface="Neue Frutiger World" panose="020B0603040304020203" pitchFamily="34" charset="0"/>
              </a:rPr>
              <a:t>Annual</a:t>
            </a:r>
            <a:r>
              <a:rPr lang="en-GB" sz="650" spc="5" dirty="0">
                <a:solidFill>
                  <a:srgbClr val="545860"/>
                </a:solidFill>
                <a:latin typeface="Neue Frutiger World" panose="020B0603040304020203" pitchFamily="34" charset="0"/>
                <a:cs typeface="Neue Frutiger World" panose="020B0603040304020203" pitchFamily="34" charset="0"/>
              </a:rPr>
              <a:t> </a:t>
            </a:r>
            <a:r>
              <a:rPr sz="650" spc="5" dirty="0">
                <a:solidFill>
                  <a:srgbClr val="545860"/>
                </a:solidFill>
                <a:latin typeface="Neue Frutiger World" panose="020B0603040304020203" pitchFamily="34" charset="0"/>
                <a:cs typeface="Neue Frutiger World" panose="020B0603040304020203" pitchFamily="34" charset="0"/>
              </a:rPr>
              <a:t>Scientific</a:t>
            </a:r>
            <a:r>
              <a:rPr sz="650" dirty="0">
                <a:solidFill>
                  <a:srgbClr val="545860"/>
                </a:solidFill>
                <a:latin typeface="Neue Frutiger World" panose="020B0603040304020203" pitchFamily="34" charset="0"/>
                <a:cs typeface="Neue Frutiger World" panose="020B0603040304020203" pitchFamily="34" charset="0"/>
              </a:rPr>
              <a:t> </a:t>
            </a:r>
            <a:r>
              <a:rPr sz="650" spc="10" dirty="0">
                <a:solidFill>
                  <a:srgbClr val="545860"/>
                </a:solidFill>
                <a:latin typeface="Neue Frutiger World" panose="020B0603040304020203" pitchFamily="34" charset="0"/>
                <a:cs typeface="Neue Frutiger World" panose="020B0603040304020203" pitchFamily="34" charset="0"/>
              </a:rPr>
              <a:t>Sessions.</a:t>
            </a:r>
            <a:endParaRPr sz="650" dirty="0">
              <a:latin typeface="Neue Frutiger World" panose="020B0603040304020203" pitchFamily="34" charset="0"/>
              <a:cs typeface="Neue Frutiger World" panose="020B0603040304020203" pitchFamily="34" charset="0"/>
            </a:endParaRPr>
          </a:p>
        </p:txBody>
      </p:sp>
      <p:sp>
        <p:nvSpPr>
          <p:cNvPr id="14" name="TextBox 13">
            <a:extLst>
              <a:ext uri="{FF2B5EF4-FFF2-40B4-BE49-F238E27FC236}">
                <a16:creationId xmlns:a16="http://schemas.microsoft.com/office/drawing/2014/main" id="{1D2095D7-B233-4F8B-B08A-40AF3FA2A68C}"/>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4" action="ppaction://hlinksldjump"/>
            <a:extLst>
              <a:ext uri="{FF2B5EF4-FFF2-40B4-BE49-F238E27FC236}">
                <a16:creationId xmlns:a16="http://schemas.microsoft.com/office/drawing/2014/main" id="{E5C68843-920C-4C26-B755-D97BB81A405C}"/>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5" action="ppaction://hlinksldjump"/>
            <a:extLst>
              <a:ext uri="{FF2B5EF4-FFF2-40B4-BE49-F238E27FC236}">
                <a16:creationId xmlns:a16="http://schemas.microsoft.com/office/drawing/2014/main" id="{9F52049F-D3CD-4E21-A658-E4B58BE1A8EE}"/>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6" action="ppaction://hlinksldjump"/>
            <a:extLst>
              <a:ext uri="{FF2B5EF4-FFF2-40B4-BE49-F238E27FC236}">
                <a16:creationId xmlns:a16="http://schemas.microsoft.com/office/drawing/2014/main" id="{21E15838-9048-4C12-B223-8D6596E1EC05}"/>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7" action="ppaction://hlinksldjump"/>
            <a:extLst>
              <a:ext uri="{FF2B5EF4-FFF2-40B4-BE49-F238E27FC236}">
                <a16:creationId xmlns:a16="http://schemas.microsoft.com/office/drawing/2014/main" id="{87384C81-E000-44C1-89A2-2A9BFB249582}"/>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8" action="ppaction://hlinksldjump"/>
            <a:extLst>
              <a:ext uri="{FF2B5EF4-FFF2-40B4-BE49-F238E27FC236}">
                <a16:creationId xmlns:a16="http://schemas.microsoft.com/office/drawing/2014/main" id="{E7822F17-86CF-4211-83BB-1D4EE7E53C12}"/>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9" action="ppaction://hlinksldjump"/>
            <a:extLst>
              <a:ext uri="{FF2B5EF4-FFF2-40B4-BE49-F238E27FC236}">
                <a16:creationId xmlns:a16="http://schemas.microsoft.com/office/drawing/2014/main" id="{0D45184B-B00C-41B7-AACF-EB64A6BA85F7}"/>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0" action="ppaction://hlinksldjump"/>
            <a:extLst>
              <a:ext uri="{FF2B5EF4-FFF2-40B4-BE49-F238E27FC236}">
                <a16:creationId xmlns:a16="http://schemas.microsoft.com/office/drawing/2014/main" id="{ACB0B484-B612-4327-AC41-3D6E2F81785D}"/>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1" action="ppaction://hlinksldjump"/>
            <a:extLst>
              <a:ext uri="{FF2B5EF4-FFF2-40B4-BE49-F238E27FC236}">
                <a16:creationId xmlns:a16="http://schemas.microsoft.com/office/drawing/2014/main" id="{FA276FBB-3AE4-4B94-A6BD-417291167F12}"/>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extLst>
              <a:ext uri="{FF2B5EF4-FFF2-40B4-BE49-F238E27FC236}">
                <a16:creationId xmlns:a16="http://schemas.microsoft.com/office/drawing/2014/main" id="{D26C39D0-C343-4E7D-AC4F-78411E408D6F}"/>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2" action="ppaction://hlinksldjump"/>
            <a:extLst>
              <a:ext uri="{FF2B5EF4-FFF2-40B4-BE49-F238E27FC236}">
                <a16:creationId xmlns:a16="http://schemas.microsoft.com/office/drawing/2014/main" id="{8B474695-B5C7-4908-AEE3-152CBB1667D8}"/>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3" action="ppaction://hlinksldjump"/>
            <a:extLst>
              <a:ext uri="{FF2B5EF4-FFF2-40B4-BE49-F238E27FC236}">
                <a16:creationId xmlns:a16="http://schemas.microsoft.com/office/drawing/2014/main" id="{D08C5E60-CB77-4C28-9113-5E01E10572FF}"/>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4" action="ppaction://hlinksldjump"/>
            <a:extLst>
              <a:ext uri="{FF2B5EF4-FFF2-40B4-BE49-F238E27FC236}">
                <a16:creationId xmlns:a16="http://schemas.microsoft.com/office/drawing/2014/main" id="{C351B0DE-7182-4F68-8BE1-FB3E0E69BF38}"/>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5" action="ppaction://hlinksldjump"/>
            <a:extLst>
              <a:ext uri="{FF2B5EF4-FFF2-40B4-BE49-F238E27FC236}">
                <a16:creationId xmlns:a16="http://schemas.microsoft.com/office/drawing/2014/main" id="{944A6634-2980-4509-AF2B-3D98F82B1E24}"/>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6" action="ppaction://hlinksldjump"/>
            <a:extLst>
              <a:ext uri="{FF2B5EF4-FFF2-40B4-BE49-F238E27FC236}">
                <a16:creationId xmlns:a16="http://schemas.microsoft.com/office/drawing/2014/main" id="{62C36C81-6C48-4733-8108-3B7B19B356EC}"/>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17" action="ppaction://hlinksldjump"/>
            <a:extLst>
              <a:ext uri="{FF2B5EF4-FFF2-40B4-BE49-F238E27FC236}">
                <a16:creationId xmlns:a16="http://schemas.microsoft.com/office/drawing/2014/main" id="{9C3006C5-2532-4B05-BA8E-056D2516B3AA}"/>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18" action="ppaction://hlinksldjump"/>
            <a:extLst>
              <a:ext uri="{FF2B5EF4-FFF2-40B4-BE49-F238E27FC236}">
                <a16:creationId xmlns:a16="http://schemas.microsoft.com/office/drawing/2014/main" id="{4A5E08A4-BC4D-4121-BFBC-D014843B018E}"/>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19" action="ppaction://hlinksldjump"/>
            <a:extLst>
              <a:ext uri="{FF2B5EF4-FFF2-40B4-BE49-F238E27FC236}">
                <a16:creationId xmlns:a16="http://schemas.microsoft.com/office/drawing/2014/main" id="{ADDD5846-1AE2-4987-B62D-C0CECB4A615C}"/>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20" action="ppaction://hlinksldjump"/>
            <a:extLst>
              <a:ext uri="{FF2B5EF4-FFF2-40B4-BE49-F238E27FC236}">
                <a16:creationId xmlns:a16="http://schemas.microsoft.com/office/drawing/2014/main" id="{9A6C05D5-F23A-4C0F-9F4A-57D140EB39DA}"/>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1" action="ppaction://hlinksldjump"/>
            <a:extLst>
              <a:ext uri="{FF2B5EF4-FFF2-40B4-BE49-F238E27FC236}">
                <a16:creationId xmlns:a16="http://schemas.microsoft.com/office/drawing/2014/main" id="{F3414EDB-2B55-465E-830F-85A81867BCA4}"/>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2" action="ppaction://hlinksldjump"/>
            <a:extLst>
              <a:ext uri="{FF2B5EF4-FFF2-40B4-BE49-F238E27FC236}">
                <a16:creationId xmlns:a16="http://schemas.microsoft.com/office/drawing/2014/main" id="{C6A47554-849C-4706-B271-8CAF5D439B61}"/>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23" action="ppaction://hlinksldjump"/>
            <a:extLst>
              <a:ext uri="{FF2B5EF4-FFF2-40B4-BE49-F238E27FC236}">
                <a16:creationId xmlns:a16="http://schemas.microsoft.com/office/drawing/2014/main" id="{816793CD-C89A-4485-AD77-4192C3E5C59C}"/>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24" action="ppaction://hlinksldjump"/>
            <a:extLst>
              <a:ext uri="{FF2B5EF4-FFF2-40B4-BE49-F238E27FC236}">
                <a16:creationId xmlns:a16="http://schemas.microsoft.com/office/drawing/2014/main" id="{4B3C2418-E226-446E-B4C5-08ECB00B1AF5}"/>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extLst>
              <a:ext uri="{FF2B5EF4-FFF2-40B4-BE49-F238E27FC236}">
                <a16:creationId xmlns:a16="http://schemas.microsoft.com/office/drawing/2014/main" id="{43EA2698-8A43-463D-8379-E38367839545}"/>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25" action="ppaction://hlinksldjump"/>
            <a:extLst>
              <a:ext uri="{FF2B5EF4-FFF2-40B4-BE49-F238E27FC236}">
                <a16:creationId xmlns:a16="http://schemas.microsoft.com/office/drawing/2014/main" id="{D8B89D16-4CF6-4536-A9B9-118D60969E31}"/>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26" action="ppaction://hlinksldjump"/>
            <a:extLst>
              <a:ext uri="{FF2B5EF4-FFF2-40B4-BE49-F238E27FC236}">
                <a16:creationId xmlns:a16="http://schemas.microsoft.com/office/drawing/2014/main" id="{633A5B09-8E25-49F2-B17E-6D122A7CCD8E}"/>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27" action="ppaction://hlinksldjump"/>
            <a:extLst>
              <a:ext uri="{FF2B5EF4-FFF2-40B4-BE49-F238E27FC236}">
                <a16:creationId xmlns:a16="http://schemas.microsoft.com/office/drawing/2014/main" id="{F1C502AA-2F0C-4EC9-9D47-C1DB996274FD}"/>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extLst>
              <a:ext uri="{FF2B5EF4-FFF2-40B4-BE49-F238E27FC236}">
                <a16:creationId xmlns:a16="http://schemas.microsoft.com/office/drawing/2014/main" id="{72F78A17-DB5B-42F0-A76F-9FBDEDB0B7B0}"/>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42" name="Table 41">
            <a:extLst>
              <a:ext uri="{FF2B5EF4-FFF2-40B4-BE49-F238E27FC236}">
                <a16:creationId xmlns:a16="http://schemas.microsoft.com/office/drawing/2014/main" id="{20104DA6-6AB9-48D4-AE15-DB3FBF671368}"/>
              </a:ext>
            </a:extLst>
          </p:cNvPr>
          <p:cNvGraphicFramePr>
            <a:graphicFrameLocks noGrp="1"/>
          </p:cNvGraphicFramePr>
          <p:nvPr>
            <p:extLst>
              <p:ext uri="{D42A27DB-BD31-4B8C-83A1-F6EECF244321}">
                <p14:modId xmlns:p14="http://schemas.microsoft.com/office/powerpoint/2010/main" val="1269313350"/>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43" name="Rectangle 42">
            <a:hlinkClick r:id="rId4" action="ppaction://hlinksldjump"/>
            <a:extLst>
              <a:ext uri="{FF2B5EF4-FFF2-40B4-BE49-F238E27FC236}">
                <a16:creationId xmlns:a16="http://schemas.microsoft.com/office/drawing/2014/main" id="{8F6FF0B1-1463-464F-BF78-208ECFD37117}"/>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5" action="ppaction://hlinksldjump"/>
            <a:extLst>
              <a:ext uri="{FF2B5EF4-FFF2-40B4-BE49-F238E27FC236}">
                <a16:creationId xmlns:a16="http://schemas.microsoft.com/office/drawing/2014/main" id="{70B4C510-5769-4A22-94B0-771A8DF1A349}"/>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6" action="ppaction://hlinksldjump"/>
            <a:extLst>
              <a:ext uri="{FF2B5EF4-FFF2-40B4-BE49-F238E27FC236}">
                <a16:creationId xmlns:a16="http://schemas.microsoft.com/office/drawing/2014/main" id="{776BF7AC-36D1-44F8-BEBF-2708B0CF8327}"/>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7" action="ppaction://hlinksldjump"/>
            <a:extLst>
              <a:ext uri="{FF2B5EF4-FFF2-40B4-BE49-F238E27FC236}">
                <a16:creationId xmlns:a16="http://schemas.microsoft.com/office/drawing/2014/main" id="{D98CBF66-0F3F-40DC-B9B6-D4EEEA4573FA}"/>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8" action="ppaction://hlinksldjump"/>
            <a:extLst>
              <a:ext uri="{FF2B5EF4-FFF2-40B4-BE49-F238E27FC236}">
                <a16:creationId xmlns:a16="http://schemas.microsoft.com/office/drawing/2014/main" id="{8BBF75BC-2D2E-4604-AA37-6475287AB5DE}"/>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9" action="ppaction://hlinksldjump"/>
            <a:extLst>
              <a:ext uri="{FF2B5EF4-FFF2-40B4-BE49-F238E27FC236}">
                <a16:creationId xmlns:a16="http://schemas.microsoft.com/office/drawing/2014/main" id="{A322D1A4-E915-47CB-9876-12D73AB06C04}"/>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0" action="ppaction://hlinksldjump"/>
            <a:extLst>
              <a:ext uri="{FF2B5EF4-FFF2-40B4-BE49-F238E27FC236}">
                <a16:creationId xmlns:a16="http://schemas.microsoft.com/office/drawing/2014/main" id="{B255C7DF-CBBD-431D-B36E-8E9D7E42F0DB}"/>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1" action="ppaction://hlinksldjump"/>
            <a:extLst>
              <a:ext uri="{FF2B5EF4-FFF2-40B4-BE49-F238E27FC236}">
                <a16:creationId xmlns:a16="http://schemas.microsoft.com/office/drawing/2014/main" id="{58C7088C-F52C-4249-A67B-0D7F8622EFCE}"/>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extLst>
              <a:ext uri="{FF2B5EF4-FFF2-40B4-BE49-F238E27FC236}">
                <a16:creationId xmlns:a16="http://schemas.microsoft.com/office/drawing/2014/main" id="{9B24B9F6-8713-4E54-8968-0751E5C82EB7}"/>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2" action="ppaction://hlinksldjump"/>
            <a:extLst>
              <a:ext uri="{FF2B5EF4-FFF2-40B4-BE49-F238E27FC236}">
                <a16:creationId xmlns:a16="http://schemas.microsoft.com/office/drawing/2014/main" id="{B91CF59D-7A9C-4B96-9E22-FC9CE46CCDDC}"/>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3" action="ppaction://hlinksldjump"/>
            <a:extLst>
              <a:ext uri="{FF2B5EF4-FFF2-40B4-BE49-F238E27FC236}">
                <a16:creationId xmlns:a16="http://schemas.microsoft.com/office/drawing/2014/main" id="{B55D8E17-5CD3-4D2C-9333-5201F1011783}"/>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4" action="ppaction://hlinksldjump"/>
            <a:extLst>
              <a:ext uri="{FF2B5EF4-FFF2-40B4-BE49-F238E27FC236}">
                <a16:creationId xmlns:a16="http://schemas.microsoft.com/office/drawing/2014/main" id="{87CA64DD-C3AC-4FE1-A05C-0F4DA5EF216A}"/>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5" action="ppaction://hlinksldjump"/>
            <a:extLst>
              <a:ext uri="{FF2B5EF4-FFF2-40B4-BE49-F238E27FC236}">
                <a16:creationId xmlns:a16="http://schemas.microsoft.com/office/drawing/2014/main" id="{301291F1-3956-4523-85A3-A70C4406E9D2}"/>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6" action="ppaction://hlinksldjump"/>
            <a:extLst>
              <a:ext uri="{FF2B5EF4-FFF2-40B4-BE49-F238E27FC236}">
                <a16:creationId xmlns:a16="http://schemas.microsoft.com/office/drawing/2014/main" id="{6ECC94BA-D473-4AF4-975A-E3E50B6F2943}"/>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7" action="ppaction://hlinksldjump"/>
            <a:extLst>
              <a:ext uri="{FF2B5EF4-FFF2-40B4-BE49-F238E27FC236}">
                <a16:creationId xmlns:a16="http://schemas.microsoft.com/office/drawing/2014/main" id="{8328AE81-A468-46E0-808A-32C7FFE29371}"/>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18" action="ppaction://hlinksldjump"/>
            <a:extLst>
              <a:ext uri="{FF2B5EF4-FFF2-40B4-BE49-F238E27FC236}">
                <a16:creationId xmlns:a16="http://schemas.microsoft.com/office/drawing/2014/main" id="{299C4743-F7C3-4673-8E39-95F0F9DD69C1}"/>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19" action="ppaction://hlinksldjump"/>
            <a:extLst>
              <a:ext uri="{FF2B5EF4-FFF2-40B4-BE49-F238E27FC236}">
                <a16:creationId xmlns:a16="http://schemas.microsoft.com/office/drawing/2014/main" id="{E01CA480-5D17-4165-B67A-539DF172D525}"/>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20" action="ppaction://hlinksldjump"/>
            <a:extLst>
              <a:ext uri="{FF2B5EF4-FFF2-40B4-BE49-F238E27FC236}">
                <a16:creationId xmlns:a16="http://schemas.microsoft.com/office/drawing/2014/main" id="{491512A0-F57D-4EB1-9B46-9132FA444783}"/>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1" action="ppaction://hlinksldjump"/>
            <a:extLst>
              <a:ext uri="{FF2B5EF4-FFF2-40B4-BE49-F238E27FC236}">
                <a16:creationId xmlns:a16="http://schemas.microsoft.com/office/drawing/2014/main" id="{873C89B0-E875-43CA-8D0D-498BC49A7E83}"/>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2" action="ppaction://hlinksldjump"/>
            <a:extLst>
              <a:ext uri="{FF2B5EF4-FFF2-40B4-BE49-F238E27FC236}">
                <a16:creationId xmlns:a16="http://schemas.microsoft.com/office/drawing/2014/main" id="{27653FED-4D91-435D-BF5B-661205C1CD5D}"/>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23" action="ppaction://hlinksldjump"/>
            <a:extLst>
              <a:ext uri="{FF2B5EF4-FFF2-40B4-BE49-F238E27FC236}">
                <a16:creationId xmlns:a16="http://schemas.microsoft.com/office/drawing/2014/main" id="{A0857DD3-17E8-436B-96AF-C294F59BC4BB}"/>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24" action="ppaction://hlinksldjump"/>
            <a:extLst>
              <a:ext uri="{FF2B5EF4-FFF2-40B4-BE49-F238E27FC236}">
                <a16:creationId xmlns:a16="http://schemas.microsoft.com/office/drawing/2014/main" id="{269420F1-9C7B-47A7-9C12-763D62C1208D}"/>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extLst>
              <a:ext uri="{FF2B5EF4-FFF2-40B4-BE49-F238E27FC236}">
                <a16:creationId xmlns:a16="http://schemas.microsoft.com/office/drawing/2014/main" id="{2417DFDA-D900-4ACB-A264-B2484023CE52}"/>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25" action="ppaction://hlinksldjump"/>
            <a:extLst>
              <a:ext uri="{FF2B5EF4-FFF2-40B4-BE49-F238E27FC236}">
                <a16:creationId xmlns:a16="http://schemas.microsoft.com/office/drawing/2014/main" id="{24A68E82-86F5-4EE5-87B4-DC72FA532C91}"/>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26" action="ppaction://hlinksldjump"/>
            <a:extLst>
              <a:ext uri="{FF2B5EF4-FFF2-40B4-BE49-F238E27FC236}">
                <a16:creationId xmlns:a16="http://schemas.microsoft.com/office/drawing/2014/main" id="{EE139229-AFB9-4F88-BCA1-319FC6539BD4}"/>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8" name="Rectangle 67">
            <a:hlinkClick r:id="rId27" action="ppaction://hlinksldjump"/>
            <a:extLst>
              <a:ext uri="{FF2B5EF4-FFF2-40B4-BE49-F238E27FC236}">
                <a16:creationId xmlns:a16="http://schemas.microsoft.com/office/drawing/2014/main" id="{96A83054-2D9C-47DF-889E-8FEBFFC2B568}"/>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232829955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90AF2-3E1C-4715-9B32-518C310A034A}"/>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Resources</a:t>
            </a:r>
          </a:p>
        </p:txBody>
      </p:sp>
      <p:sp>
        <p:nvSpPr>
          <p:cNvPr id="3" name="Footer Placeholder 2">
            <a:extLst>
              <a:ext uri="{FF2B5EF4-FFF2-40B4-BE49-F238E27FC236}">
                <a16:creationId xmlns:a16="http://schemas.microsoft.com/office/drawing/2014/main" id="{9F8D7BC3-6104-4407-B3AB-A9C7E9486075}"/>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9D1D098B-CD45-40CE-9618-3241AE4F5598}"/>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26</a:t>
            </a:fld>
            <a:endParaRPr lang="en-US" noProof="0" dirty="0">
              <a:latin typeface="Neue Frutiger World" panose="020B0603040304020203" pitchFamily="34" charset="0"/>
              <a:cs typeface="Neue Frutiger World" panose="020B0603040304020203" pitchFamily="34" charset="0"/>
            </a:endParaRPr>
          </a:p>
        </p:txBody>
      </p:sp>
      <p:sp>
        <p:nvSpPr>
          <p:cNvPr id="6" name="object 4">
            <a:extLst>
              <a:ext uri="{FF2B5EF4-FFF2-40B4-BE49-F238E27FC236}">
                <a16:creationId xmlns:a16="http://schemas.microsoft.com/office/drawing/2014/main" id="{583DFB33-7173-4F5D-8A5A-2BD2A56EA2AD}"/>
              </a:ext>
            </a:extLst>
          </p:cNvPr>
          <p:cNvSpPr txBox="1"/>
          <p:nvPr/>
        </p:nvSpPr>
        <p:spPr>
          <a:xfrm>
            <a:off x="1547665" y="771550"/>
            <a:ext cx="7200800" cy="3055324"/>
          </a:xfrm>
          <a:prstGeom prst="rect">
            <a:avLst/>
          </a:prstGeom>
        </p:spPr>
        <p:txBody>
          <a:bodyPr vert="horz" wrap="square" lIns="0" tIns="74930" rIns="0" bIns="0" rtlCol="0">
            <a:spAutoFit/>
          </a:bodyPr>
          <a:lstStyle/>
          <a:p>
            <a:pPr marL="12699">
              <a:spcBef>
                <a:spcPts val="590"/>
              </a:spcBef>
            </a:pPr>
            <a:r>
              <a:rPr sz="900" spc="-20" dirty="0">
                <a:solidFill>
                  <a:srgbClr val="231F20"/>
                </a:solidFill>
                <a:latin typeface="Neue Frutiger World" panose="020B0603040304020203" pitchFamily="34" charset="0"/>
                <a:cs typeface="Neue Frutiger World" panose="020B0603040304020203" pitchFamily="34" charset="0"/>
              </a:rPr>
              <a:t>CIED</a:t>
            </a:r>
            <a:r>
              <a:rPr sz="900" spc="-6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fection</a:t>
            </a:r>
            <a:r>
              <a:rPr sz="900" spc="-9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Value</a:t>
            </a:r>
            <a:r>
              <a:rPr sz="900" spc="-6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ossier</a:t>
            </a:r>
            <a:r>
              <a:rPr sz="900" spc="-11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Tools</a:t>
            </a:r>
            <a:r>
              <a:rPr sz="900" spc="-60" dirty="0">
                <a:solidFill>
                  <a:srgbClr val="231F20"/>
                </a:solidFill>
                <a:latin typeface="Neue Frutiger World" panose="020B0603040304020203" pitchFamily="34" charset="0"/>
                <a:cs typeface="Neue Frutiger World" panose="020B0603040304020203" pitchFamily="34" charset="0"/>
              </a:rPr>
              <a:t> </a:t>
            </a:r>
            <a:r>
              <a:rPr sz="900" spc="-20" dirty="0">
                <a:solidFill>
                  <a:srgbClr val="231F20"/>
                </a:solidFill>
                <a:latin typeface="Neue Frutiger World" panose="020B0603040304020203" pitchFamily="34" charset="0"/>
                <a:cs typeface="Neue Frutiger World" panose="020B0603040304020203" pitchFamily="34" charset="0"/>
              </a:rPr>
              <a:t>(Brochure,</a:t>
            </a:r>
            <a:r>
              <a:rPr sz="900" spc="-6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PowerPoint,</a:t>
            </a:r>
            <a:r>
              <a:rPr sz="900" spc="-6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and</a:t>
            </a:r>
            <a:r>
              <a:rPr sz="900" spc="-6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Flashcard)</a:t>
            </a:r>
            <a:endParaRPr sz="900" dirty="0">
              <a:latin typeface="Neue Frutiger World" panose="020B0603040304020203" pitchFamily="34" charset="0"/>
              <a:cs typeface="Neue Frutiger World" panose="020B0603040304020203" pitchFamily="34" charset="0"/>
            </a:endParaRPr>
          </a:p>
          <a:p>
            <a:pPr marL="12699" marR="391762">
              <a:lnSpc>
                <a:spcPct val="104200"/>
              </a:lnSpc>
              <a:spcBef>
                <a:spcPts val="450"/>
              </a:spcBef>
            </a:pPr>
            <a:r>
              <a:rPr sz="900" spc="-15" dirty="0">
                <a:solidFill>
                  <a:srgbClr val="231F20"/>
                </a:solidFill>
                <a:latin typeface="Neue Frutiger World" panose="020B0603040304020203" pitchFamily="34" charset="0"/>
                <a:cs typeface="Neue Frutiger World" panose="020B0603040304020203" pitchFamily="34" charset="0"/>
              </a:rPr>
              <a:t>Tools</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primarily</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esigned</a:t>
            </a:r>
            <a:r>
              <a:rPr sz="900" spc="10" dirty="0">
                <a:solidFill>
                  <a:srgbClr val="231F20"/>
                </a:solidFill>
                <a:latin typeface="Neue Frutiger World" panose="020B0603040304020203" pitchFamily="34" charset="0"/>
                <a:cs typeface="Neue Frutiger World" panose="020B0603040304020203" pitchFamily="34" charset="0"/>
              </a:rPr>
              <a:t> </a:t>
            </a:r>
            <a:r>
              <a:rPr sz="900" spc="-20" dirty="0">
                <a:solidFill>
                  <a:srgbClr val="231F20"/>
                </a:solidFill>
                <a:latin typeface="Neue Frutiger World" panose="020B0603040304020203" pitchFamily="34" charset="0"/>
                <a:cs typeface="Neue Frutiger World" panose="020B0603040304020203" pitchFamily="34" charset="0"/>
              </a:rPr>
              <a:t>to</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educate</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VSL</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leaders</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nd</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other</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ospital</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dministrators </a:t>
            </a:r>
            <a:r>
              <a:rPr sz="900" spc="-5" dirty="0">
                <a:solidFill>
                  <a:srgbClr val="231F20"/>
                </a:solidFill>
                <a:latin typeface="Neue Frutiger World" panose="020B0603040304020203" pitchFamily="34" charset="0"/>
                <a:cs typeface="Neue Frutiger World" panose="020B0603040304020203" pitchFamily="34" charset="0"/>
              </a:rPr>
              <a:t>with</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polishe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n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powerful</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linical</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n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economic</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message</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n</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fection.</a:t>
            </a:r>
            <a:r>
              <a:rPr lang="en-GB"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ospital</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pecific</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epsis</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alculator and</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owerPoint.</a:t>
            </a:r>
            <a:r>
              <a:rPr sz="900" spc="2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Easily</a:t>
            </a:r>
            <a:r>
              <a:rPr sz="900" spc="-10" dirty="0">
                <a:solidFill>
                  <a:srgbClr val="231F20"/>
                </a:solidFill>
                <a:latin typeface="Neue Frutiger World" panose="020B0603040304020203" pitchFamily="34" charset="0"/>
                <a:cs typeface="Neue Frutiger World" panose="020B0603040304020203" pitchFamily="34" charset="0"/>
              </a:rPr>
              <a:t> calculate</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otential</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IED</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infection</a:t>
            </a:r>
            <a:r>
              <a:rPr sz="900" spc="2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related</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ospital</a:t>
            </a:r>
            <a:r>
              <a:rPr sz="900" spc="2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costs</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pecifically</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from</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heir</a:t>
            </a:r>
            <a:r>
              <a:rPr sz="90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submitte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sepsis</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ata.</a:t>
            </a:r>
            <a:endParaRPr sz="900" dirty="0">
              <a:latin typeface="Neue Frutiger World" panose="020B0603040304020203" pitchFamily="34" charset="0"/>
              <a:cs typeface="Neue Frutiger World" panose="020B0603040304020203" pitchFamily="34" charset="0"/>
            </a:endParaRPr>
          </a:p>
          <a:p>
            <a:pPr>
              <a:spcBef>
                <a:spcPts val="35"/>
              </a:spcBef>
            </a:pPr>
            <a:endParaRPr sz="900" dirty="0">
              <a:latin typeface="Neue Frutiger World" panose="020B0603040304020203" pitchFamily="34" charset="0"/>
              <a:cs typeface="Neue Frutiger World" panose="020B0603040304020203" pitchFamily="34" charset="0"/>
            </a:endParaRPr>
          </a:p>
          <a:p>
            <a:pPr marL="12699">
              <a:spcBef>
                <a:spcPts val="5"/>
              </a:spcBef>
            </a:pPr>
            <a:r>
              <a:rPr sz="900" spc="-80" dirty="0">
                <a:solidFill>
                  <a:srgbClr val="231F20"/>
                </a:solidFill>
                <a:latin typeface="Neue Frutiger World" panose="020B0603040304020203" pitchFamily="34" charset="0"/>
                <a:cs typeface="Neue Frutiger World" panose="020B0603040304020203" pitchFamily="34" charset="0"/>
              </a:rPr>
              <a:t>I</a:t>
            </a:r>
            <a:r>
              <a:rPr sz="900" spc="25" dirty="0">
                <a:solidFill>
                  <a:srgbClr val="231F20"/>
                </a:solidFill>
                <a:latin typeface="Neue Frutiger World" panose="020B0603040304020203" pitchFamily="34" charset="0"/>
                <a:cs typeface="Neue Frutiger World" panose="020B0603040304020203" pitchFamily="34" charset="0"/>
              </a:rPr>
              <a:t>n</a:t>
            </a:r>
            <a:r>
              <a:rPr sz="900" spc="5" dirty="0">
                <a:solidFill>
                  <a:srgbClr val="231F20"/>
                </a:solidFill>
                <a:latin typeface="Neue Frutiger World" panose="020B0603040304020203" pitchFamily="34" charset="0"/>
                <a:cs typeface="Neue Frutiger World" panose="020B0603040304020203" pitchFamily="34" charset="0"/>
              </a:rPr>
              <a:t>f</a:t>
            </a:r>
            <a:r>
              <a:rPr sz="900" dirty="0">
                <a:solidFill>
                  <a:srgbClr val="231F20"/>
                </a:solidFill>
                <a:latin typeface="Neue Frutiger World" panose="020B0603040304020203" pitchFamily="34" charset="0"/>
                <a:cs typeface="Neue Frutiger World" panose="020B0603040304020203" pitchFamily="34" charset="0"/>
              </a:rPr>
              <a:t>ection</a:t>
            </a:r>
            <a:r>
              <a:rPr sz="900" spc="-70" dirty="0">
                <a:solidFill>
                  <a:srgbClr val="231F20"/>
                </a:solidFill>
                <a:latin typeface="Neue Frutiger World" panose="020B0603040304020203" pitchFamily="34" charset="0"/>
                <a:cs typeface="Neue Frutiger World" panose="020B0603040304020203" pitchFamily="34" charset="0"/>
              </a:rPr>
              <a:t> </a:t>
            </a:r>
            <a:r>
              <a:rPr sz="900" spc="25" dirty="0">
                <a:solidFill>
                  <a:srgbClr val="231F20"/>
                </a:solidFill>
                <a:latin typeface="Neue Frutiger World" panose="020B0603040304020203" pitchFamily="34" charset="0"/>
                <a:cs typeface="Neue Frutiger World" panose="020B0603040304020203" pitchFamily="34" charset="0"/>
              </a:rPr>
              <a:t>in</a:t>
            </a:r>
            <a:r>
              <a:rPr sz="900" spc="10" dirty="0">
                <a:solidFill>
                  <a:srgbClr val="231F20"/>
                </a:solidFill>
                <a:latin typeface="Neue Frutiger World" panose="020B0603040304020203" pitchFamily="34" charset="0"/>
                <a:cs typeface="Neue Frutiger World" panose="020B0603040304020203" pitchFamily="34" charset="0"/>
              </a:rPr>
              <a:t>f</a:t>
            </a:r>
            <a:r>
              <a:rPr sz="900" spc="-10" dirty="0">
                <a:solidFill>
                  <a:srgbClr val="231F20"/>
                </a:solidFill>
                <a:latin typeface="Neue Frutiger World" panose="020B0603040304020203" pitchFamily="34" charset="0"/>
                <a:cs typeface="Neue Frutiger World" panose="020B0603040304020203" pitchFamily="34" charset="0"/>
              </a:rPr>
              <a:t>og</a:t>
            </a:r>
            <a:r>
              <a:rPr sz="900" spc="-15" dirty="0">
                <a:solidFill>
                  <a:srgbClr val="231F20"/>
                </a:solidFill>
                <a:latin typeface="Neue Frutiger World" panose="020B0603040304020203" pitchFamily="34" charset="0"/>
                <a:cs typeface="Neue Frutiger World" panose="020B0603040304020203" pitchFamily="34" charset="0"/>
              </a:rPr>
              <a:t>r</a:t>
            </a:r>
            <a:r>
              <a:rPr sz="900" spc="5" dirty="0">
                <a:solidFill>
                  <a:srgbClr val="231F20"/>
                </a:solidFill>
                <a:latin typeface="Neue Frutiger World" panose="020B0603040304020203" pitchFamily="34" charset="0"/>
                <a:cs typeface="Neue Frutiger World" panose="020B0603040304020203" pitchFamily="34" charset="0"/>
              </a:rPr>
              <a:t>aphic</a:t>
            </a:r>
            <a:endParaRPr sz="900" dirty="0">
              <a:latin typeface="Neue Frutiger World" panose="020B0603040304020203" pitchFamily="34" charset="0"/>
              <a:cs typeface="Neue Frutiger World" panose="020B0603040304020203" pitchFamily="34" charset="0"/>
            </a:endParaRPr>
          </a:p>
          <a:p>
            <a:pPr marL="12699">
              <a:spcBef>
                <a:spcPts val="489"/>
              </a:spcBef>
            </a:pPr>
            <a:r>
              <a:rPr sz="900" spc="-5" dirty="0">
                <a:solidFill>
                  <a:srgbClr val="231F20"/>
                </a:solidFill>
                <a:latin typeface="Neue Frutiger World" panose="020B0603040304020203" pitchFamily="34" charset="0"/>
                <a:cs typeface="Neue Frutiger World" panose="020B0603040304020203" pitchFamily="34" charset="0"/>
              </a:rPr>
              <a:t>Visual</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representation</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f</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he</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under</a:t>
            </a:r>
            <a:r>
              <a:rPr sz="900" spc="-10" dirty="0">
                <a:solidFill>
                  <a:srgbClr val="231F20"/>
                </a:solidFill>
                <a:latin typeface="Neue Frutiger World" panose="020B0603040304020203" pitchFamily="34" charset="0"/>
                <a:cs typeface="Neue Frutiger World" panose="020B0603040304020203" pitchFamily="34" charset="0"/>
              </a:rPr>
              <a:t> </a:t>
            </a:r>
            <a:r>
              <a:rPr sz="900" spc="-15" dirty="0">
                <a:solidFill>
                  <a:srgbClr val="231F20"/>
                </a:solidFill>
                <a:latin typeface="Neue Frutiger World" panose="020B0603040304020203" pitchFamily="34" charset="0"/>
                <a:cs typeface="Neue Frutiger World" panose="020B0603040304020203" pitchFamily="34" charset="0"/>
              </a:rPr>
              <a:t>treatment</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f</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IED</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infection</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atients.</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021403</a:t>
            </a:r>
            <a:endParaRPr sz="900" dirty="0">
              <a:latin typeface="Neue Frutiger World" panose="020B0603040304020203" pitchFamily="34" charset="0"/>
              <a:cs typeface="Neue Frutiger World" panose="020B0603040304020203" pitchFamily="34" charset="0"/>
            </a:endParaRPr>
          </a:p>
          <a:p>
            <a:pPr>
              <a:spcBef>
                <a:spcPts val="35"/>
              </a:spcBef>
            </a:pPr>
            <a:endParaRPr sz="900" dirty="0">
              <a:latin typeface="Neue Frutiger World" panose="020B0603040304020203" pitchFamily="34" charset="0"/>
              <a:cs typeface="Neue Frutiger World" panose="020B0603040304020203" pitchFamily="34" charset="0"/>
            </a:endParaRPr>
          </a:p>
          <a:p>
            <a:pPr marL="12699">
              <a:spcBef>
                <a:spcPts val="5"/>
              </a:spcBef>
            </a:pPr>
            <a:r>
              <a:rPr sz="900" spc="-35" dirty="0">
                <a:solidFill>
                  <a:srgbClr val="231F20"/>
                </a:solidFill>
                <a:latin typeface="Neue Frutiger World" panose="020B0603040304020203" pitchFamily="34" charset="0"/>
                <a:cs typeface="Neue Frutiger World" panose="020B0603040304020203" pitchFamily="34" charset="0"/>
              </a:rPr>
              <a:t>C</a:t>
            </a:r>
            <a:r>
              <a:rPr sz="900" dirty="0">
                <a:solidFill>
                  <a:srgbClr val="231F20"/>
                </a:solidFill>
                <a:latin typeface="Neue Frutiger World" panose="020B0603040304020203" pitchFamily="34" charset="0"/>
                <a:cs typeface="Neue Frutiger World" panose="020B0603040304020203" pitchFamily="34" charset="0"/>
              </a:rPr>
              <a:t>ost</a:t>
            </a:r>
            <a:r>
              <a:rPr sz="900" spc="-70" dirty="0">
                <a:solidFill>
                  <a:srgbClr val="231F20"/>
                </a:solidFill>
                <a:latin typeface="Neue Frutiger World" panose="020B0603040304020203" pitchFamily="34" charset="0"/>
                <a:cs typeface="Neue Frutiger World" panose="020B0603040304020203" pitchFamily="34" charset="0"/>
              </a:rPr>
              <a:t> </a:t>
            </a:r>
            <a:r>
              <a:rPr sz="900" spc="25" dirty="0">
                <a:solidFill>
                  <a:srgbClr val="231F20"/>
                </a:solidFill>
                <a:latin typeface="Neue Frutiger World" panose="020B0603040304020203" pitchFamily="34" charset="0"/>
                <a:cs typeface="Neue Frutiger World" panose="020B0603040304020203" pitchFamily="34" charset="0"/>
              </a:rPr>
              <a:t>of</a:t>
            </a:r>
            <a:r>
              <a:rPr sz="900" spc="-90" dirty="0">
                <a:solidFill>
                  <a:srgbClr val="231F20"/>
                </a:solidFill>
                <a:latin typeface="Neue Frutiger World" panose="020B0603040304020203" pitchFamily="34" charset="0"/>
                <a:cs typeface="Neue Frutiger World" panose="020B0603040304020203" pitchFamily="34" charset="0"/>
              </a:rPr>
              <a:t> </a:t>
            </a:r>
            <a:r>
              <a:rPr sz="900" spc="25" dirty="0">
                <a:solidFill>
                  <a:srgbClr val="231F20"/>
                </a:solidFill>
                <a:latin typeface="Neue Frutiger World" panose="020B0603040304020203" pitchFamily="34" charset="0"/>
                <a:cs typeface="Neue Frutiger World" panose="020B0603040304020203" pitchFamily="34" charset="0"/>
              </a:rPr>
              <a:t>in</a:t>
            </a:r>
            <a:r>
              <a:rPr sz="900" spc="10" dirty="0">
                <a:solidFill>
                  <a:srgbClr val="231F20"/>
                </a:solidFill>
                <a:latin typeface="Neue Frutiger World" panose="020B0603040304020203" pitchFamily="34" charset="0"/>
                <a:cs typeface="Neue Frutiger World" panose="020B0603040304020203" pitchFamily="34" charset="0"/>
              </a:rPr>
              <a:t>f</a:t>
            </a:r>
            <a:r>
              <a:rPr sz="900" dirty="0">
                <a:solidFill>
                  <a:srgbClr val="231F20"/>
                </a:solidFill>
                <a:latin typeface="Neue Frutiger World" panose="020B0603040304020203" pitchFamily="34" charset="0"/>
                <a:cs typeface="Neue Frutiger World" panose="020B0603040304020203" pitchFamily="34" charset="0"/>
              </a:rPr>
              <a:t>ection</a:t>
            </a:r>
            <a:r>
              <a:rPr sz="900" spc="-7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a:t>
            </a:r>
            <a:r>
              <a:rPr sz="900" spc="-5" dirty="0">
                <a:solidFill>
                  <a:srgbClr val="231F20"/>
                </a:solidFill>
                <a:latin typeface="Neue Frutiger World" panose="020B0603040304020203" pitchFamily="34" charset="0"/>
                <a:cs typeface="Neue Frutiger World" panose="020B0603040304020203" pitchFamily="34" charset="0"/>
              </a:rPr>
              <a:t>o</a:t>
            </a:r>
            <a:r>
              <a:rPr sz="900" spc="10" dirty="0">
                <a:solidFill>
                  <a:srgbClr val="231F20"/>
                </a:solidFill>
                <a:latin typeface="Neue Frutiger World" panose="020B0603040304020203" pitchFamily="34" charset="0"/>
                <a:cs typeface="Neue Frutiger World" panose="020B0603040304020203" pitchFamily="34" charset="0"/>
              </a:rPr>
              <a:t>w</a:t>
            </a:r>
            <a:r>
              <a:rPr sz="900" spc="-10" dirty="0">
                <a:solidFill>
                  <a:srgbClr val="231F20"/>
                </a:solidFill>
                <a:latin typeface="Neue Frutiger World" panose="020B0603040304020203" pitchFamily="34" charset="0"/>
                <a:cs typeface="Neue Frutiger World" panose="020B0603040304020203" pitchFamily="34" charset="0"/>
              </a:rPr>
              <a:t>er</a:t>
            </a:r>
            <a:r>
              <a:rPr sz="900" spc="-9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a:t>
            </a:r>
            <a:r>
              <a:rPr sz="900" spc="-5" dirty="0">
                <a:solidFill>
                  <a:srgbClr val="231F20"/>
                </a:solidFill>
                <a:latin typeface="Neue Frutiger World" panose="020B0603040304020203" pitchFamily="34" charset="0"/>
                <a:cs typeface="Neue Frutiger World" panose="020B0603040304020203" pitchFamily="34" charset="0"/>
              </a:rPr>
              <a:t>o</a:t>
            </a:r>
            <a:r>
              <a:rPr sz="900" spc="10" dirty="0">
                <a:solidFill>
                  <a:srgbClr val="231F20"/>
                </a:solidFill>
                <a:latin typeface="Neue Frutiger World" panose="020B0603040304020203" pitchFamily="34" charset="0"/>
                <a:cs typeface="Neue Frutiger World" panose="020B0603040304020203" pitchFamily="34" charset="0"/>
              </a:rPr>
              <a:t>int</a:t>
            </a:r>
            <a:endParaRPr sz="900" dirty="0">
              <a:latin typeface="Neue Frutiger World" panose="020B0603040304020203" pitchFamily="34" charset="0"/>
              <a:cs typeface="Neue Frutiger World" panose="020B0603040304020203" pitchFamily="34" charset="0"/>
            </a:endParaRPr>
          </a:p>
          <a:p>
            <a:pPr marL="12699">
              <a:spcBef>
                <a:spcPts val="489"/>
              </a:spcBef>
            </a:pPr>
            <a:r>
              <a:rPr sz="900" spc="-10" dirty="0">
                <a:solidFill>
                  <a:srgbClr val="231F20"/>
                </a:solidFill>
                <a:latin typeface="Neue Frutiger World" panose="020B0603040304020203" pitchFamily="34" charset="0"/>
                <a:cs typeface="Neue Frutiger World" panose="020B0603040304020203" pitchFamily="34" charset="0"/>
              </a:rPr>
              <a:t>Outlines</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cost</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f</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inappropriate</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infection</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reatment.</a:t>
            </a:r>
            <a:r>
              <a:rPr sz="900" spc="24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creased</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atient</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mortality,</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crease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length</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f</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ospital</a:t>
            </a:r>
            <a:r>
              <a:rPr sz="900" spc="15" dirty="0">
                <a:solidFill>
                  <a:srgbClr val="231F20"/>
                </a:solidFill>
                <a:latin typeface="Neue Frutiger World" panose="020B0603040304020203" pitchFamily="34" charset="0"/>
                <a:cs typeface="Neue Frutiger World" panose="020B0603040304020203" pitchFamily="34" charset="0"/>
              </a:rPr>
              <a:t> </a:t>
            </a:r>
            <a:r>
              <a:rPr sz="900" spc="-15" dirty="0">
                <a:solidFill>
                  <a:srgbClr val="231F20"/>
                </a:solidFill>
                <a:latin typeface="Neue Frutiger World" panose="020B0603040304020203" pitchFamily="34" charset="0"/>
                <a:cs typeface="Neue Frutiger World" panose="020B0603040304020203" pitchFamily="34" charset="0"/>
              </a:rPr>
              <a:t>stay,</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n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creased</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ospital</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osts.</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026618</a:t>
            </a:r>
            <a:endParaRPr sz="900" dirty="0">
              <a:latin typeface="Neue Frutiger World" panose="020B0603040304020203" pitchFamily="34" charset="0"/>
              <a:cs typeface="Neue Frutiger World" panose="020B0603040304020203" pitchFamily="34" charset="0"/>
            </a:endParaRPr>
          </a:p>
          <a:p>
            <a:pPr>
              <a:spcBef>
                <a:spcPts val="35"/>
              </a:spcBef>
            </a:pPr>
            <a:endParaRPr sz="900" dirty="0">
              <a:latin typeface="Neue Frutiger World" panose="020B0603040304020203" pitchFamily="34" charset="0"/>
              <a:cs typeface="Neue Frutiger World" panose="020B0603040304020203" pitchFamily="34" charset="0"/>
            </a:endParaRPr>
          </a:p>
          <a:p>
            <a:pPr marL="12699">
              <a:spcBef>
                <a:spcPts val="5"/>
              </a:spcBef>
            </a:pPr>
            <a:r>
              <a:rPr sz="900" spc="25" dirty="0">
                <a:solidFill>
                  <a:srgbClr val="231F20"/>
                </a:solidFill>
                <a:latin typeface="Neue Frutiger World" panose="020B0603040304020203" pitchFamily="34" charset="0"/>
                <a:cs typeface="Neue Frutiger World" panose="020B0603040304020203" pitchFamily="34" charset="0"/>
              </a:rPr>
              <a:t>L</a:t>
            </a:r>
            <a:r>
              <a:rPr sz="900" spc="-10" dirty="0">
                <a:solidFill>
                  <a:srgbClr val="231F20"/>
                </a:solidFill>
                <a:latin typeface="Neue Frutiger World" panose="020B0603040304020203" pitchFamily="34" charset="0"/>
                <a:cs typeface="Neue Frutiger World" panose="020B0603040304020203" pitchFamily="34" charset="0"/>
              </a:rPr>
              <a:t>ength</a:t>
            </a:r>
            <a:r>
              <a:rPr sz="900" spc="-70" dirty="0">
                <a:solidFill>
                  <a:srgbClr val="231F20"/>
                </a:solidFill>
                <a:latin typeface="Neue Frutiger World" panose="020B0603040304020203" pitchFamily="34" charset="0"/>
                <a:cs typeface="Neue Frutiger World" panose="020B0603040304020203" pitchFamily="34" charset="0"/>
              </a:rPr>
              <a:t> </a:t>
            </a:r>
            <a:r>
              <a:rPr sz="900" spc="25" dirty="0">
                <a:solidFill>
                  <a:srgbClr val="231F20"/>
                </a:solidFill>
                <a:latin typeface="Neue Frutiger World" panose="020B0603040304020203" pitchFamily="34" charset="0"/>
                <a:cs typeface="Neue Frutiger World" panose="020B0603040304020203" pitchFamily="34" charset="0"/>
              </a:rPr>
              <a:t>of</a:t>
            </a:r>
            <a:r>
              <a:rPr sz="900" spc="-9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hos</a:t>
            </a:r>
            <a:r>
              <a:rPr sz="900" spc="-20" dirty="0">
                <a:solidFill>
                  <a:srgbClr val="231F20"/>
                </a:solidFill>
                <a:latin typeface="Neue Frutiger World" panose="020B0603040304020203" pitchFamily="34" charset="0"/>
                <a:cs typeface="Neue Frutiger World" panose="020B0603040304020203" pitchFamily="34" charset="0"/>
              </a:rPr>
              <a:t>p</a:t>
            </a:r>
            <a:r>
              <a:rPr sz="900" spc="15" dirty="0">
                <a:solidFill>
                  <a:srgbClr val="231F20"/>
                </a:solidFill>
                <a:latin typeface="Neue Frutiger World" panose="020B0603040304020203" pitchFamily="34" charset="0"/>
                <a:cs typeface="Neue Frutiger World" panose="020B0603040304020203" pitchFamily="34" charset="0"/>
              </a:rPr>
              <a:t>i</a:t>
            </a:r>
            <a:r>
              <a:rPr sz="900" spc="20" dirty="0">
                <a:solidFill>
                  <a:srgbClr val="231F20"/>
                </a:solidFill>
                <a:latin typeface="Neue Frutiger World" panose="020B0603040304020203" pitchFamily="34" charset="0"/>
                <a:cs typeface="Neue Frutiger World" panose="020B0603040304020203" pitchFamily="34" charset="0"/>
              </a:rPr>
              <a:t>t</a:t>
            </a:r>
            <a:r>
              <a:rPr sz="900" spc="-10" dirty="0">
                <a:solidFill>
                  <a:srgbClr val="231F20"/>
                </a:solidFill>
                <a:latin typeface="Neue Frutiger World" panose="020B0603040304020203" pitchFamily="34" charset="0"/>
                <a:cs typeface="Neue Frutiger World" panose="020B0603040304020203" pitchFamily="34" charset="0"/>
              </a:rPr>
              <a:t>a</a:t>
            </a:r>
            <a:r>
              <a:rPr sz="900" spc="35" dirty="0">
                <a:solidFill>
                  <a:srgbClr val="231F20"/>
                </a:solidFill>
                <a:latin typeface="Neue Frutiger World" panose="020B0603040304020203" pitchFamily="34" charset="0"/>
                <a:cs typeface="Neue Frutiger World" panose="020B0603040304020203" pitchFamily="34" charset="0"/>
              </a:rPr>
              <a:t>l</a:t>
            </a:r>
            <a:r>
              <a:rPr sz="900" spc="-7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s</a:t>
            </a:r>
            <a:r>
              <a:rPr sz="900" spc="-5" dirty="0">
                <a:solidFill>
                  <a:srgbClr val="231F20"/>
                </a:solidFill>
                <a:latin typeface="Neue Frutiger World" panose="020B0603040304020203" pitchFamily="34" charset="0"/>
                <a:cs typeface="Neue Frutiger World" panose="020B0603040304020203" pitchFamily="34" charset="0"/>
              </a:rPr>
              <a:t>t</a:t>
            </a:r>
            <a:r>
              <a:rPr sz="900" spc="-35" dirty="0">
                <a:solidFill>
                  <a:srgbClr val="231F20"/>
                </a:solidFill>
                <a:latin typeface="Neue Frutiger World" panose="020B0603040304020203" pitchFamily="34" charset="0"/>
                <a:cs typeface="Neue Frutiger World" panose="020B0603040304020203" pitchFamily="34" charset="0"/>
              </a:rPr>
              <a:t>a</a:t>
            </a:r>
            <a:r>
              <a:rPr sz="900" spc="15" dirty="0">
                <a:solidFill>
                  <a:srgbClr val="231F20"/>
                </a:solidFill>
                <a:latin typeface="Neue Frutiger World" panose="020B0603040304020203" pitchFamily="34" charset="0"/>
                <a:cs typeface="Neue Frutiger World" panose="020B0603040304020203" pitchFamily="34" charset="0"/>
              </a:rPr>
              <a:t>y</a:t>
            </a:r>
            <a:r>
              <a:rPr sz="900" spc="-9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a:t>
            </a:r>
            <a:r>
              <a:rPr sz="900" spc="-10" dirty="0">
                <a:solidFill>
                  <a:srgbClr val="231F20"/>
                </a:solidFill>
                <a:latin typeface="Neue Frutiger World" panose="020B0603040304020203" pitchFamily="34" charset="0"/>
                <a:cs typeface="Neue Frutiger World" panose="020B0603040304020203" pitchFamily="34" charset="0"/>
              </a:rPr>
              <a:t>a</a:t>
            </a:r>
            <a:r>
              <a:rPr sz="900" spc="10" dirty="0">
                <a:solidFill>
                  <a:srgbClr val="231F20"/>
                </a:solidFill>
                <a:latin typeface="Neue Frutiger World" panose="020B0603040304020203" pitchFamily="34" charset="0"/>
                <a:cs typeface="Neue Frutiger World" panose="020B0603040304020203" pitchFamily="34" charset="0"/>
              </a:rPr>
              <a:t>t</a:t>
            </a:r>
            <a:r>
              <a:rPr sz="900" spc="5" dirty="0">
                <a:solidFill>
                  <a:srgbClr val="231F20"/>
                </a:solidFill>
                <a:latin typeface="Neue Frutiger World" panose="020B0603040304020203" pitchFamily="34" charset="0"/>
                <a:cs typeface="Neue Frutiger World" panose="020B0603040304020203" pitchFamily="34" charset="0"/>
              </a:rPr>
              <a:t>a</a:t>
            </a:r>
            <a:endParaRPr sz="900" dirty="0">
              <a:latin typeface="Neue Frutiger World" panose="020B0603040304020203" pitchFamily="34" charset="0"/>
              <a:cs typeface="Neue Frutiger World" panose="020B0603040304020203" pitchFamily="34" charset="0"/>
            </a:endParaRPr>
          </a:p>
          <a:p>
            <a:pPr marL="12699">
              <a:spcBef>
                <a:spcPts val="489"/>
              </a:spcBef>
            </a:pPr>
            <a:r>
              <a:rPr sz="900" spc="-10" dirty="0">
                <a:solidFill>
                  <a:srgbClr val="231F20"/>
                </a:solidFill>
                <a:latin typeface="Neue Frutiger World" panose="020B0603040304020203" pitchFamily="34" charset="0"/>
                <a:cs typeface="Neue Frutiger World" panose="020B0603040304020203" pitchFamily="34" charset="0"/>
              </a:rPr>
              <a:t>Hospital</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specific</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data</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bout</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how</a:t>
            </a:r>
            <a:r>
              <a:rPr sz="900" spc="-1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long</a:t>
            </a:r>
            <a:r>
              <a:rPr sz="900" spc="20" dirty="0">
                <a:solidFill>
                  <a:srgbClr val="231F20"/>
                </a:solidFill>
                <a:latin typeface="Neue Frutiger World" panose="020B0603040304020203" pitchFamily="34" charset="0"/>
                <a:cs typeface="Neue Frutiger World" panose="020B0603040304020203" pitchFamily="34" charset="0"/>
              </a:rPr>
              <a:t> </a:t>
            </a:r>
            <a:r>
              <a:rPr sz="900" spc="-15" dirty="0">
                <a:solidFill>
                  <a:srgbClr val="231F20"/>
                </a:solidFill>
                <a:latin typeface="Neue Frutiger World" panose="020B0603040304020203" pitchFamily="34" charset="0"/>
                <a:cs typeface="Neue Frutiger World" panose="020B0603040304020203" pitchFamily="34" charset="0"/>
              </a:rPr>
              <a:t>it</a:t>
            </a:r>
            <a:r>
              <a:rPr sz="900" spc="10" dirty="0">
                <a:solidFill>
                  <a:srgbClr val="231F20"/>
                </a:solidFill>
                <a:latin typeface="Neue Frutiger World" panose="020B0603040304020203" pitchFamily="34" charset="0"/>
                <a:cs typeface="Neue Frutiger World" panose="020B0603040304020203" pitchFamily="34" charset="0"/>
              </a:rPr>
              <a:t> </a:t>
            </a:r>
            <a:r>
              <a:rPr sz="900" spc="-15" dirty="0">
                <a:solidFill>
                  <a:srgbClr val="231F20"/>
                </a:solidFill>
                <a:latin typeface="Neue Frutiger World" panose="020B0603040304020203" pitchFamily="34" charset="0"/>
                <a:cs typeface="Neue Frutiger World" panose="020B0603040304020203" pitchFamily="34" charset="0"/>
              </a:rPr>
              <a:t>takes</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from</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initial</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diagnosis</a:t>
            </a:r>
            <a:r>
              <a:rPr sz="900" spc="15" dirty="0">
                <a:solidFill>
                  <a:srgbClr val="231F20"/>
                </a:solidFill>
                <a:latin typeface="Neue Frutiger World" panose="020B0603040304020203" pitchFamily="34" charset="0"/>
                <a:cs typeface="Neue Frutiger World" panose="020B0603040304020203" pitchFamily="34" charset="0"/>
              </a:rPr>
              <a:t> </a:t>
            </a:r>
            <a:r>
              <a:rPr sz="900" spc="-20" dirty="0">
                <a:solidFill>
                  <a:srgbClr val="231F20"/>
                </a:solidFill>
                <a:latin typeface="Neue Frutiger World" panose="020B0603040304020203" pitchFamily="34" charset="0"/>
                <a:cs typeface="Neue Frutiger World" panose="020B0603040304020203" pitchFamily="34" charset="0"/>
              </a:rPr>
              <a:t>to</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he</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ime</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atient</a:t>
            </a:r>
            <a:r>
              <a:rPr sz="900" spc="2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receives</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n</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extraction.</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Provided</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by</a:t>
            </a:r>
            <a:r>
              <a:rPr sz="900" spc="-3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your</a:t>
            </a:r>
            <a:r>
              <a:rPr sz="900" spc="-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RS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or </a:t>
            </a:r>
            <a:r>
              <a:rPr sz="900" spc="-10" dirty="0">
                <a:solidFill>
                  <a:srgbClr val="231F20"/>
                </a:solidFill>
                <a:latin typeface="Neue Frutiger World" panose="020B0603040304020203" pitchFamily="34" charset="0"/>
                <a:cs typeface="Neue Frutiger World" panose="020B0603040304020203" pitchFamily="34" charset="0"/>
              </a:rPr>
              <a:t>Marketing)</a:t>
            </a:r>
            <a:endParaRPr sz="900" dirty="0">
              <a:latin typeface="Neue Frutiger World" panose="020B0603040304020203" pitchFamily="34" charset="0"/>
              <a:cs typeface="Neue Frutiger World" panose="020B0603040304020203" pitchFamily="34" charset="0"/>
            </a:endParaRPr>
          </a:p>
          <a:p>
            <a:pPr>
              <a:spcBef>
                <a:spcPts val="35"/>
              </a:spcBef>
            </a:pPr>
            <a:endParaRPr sz="900" dirty="0">
              <a:latin typeface="Neue Frutiger World" panose="020B0603040304020203" pitchFamily="34" charset="0"/>
              <a:cs typeface="Neue Frutiger World" panose="020B0603040304020203" pitchFamily="34" charset="0"/>
            </a:endParaRPr>
          </a:p>
          <a:p>
            <a:pPr marL="12699">
              <a:spcBef>
                <a:spcPts val="5"/>
              </a:spcBef>
            </a:pPr>
            <a:r>
              <a:rPr sz="900" spc="-15" dirty="0">
                <a:solidFill>
                  <a:srgbClr val="231F20"/>
                </a:solidFill>
                <a:latin typeface="Neue Frutiger World" panose="020B0603040304020203" pitchFamily="34" charset="0"/>
                <a:cs typeface="Neue Frutiger World" panose="020B0603040304020203" pitchFamily="34" charset="0"/>
              </a:rPr>
              <a:t>D</a:t>
            </a:r>
            <a:r>
              <a:rPr sz="900" spc="10" dirty="0">
                <a:solidFill>
                  <a:srgbClr val="231F20"/>
                </a:solidFill>
                <a:latin typeface="Neue Frutiger World" panose="020B0603040304020203" pitchFamily="34" charset="0"/>
                <a:cs typeface="Neue Frutiger World" panose="020B0603040304020203" pitchFamily="34" charset="0"/>
              </a:rPr>
              <a:t>el</a:t>
            </a:r>
            <a:r>
              <a:rPr sz="900" spc="-30" dirty="0">
                <a:solidFill>
                  <a:srgbClr val="231F20"/>
                </a:solidFill>
                <a:latin typeface="Neue Frutiger World" panose="020B0603040304020203" pitchFamily="34" charset="0"/>
                <a:cs typeface="Neue Frutiger World" panose="020B0603040304020203" pitchFamily="34" charset="0"/>
              </a:rPr>
              <a:t>a</a:t>
            </a:r>
            <a:r>
              <a:rPr sz="900" spc="-5" dirty="0">
                <a:solidFill>
                  <a:srgbClr val="231F20"/>
                </a:solidFill>
                <a:latin typeface="Neue Frutiger World" panose="020B0603040304020203" pitchFamily="34" charset="0"/>
                <a:cs typeface="Neue Frutiger World" panose="020B0603040304020203" pitchFamily="34" charset="0"/>
              </a:rPr>
              <a:t>y</a:t>
            </a:r>
            <a:r>
              <a:rPr sz="900" dirty="0">
                <a:solidFill>
                  <a:srgbClr val="231F20"/>
                </a:solidFill>
                <a:latin typeface="Neue Frutiger World" panose="020B0603040304020203" pitchFamily="34" charset="0"/>
                <a:cs typeface="Neue Frutiger World" panose="020B0603040304020203" pitchFamily="34" charset="0"/>
              </a:rPr>
              <a:t>ed</a:t>
            </a:r>
            <a:r>
              <a:rPr sz="900" spc="-70" dirty="0">
                <a:solidFill>
                  <a:srgbClr val="231F20"/>
                </a:solidFill>
                <a:latin typeface="Neue Frutiger World" panose="020B0603040304020203" pitchFamily="34" charset="0"/>
                <a:cs typeface="Neue Frutiger World" panose="020B0603040304020203" pitchFamily="34" charset="0"/>
              </a:rPr>
              <a:t> </a:t>
            </a:r>
            <a:r>
              <a:rPr sz="900" spc="25" dirty="0">
                <a:solidFill>
                  <a:srgbClr val="231F20"/>
                </a:solidFill>
                <a:latin typeface="Neue Frutiger World" panose="020B0603040304020203" pitchFamily="34" charset="0"/>
                <a:cs typeface="Neue Frutiger World" panose="020B0603040304020203" pitchFamily="34" charset="0"/>
              </a:rPr>
              <a:t>L</a:t>
            </a:r>
            <a:r>
              <a:rPr sz="900" dirty="0">
                <a:solidFill>
                  <a:srgbClr val="231F20"/>
                </a:solidFill>
                <a:latin typeface="Neue Frutiger World" panose="020B0603040304020203" pitchFamily="34" charset="0"/>
                <a:cs typeface="Neue Frutiger World" panose="020B0603040304020203" pitchFamily="34" charset="0"/>
              </a:rPr>
              <a:t>ead</a:t>
            </a:r>
            <a:r>
              <a:rPr sz="900" spc="-7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Ext</a:t>
            </a:r>
            <a:r>
              <a:rPr sz="900" spc="-5" dirty="0">
                <a:solidFill>
                  <a:srgbClr val="231F20"/>
                </a:solidFill>
                <a:latin typeface="Neue Frutiger World" panose="020B0603040304020203" pitchFamily="34" charset="0"/>
                <a:cs typeface="Neue Frutiger World" panose="020B0603040304020203" pitchFamily="34" charset="0"/>
              </a:rPr>
              <a:t>r</a:t>
            </a:r>
            <a:r>
              <a:rPr sz="900" spc="5" dirty="0">
                <a:solidFill>
                  <a:srgbClr val="231F20"/>
                </a:solidFill>
                <a:latin typeface="Neue Frutiger World" panose="020B0603040304020203" pitchFamily="34" charset="0"/>
                <a:cs typeface="Neue Frutiger World" panose="020B0603040304020203" pitchFamily="34" charset="0"/>
              </a:rPr>
              <a:t>action</a:t>
            </a:r>
            <a:r>
              <a:rPr sz="900" spc="-7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O</a:t>
            </a:r>
            <a:r>
              <a:rPr sz="900" spc="20" dirty="0">
                <a:solidFill>
                  <a:srgbClr val="231F20"/>
                </a:solidFill>
                <a:latin typeface="Neue Frutiger World" panose="020B0603040304020203" pitchFamily="34" charset="0"/>
                <a:cs typeface="Neue Frutiger World" panose="020B0603040304020203" pitchFamily="34" charset="0"/>
              </a:rPr>
              <a:t>ne-</a:t>
            </a:r>
            <a:r>
              <a:rPr sz="900" spc="5" dirty="0">
                <a:solidFill>
                  <a:srgbClr val="231F20"/>
                </a:solidFill>
                <a:latin typeface="Neue Frutiger World" panose="020B0603040304020203" pitchFamily="34" charset="0"/>
                <a:cs typeface="Neue Frutiger World" panose="020B0603040304020203" pitchFamily="34" charset="0"/>
              </a:rPr>
              <a:t>P</a:t>
            </a:r>
            <a:r>
              <a:rPr sz="900" spc="-10" dirty="0">
                <a:solidFill>
                  <a:srgbClr val="231F20"/>
                </a:solidFill>
                <a:latin typeface="Neue Frutiger World" panose="020B0603040304020203" pitchFamily="34" charset="0"/>
                <a:cs typeface="Neue Frutiger World" panose="020B0603040304020203" pitchFamily="34" charset="0"/>
              </a:rPr>
              <a:t>a</a:t>
            </a:r>
            <a:r>
              <a:rPr sz="900" spc="-20" dirty="0">
                <a:solidFill>
                  <a:srgbClr val="231F20"/>
                </a:solidFill>
                <a:latin typeface="Neue Frutiger World" panose="020B0603040304020203" pitchFamily="34" charset="0"/>
                <a:cs typeface="Neue Frutiger World" panose="020B0603040304020203" pitchFamily="34" charset="0"/>
              </a:rPr>
              <a:t>g</a:t>
            </a:r>
            <a:r>
              <a:rPr sz="900" spc="-50" dirty="0">
                <a:solidFill>
                  <a:srgbClr val="231F20"/>
                </a:solidFill>
                <a:latin typeface="Neue Frutiger World" panose="020B0603040304020203" pitchFamily="34" charset="0"/>
                <a:cs typeface="Neue Frutiger World" panose="020B0603040304020203" pitchFamily="34" charset="0"/>
              </a:rPr>
              <a:t>er:</a:t>
            </a:r>
            <a:endParaRPr sz="900" dirty="0">
              <a:latin typeface="Neue Frutiger World" panose="020B0603040304020203" pitchFamily="34" charset="0"/>
              <a:cs typeface="Neue Frutiger World" panose="020B0603040304020203" pitchFamily="34" charset="0"/>
            </a:endParaRPr>
          </a:p>
          <a:p>
            <a:pPr marL="12699" marR="5079">
              <a:lnSpc>
                <a:spcPct val="104200"/>
              </a:lnSpc>
              <a:spcBef>
                <a:spcPts val="450"/>
              </a:spcBef>
            </a:pPr>
            <a:r>
              <a:rPr sz="900" spc="-10" dirty="0">
                <a:solidFill>
                  <a:srgbClr val="231F20"/>
                </a:solidFill>
                <a:latin typeface="Neue Frutiger World" panose="020B0603040304020203" pitchFamily="34" charset="0"/>
                <a:cs typeface="Neue Frutiger World" panose="020B0603040304020203" pitchFamily="34" charset="0"/>
              </a:rPr>
              <a:t>Outlines</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he</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cost</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n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onsequences</a:t>
            </a:r>
            <a:r>
              <a:rPr sz="900" spc="20"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f</a:t>
            </a:r>
            <a:r>
              <a:rPr sz="900" spc="-5" dirty="0">
                <a:solidFill>
                  <a:srgbClr val="231F20"/>
                </a:solidFill>
                <a:latin typeface="Neue Frutiger World" panose="020B0603040304020203" pitchFamily="34" charset="0"/>
                <a:cs typeface="Neue Frutiger World" panose="020B0603040304020203" pitchFamily="34" charset="0"/>
              </a:rPr>
              <a:t> delaying</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extraction</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atients </a:t>
            </a:r>
            <a:r>
              <a:rPr sz="900" spc="-5" dirty="0">
                <a:solidFill>
                  <a:srgbClr val="231F20"/>
                </a:solidFill>
                <a:latin typeface="Neue Frutiger World" panose="020B0603040304020203" pitchFamily="34" charset="0"/>
                <a:cs typeface="Neue Frutiger World" panose="020B0603040304020203" pitchFamily="34" charset="0"/>
              </a:rPr>
              <a:t>with</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CIED</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fection.</a:t>
            </a:r>
            <a:r>
              <a:rPr sz="900" spc="2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Additionally,</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cludes</a:t>
            </a:r>
            <a:r>
              <a:rPr sz="900" spc="2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data</a:t>
            </a:r>
            <a:r>
              <a:rPr sz="900" spc="15" dirty="0">
                <a:solidFill>
                  <a:srgbClr val="231F20"/>
                </a:solidFill>
                <a:latin typeface="Neue Frutiger World" panose="020B0603040304020203" pitchFamily="34" charset="0"/>
                <a:cs typeface="Neue Frutiger World" panose="020B0603040304020203" pitchFamily="34" charset="0"/>
              </a:rPr>
              <a:t> </a:t>
            </a:r>
            <a:r>
              <a:rPr sz="900" dirty="0">
                <a:solidFill>
                  <a:srgbClr val="231F20"/>
                </a:solidFill>
                <a:latin typeface="Neue Frutiger World" panose="020B0603040304020203" pitchFamily="34" charset="0"/>
                <a:cs typeface="Neue Frutiger World" panose="020B0603040304020203" pitchFamily="34" charset="0"/>
              </a:rPr>
              <a:t>on</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EMR</a:t>
            </a:r>
            <a:r>
              <a:rPr sz="900" spc="1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mplementation</a:t>
            </a:r>
            <a:r>
              <a:rPr sz="900" spc="2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streamlining</a:t>
            </a:r>
            <a:r>
              <a:rPr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he</a:t>
            </a:r>
            <a:r>
              <a:rPr sz="900" spc="1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atient</a:t>
            </a:r>
            <a:r>
              <a:rPr lang="en-GB" sz="900" spc="-1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pathway</a:t>
            </a:r>
            <a:r>
              <a:rPr sz="900" spc="-2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and</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saving</a:t>
            </a:r>
            <a:r>
              <a:rPr sz="90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the</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hospital</a:t>
            </a:r>
            <a:r>
              <a:rPr sz="900"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thousands</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a:t>
            </a:r>
            <a:r>
              <a:rPr sz="900" spc="5"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costs</a:t>
            </a:r>
            <a:r>
              <a:rPr sz="900" dirty="0">
                <a:solidFill>
                  <a:srgbClr val="231F20"/>
                </a:solidFill>
                <a:latin typeface="Neue Frutiger World" panose="020B0603040304020203" pitchFamily="34" charset="0"/>
                <a:cs typeface="Neue Frutiger World" panose="020B0603040304020203" pitchFamily="34" charset="0"/>
              </a:rPr>
              <a:t> </a:t>
            </a:r>
            <a:r>
              <a:rPr sz="900" spc="-10" dirty="0">
                <a:solidFill>
                  <a:srgbClr val="231F20"/>
                </a:solidFill>
                <a:latin typeface="Neue Frutiger World" panose="020B0603040304020203" pitchFamily="34" charset="0"/>
                <a:cs typeface="Neue Frutiger World" panose="020B0603040304020203" pitchFamily="34" charset="0"/>
              </a:rPr>
              <a:t>from</a:t>
            </a:r>
            <a:r>
              <a:rPr sz="900" spc="5" dirty="0">
                <a:solidFill>
                  <a:srgbClr val="231F20"/>
                </a:solidFill>
                <a:latin typeface="Neue Frutiger World" panose="020B0603040304020203" pitchFamily="34" charset="0"/>
                <a:cs typeface="Neue Frutiger World" panose="020B0603040304020203" pitchFamily="34" charset="0"/>
              </a:rPr>
              <a:t> </a:t>
            </a:r>
            <a:r>
              <a:rPr sz="900" spc="-5" dirty="0">
                <a:solidFill>
                  <a:srgbClr val="231F20"/>
                </a:solidFill>
                <a:latin typeface="Neue Frutiger World" panose="020B0603040304020203" pitchFamily="34" charset="0"/>
                <a:cs typeface="Neue Frutiger World" panose="020B0603040304020203" pitchFamily="34" charset="0"/>
              </a:rPr>
              <a:t>infection.</a:t>
            </a:r>
            <a:r>
              <a:rPr sz="900" spc="5" dirty="0">
                <a:solidFill>
                  <a:srgbClr val="231F20"/>
                </a:solidFill>
                <a:latin typeface="Neue Frutiger World" panose="020B0603040304020203" pitchFamily="34" charset="0"/>
                <a:cs typeface="Neue Frutiger World" panose="020B0603040304020203" pitchFamily="34" charset="0"/>
              </a:rPr>
              <a:t> D057045.</a:t>
            </a:r>
            <a:endParaRPr sz="900" dirty="0">
              <a:latin typeface="Neue Frutiger World" panose="020B0603040304020203" pitchFamily="34" charset="0"/>
              <a:cs typeface="Neue Frutiger World" panose="020B0603040304020203" pitchFamily="34" charset="0"/>
            </a:endParaRPr>
          </a:p>
        </p:txBody>
      </p:sp>
      <p:sp>
        <p:nvSpPr>
          <p:cNvPr id="7" name="TextBox 6">
            <a:extLst>
              <a:ext uri="{FF2B5EF4-FFF2-40B4-BE49-F238E27FC236}">
                <a16:creationId xmlns:a16="http://schemas.microsoft.com/office/drawing/2014/main" id="{50489614-860E-4920-AD5D-CA2BFB7E03F2}"/>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8" name="Rectangle 7">
            <a:hlinkClick r:id="rId2" action="ppaction://hlinksldjump"/>
            <a:extLst>
              <a:ext uri="{FF2B5EF4-FFF2-40B4-BE49-F238E27FC236}">
                <a16:creationId xmlns:a16="http://schemas.microsoft.com/office/drawing/2014/main" id="{5B79E971-8426-41D4-A99B-165952101170}"/>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 name="Rectangle 8">
            <a:hlinkClick r:id="rId3" action="ppaction://hlinksldjump"/>
            <a:extLst>
              <a:ext uri="{FF2B5EF4-FFF2-40B4-BE49-F238E27FC236}">
                <a16:creationId xmlns:a16="http://schemas.microsoft.com/office/drawing/2014/main" id="{A78F766B-FC58-4A12-8ACB-CD7E36C6BD8D}"/>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0" name="Rectangle 9">
            <a:hlinkClick r:id="rId4" action="ppaction://hlinksldjump"/>
            <a:extLst>
              <a:ext uri="{FF2B5EF4-FFF2-40B4-BE49-F238E27FC236}">
                <a16:creationId xmlns:a16="http://schemas.microsoft.com/office/drawing/2014/main" id="{F3BE5CFF-6870-4ED9-A812-A08BF0928F22}"/>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1" name="Rectangle 10">
            <a:hlinkClick r:id="rId5" action="ppaction://hlinksldjump"/>
            <a:extLst>
              <a:ext uri="{FF2B5EF4-FFF2-40B4-BE49-F238E27FC236}">
                <a16:creationId xmlns:a16="http://schemas.microsoft.com/office/drawing/2014/main" id="{42C5A655-39F4-45DC-B983-33E326549C1E}"/>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2" name="Rectangle 11">
            <a:hlinkClick r:id="rId6" action="ppaction://hlinksldjump"/>
            <a:extLst>
              <a:ext uri="{FF2B5EF4-FFF2-40B4-BE49-F238E27FC236}">
                <a16:creationId xmlns:a16="http://schemas.microsoft.com/office/drawing/2014/main" id="{ED0A5E3D-42DD-4C05-B7EA-F550749729B9}"/>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3" name="Rectangle 12">
            <a:hlinkClick r:id="rId7" action="ppaction://hlinksldjump"/>
            <a:extLst>
              <a:ext uri="{FF2B5EF4-FFF2-40B4-BE49-F238E27FC236}">
                <a16:creationId xmlns:a16="http://schemas.microsoft.com/office/drawing/2014/main" id="{AA0DE288-76CC-45F3-A345-93160CFCEC2E}"/>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8" action="ppaction://hlinksldjump"/>
            <a:extLst>
              <a:ext uri="{FF2B5EF4-FFF2-40B4-BE49-F238E27FC236}">
                <a16:creationId xmlns:a16="http://schemas.microsoft.com/office/drawing/2014/main" id="{7EB5E14E-4365-4F90-ACAC-0B15B9D0CD30}"/>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9" action="ppaction://hlinksldjump"/>
            <a:extLst>
              <a:ext uri="{FF2B5EF4-FFF2-40B4-BE49-F238E27FC236}">
                <a16:creationId xmlns:a16="http://schemas.microsoft.com/office/drawing/2014/main" id="{0BBC689C-4A69-4A57-BEFD-4F07C5CEC693}"/>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extLst>
              <a:ext uri="{FF2B5EF4-FFF2-40B4-BE49-F238E27FC236}">
                <a16:creationId xmlns:a16="http://schemas.microsoft.com/office/drawing/2014/main" id="{7D45A302-895B-4746-A999-E03C2BB72542}"/>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10" action="ppaction://hlinksldjump"/>
            <a:extLst>
              <a:ext uri="{FF2B5EF4-FFF2-40B4-BE49-F238E27FC236}">
                <a16:creationId xmlns:a16="http://schemas.microsoft.com/office/drawing/2014/main" id="{69ACBBCD-797C-4882-81B9-91BC149133F2}"/>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11" action="ppaction://hlinksldjump"/>
            <a:extLst>
              <a:ext uri="{FF2B5EF4-FFF2-40B4-BE49-F238E27FC236}">
                <a16:creationId xmlns:a16="http://schemas.microsoft.com/office/drawing/2014/main" id="{B181F992-328F-4215-904E-207D4FBC8D51}"/>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12" action="ppaction://hlinksldjump"/>
            <a:extLst>
              <a:ext uri="{FF2B5EF4-FFF2-40B4-BE49-F238E27FC236}">
                <a16:creationId xmlns:a16="http://schemas.microsoft.com/office/drawing/2014/main" id="{678B2208-1148-480D-98DD-C702544D9DE0}"/>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13" action="ppaction://hlinksldjump"/>
            <a:extLst>
              <a:ext uri="{FF2B5EF4-FFF2-40B4-BE49-F238E27FC236}">
                <a16:creationId xmlns:a16="http://schemas.microsoft.com/office/drawing/2014/main" id="{FD196ED8-CA09-4019-A35A-C2A16533AD5D}"/>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4" action="ppaction://hlinksldjump"/>
            <a:extLst>
              <a:ext uri="{FF2B5EF4-FFF2-40B4-BE49-F238E27FC236}">
                <a16:creationId xmlns:a16="http://schemas.microsoft.com/office/drawing/2014/main" id="{08B89E41-59C1-44DF-9734-A9E7BCE411C3}"/>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5" action="ppaction://hlinksldjump"/>
            <a:extLst>
              <a:ext uri="{FF2B5EF4-FFF2-40B4-BE49-F238E27FC236}">
                <a16:creationId xmlns:a16="http://schemas.microsoft.com/office/drawing/2014/main" id="{2A031594-B8DA-4A8E-954F-D0E253594A96}"/>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6" action="ppaction://hlinksldjump"/>
            <a:extLst>
              <a:ext uri="{FF2B5EF4-FFF2-40B4-BE49-F238E27FC236}">
                <a16:creationId xmlns:a16="http://schemas.microsoft.com/office/drawing/2014/main" id="{D43C962F-B530-460A-A00A-76F21947C9DA}"/>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7" action="ppaction://hlinksldjump"/>
            <a:extLst>
              <a:ext uri="{FF2B5EF4-FFF2-40B4-BE49-F238E27FC236}">
                <a16:creationId xmlns:a16="http://schemas.microsoft.com/office/drawing/2014/main" id="{E825A356-8CCB-46FA-9883-4A611AEC9214}"/>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8" action="ppaction://hlinksldjump"/>
            <a:extLst>
              <a:ext uri="{FF2B5EF4-FFF2-40B4-BE49-F238E27FC236}">
                <a16:creationId xmlns:a16="http://schemas.microsoft.com/office/drawing/2014/main" id="{732D90C2-53DB-400A-BEDF-D4226DB0707D}"/>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9" action="ppaction://hlinksldjump"/>
            <a:extLst>
              <a:ext uri="{FF2B5EF4-FFF2-40B4-BE49-F238E27FC236}">
                <a16:creationId xmlns:a16="http://schemas.microsoft.com/office/drawing/2014/main" id="{7FD14871-B331-4CFF-8278-07D60788592D}"/>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20" action="ppaction://hlinksldjump"/>
            <a:extLst>
              <a:ext uri="{FF2B5EF4-FFF2-40B4-BE49-F238E27FC236}">
                <a16:creationId xmlns:a16="http://schemas.microsoft.com/office/drawing/2014/main" id="{11465A7B-BCE4-4CDC-A5E1-5521BE6C46DE}"/>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21" action="ppaction://hlinksldjump"/>
            <a:extLst>
              <a:ext uri="{FF2B5EF4-FFF2-40B4-BE49-F238E27FC236}">
                <a16:creationId xmlns:a16="http://schemas.microsoft.com/office/drawing/2014/main" id="{CCB1BE7D-F782-4003-B917-C3DEC2CDB42F}"/>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22" action="ppaction://hlinksldjump"/>
            <a:extLst>
              <a:ext uri="{FF2B5EF4-FFF2-40B4-BE49-F238E27FC236}">
                <a16:creationId xmlns:a16="http://schemas.microsoft.com/office/drawing/2014/main" id="{EAFEA8EC-AE1D-4871-98DE-A2F0E50A47F5}"/>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extLst>
              <a:ext uri="{FF2B5EF4-FFF2-40B4-BE49-F238E27FC236}">
                <a16:creationId xmlns:a16="http://schemas.microsoft.com/office/drawing/2014/main" id="{90125419-8D53-4845-929A-8572FDBF3B37}"/>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23" action="ppaction://hlinksldjump"/>
            <a:extLst>
              <a:ext uri="{FF2B5EF4-FFF2-40B4-BE49-F238E27FC236}">
                <a16:creationId xmlns:a16="http://schemas.microsoft.com/office/drawing/2014/main" id="{38D1EF4D-D29C-446C-8122-CADE1B42C671}"/>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24" action="ppaction://hlinksldjump"/>
            <a:extLst>
              <a:ext uri="{FF2B5EF4-FFF2-40B4-BE49-F238E27FC236}">
                <a16:creationId xmlns:a16="http://schemas.microsoft.com/office/drawing/2014/main" id="{ED263622-78AA-4695-8C97-EA7D3587411C}"/>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5" action="ppaction://hlinksldjump"/>
            <a:extLst>
              <a:ext uri="{FF2B5EF4-FFF2-40B4-BE49-F238E27FC236}">
                <a16:creationId xmlns:a16="http://schemas.microsoft.com/office/drawing/2014/main" id="{1B0AAC24-CEC4-4C67-A68B-7EC39BD0E6E4}"/>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extLst>
              <a:ext uri="{FF2B5EF4-FFF2-40B4-BE49-F238E27FC236}">
                <a16:creationId xmlns:a16="http://schemas.microsoft.com/office/drawing/2014/main" id="{4A66C6F8-AAC7-4AC7-B8DB-373296AE4071}"/>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35" name="Table 34">
            <a:extLst>
              <a:ext uri="{FF2B5EF4-FFF2-40B4-BE49-F238E27FC236}">
                <a16:creationId xmlns:a16="http://schemas.microsoft.com/office/drawing/2014/main" id="{0C60A55A-DA24-47D7-A62D-3A28EBF4E506}"/>
              </a:ext>
            </a:extLst>
          </p:cNvPr>
          <p:cNvGraphicFramePr>
            <a:graphicFrameLocks noGrp="1"/>
          </p:cNvGraphicFramePr>
          <p:nvPr>
            <p:extLst>
              <p:ext uri="{D42A27DB-BD31-4B8C-83A1-F6EECF244321}">
                <p14:modId xmlns:p14="http://schemas.microsoft.com/office/powerpoint/2010/main" val="2151616772"/>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36" name="Rectangle 35">
            <a:hlinkClick r:id="rId2" action="ppaction://hlinksldjump"/>
            <a:extLst>
              <a:ext uri="{FF2B5EF4-FFF2-40B4-BE49-F238E27FC236}">
                <a16:creationId xmlns:a16="http://schemas.microsoft.com/office/drawing/2014/main" id="{CB096A22-6F0D-4520-BE7A-8FE4B3267106}"/>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3" action="ppaction://hlinksldjump"/>
            <a:extLst>
              <a:ext uri="{FF2B5EF4-FFF2-40B4-BE49-F238E27FC236}">
                <a16:creationId xmlns:a16="http://schemas.microsoft.com/office/drawing/2014/main" id="{B3497577-B947-4B0F-9EA9-E5A5323F51BF}"/>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4" action="ppaction://hlinksldjump"/>
            <a:extLst>
              <a:ext uri="{FF2B5EF4-FFF2-40B4-BE49-F238E27FC236}">
                <a16:creationId xmlns:a16="http://schemas.microsoft.com/office/drawing/2014/main" id="{18AB82FE-DF72-4BFB-BB67-E6573BE295C1}"/>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5" action="ppaction://hlinksldjump"/>
            <a:extLst>
              <a:ext uri="{FF2B5EF4-FFF2-40B4-BE49-F238E27FC236}">
                <a16:creationId xmlns:a16="http://schemas.microsoft.com/office/drawing/2014/main" id="{E82C843E-09D8-4A00-B828-6278BA2D7F32}"/>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6" action="ppaction://hlinksldjump"/>
            <a:extLst>
              <a:ext uri="{FF2B5EF4-FFF2-40B4-BE49-F238E27FC236}">
                <a16:creationId xmlns:a16="http://schemas.microsoft.com/office/drawing/2014/main" id="{E9215CDB-DD4F-49FE-AF03-9B8D9A33BC73}"/>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7" action="ppaction://hlinksldjump"/>
            <a:extLst>
              <a:ext uri="{FF2B5EF4-FFF2-40B4-BE49-F238E27FC236}">
                <a16:creationId xmlns:a16="http://schemas.microsoft.com/office/drawing/2014/main" id="{F864528E-4E36-4DFB-B70C-410D2A05784E}"/>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8" action="ppaction://hlinksldjump"/>
            <a:extLst>
              <a:ext uri="{FF2B5EF4-FFF2-40B4-BE49-F238E27FC236}">
                <a16:creationId xmlns:a16="http://schemas.microsoft.com/office/drawing/2014/main" id="{2823D456-2DB7-4A27-9474-2B30ACB461DE}"/>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9" action="ppaction://hlinksldjump"/>
            <a:extLst>
              <a:ext uri="{FF2B5EF4-FFF2-40B4-BE49-F238E27FC236}">
                <a16:creationId xmlns:a16="http://schemas.microsoft.com/office/drawing/2014/main" id="{99BCDA9E-317F-4AEA-81AA-156D40D99433}"/>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extLst>
              <a:ext uri="{FF2B5EF4-FFF2-40B4-BE49-F238E27FC236}">
                <a16:creationId xmlns:a16="http://schemas.microsoft.com/office/drawing/2014/main" id="{85CFA66B-1F6E-4E4F-8A51-913C0AF82FF7}"/>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10" action="ppaction://hlinksldjump"/>
            <a:extLst>
              <a:ext uri="{FF2B5EF4-FFF2-40B4-BE49-F238E27FC236}">
                <a16:creationId xmlns:a16="http://schemas.microsoft.com/office/drawing/2014/main" id="{64A325FE-0E25-4CE5-B5EB-D93D59136402}"/>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11" action="ppaction://hlinksldjump"/>
            <a:extLst>
              <a:ext uri="{FF2B5EF4-FFF2-40B4-BE49-F238E27FC236}">
                <a16:creationId xmlns:a16="http://schemas.microsoft.com/office/drawing/2014/main" id="{E008C8B6-BDB2-4238-89D4-1171C41F77D0}"/>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12" action="ppaction://hlinksldjump"/>
            <a:extLst>
              <a:ext uri="{FF2B5EF4-FFF2-40B4-BE49-F238E27FC236}">
                <a16:creationId xmlns:a16="http://schemas.microsoft.com/office/drawing/2014/main" id="{9CCF6642-C97B-41B2-B604-1C0087D70C3D}"/>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13" action="ppaction://hlinksldjump"/>
            <a:extLst>
              <a:ext uri="{FF2B5EF4-FFF2-40B4-BE49-F238E27FC236}">
                <a16:creationId xmlns:a16="http://schemas.microsoft.com/office/drawing/2014/main" id="{5D1D90C0-A0E6-48AC-9655-021DFEE532DD}"/>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4" action="ppaction://hlinksldjump"/>
            <a:extLst>
              <a:ext uri="{FF2B5EF4-FFF2-40B4-BE49-F238E27FC236}">
                <a16:creationId xmlns:a16="http://schemas.microsoft.com/office/drawing/2014/main" id="{E02BED9A-57B4-492A-BBFE-6EEA00F865D1}"/>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5" action="ppaction://hlinksldjump"/>
            <a:extLst>
              <a:ext uri="{FF2B5EF4-FFF2-40B4-BE49-F238E27FC236}">
                <a16:creationId xmlns:a16="http://schemas.microsoft.com/office/drawing/2014/main" id="{3120B5CF-8244-4BB6-ACD6-EA31D9811C54}"/>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6" action="ppaction://hlinksldjump"/>
            <a:extLst>
              <a:ext uri="{FF2B5EF4-FFF2-40B4-BE49-F238E27FC236}">
                <a16:creationId xmlns:a16="http://schemas.microsoft.com/office/drawing/2014/main" id="{3C70AD2D-1A1F-4F2A-A46E-94B208653311}"/>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7" action="ppaction://hlinksldjump"/>
            <a:extLst>
              <a:ext uri="{FF2B5EF4-FFF2-40B4-BE49-F238E27FC236}">
                <a16:creationId xmlns:a16="http://schemas.microsoft.com/office/drawing/2014/main" id="{D2112654-107F-4E1F-9F7B-3416C7A994E3}"/>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8" action="ppaction://hlinksldjump"/>
            <a:extLst>
              <a:ext uri="{FF2B5EF4-FFF2-40B4-BE49-F238E27FC236}">
                <a16:creationId xmlns:a16="http://schemas.microsoft.com/office/drawing/2014/main" id="{BDBC0DEE-2472-40E8-AC6B-5EDD92813183}"/>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9" action="ppaction://hlinksldjump"/>
            <a:extLst>
              <a:ext uri="{FF2B5EF4-FFF2-40B4-BE49-F238E27FC236}">
                <a16:creationId xmlns:a16="http://schemas.microsoft.com/office/drawing/2014/main" id="{3622CA65-E05B-46D7-89C7-C1A834421505}"/>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20" action="ppaction://hlinksldjump"/>
            <a:extLst>
              <a:ext uri="{FF2B5EF4-FFF2-40B4-BE49-F238E27FC236}">
                <a16:creationId xmlns:a16="http://schemas.microsoft.com/office/drawing/2014/main" id="{289B868A-B13B-4FAD-AEBF-49E8EC8508B0}"/>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21" action="ppaction://hlinksldjump"/>
            <a:extLst>
              <a:ext uri="{FF2B5EF4-FFF2-40B4-BE49-F238E27FC236}">
                <a16:creationId xmlns:a16="http://schemas.microsoft.com/office/drawing/2014/main" id="{C5C8CE12-2B1D-490C-8C08-5FD5170E59C5}"/>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22" action="ppaction://hlinksldjump"/>
            <a:extLst>
              <a:ext uri="{FF2B5EF4-FFF2-40B4-BE49-F238E27FC236}">
                <a16:creationId xmlns:a16="http://schemas.microsoft.com/office/drawing/2014/main" id="{05896080-62E6-447D-A89E-E813C4BF144E}"/>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extLst>
              <a:ext uri="{FF2B5EF4-FFF2-40B4-BE49-F238E27FC236}">
                <a16:creationId xmlns:a16="http://schemas.microsoft.com/office/drawing/2014/main" id="{BCDAA2B8-55C1-444D-86CC-B96C9F506650}"/>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23" action="ppaction://hlinksldjump"/>
            <a:extLst>
              <a:ext uri="{FF2B5EF4-FFF2-40B4-BE49-F238E27FC236}">
                <a16:creationId xmlns:a16="http://schemas.microsoft.com/office/drawing/2014/main" id="{B6CB0BCA-1E09-4CA8-A4C2-6CC26FCC8353}"/>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24" action="ppaction://hlinksldjump"/>
            <a:extLst>
              <a:ext uri="{FF2B5EF4-FFF2-40B4-BE49-F238E27FC236}">
                <a16:creationId xmlns:a16="http://schemas.microsoft.com/office/drawing/2014/main" id="{3876A784-6DA3-4A82-9C70-CDA30E1279B1}"/>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5" action="ppaction://hlinksldjump"/>
            <a:extLst>
              <a:ext uri="{FF2B5EF4-FFF2-40B4-BE49-F238E27FC236}">
                <a16:creationId xmlns:a16="http://schemas.microsoft.com/office/drawing/2014/main" id="{AC65C2F4-A588-4105-B06E-D267BC845E58}"/>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285268673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7BDF532-CD13-4B01-94F7-61DD656C6B65}"/>
              </a:ext>
            </a:extLst>
          </p:cNvPr>
          <p:cNvSpPr>
            <a:spLocks noGrp="1"/>
          </p:cNvSpPr>
          <p:nvPr>
            <p:ph type="ftr" sz="quarter" idx="17"/>
          </p:nvPr>
        </p:nvSpPr>
        <p:spPr>
          <a:xfrm>
            <a:off x="4949026" y="4900841"/>
            <a:ext cx="4126175" cy="227438"/>
          </a:xfrm>
          <a:solidFill>
            <a:schemeClr val="bg1"/>
          </a:solidFill>
        </p:spPr>
        <p:txBody>
          <a:bodyPr/>
          <a:lstStyle/>
          <a:p>
            <a:r>
              <a:rPr lang="en-US" noProof="0" dirty="0">
                <a:latin typeface="Neue Frutiger World" panose="020B0603040304020203" pitchFamily="34" charset="0"/>
                <a:cs typeface="Neue Frutiger World" panose="020B0603040304020203" pitchFamily="34" charset="0"/>
              </a:rPr>
              <a:t>©2021 Koninklijke Philips N.V. All rights reserved. Approved for internal distribution. D2021120801</a:t>
            </a:r>
          </a:p>
        </p:txBody>
      </p:sp>
      <p:sp>
        <p:nvSpPr>
          <p:cNvPr id="5" name="object 3">
            <a:extLst>
              <a:ext uri="{FF2B5EF4-FFF2-40B4-BE49-F238E27FC236}">
                <a16:creationId xmlns:a16="http://schemas.microsoft.com/office/drawing/2014/main" id="{EAAAE93B-9FF2-4CFA-87B1-20F53265BD66}"/>
              </a:ext>
            </a:extLst>
          </p:cNvPr>
          <p:cNvSpPr txBox="1"/>
          <p:nvPr/>
        </p:nvSpPr>
        <p:spPr>
          <a:xfrm>
            <a:off x="111533" y="404277"/>
            <a:ext cx="2214663" cy="5106013"/>
          </a:xfrm>
          <a:prstGeom prst="rect">
            <a:avLst/>
          </a:prstGeom>
        </p:spPr>
        <p:txBody>
          <a:bodyPr vert="horz" wrap="square" lIns="0" tIns="8890" rIns="0" bIns="0" rtlCol="0">
            <a:spAutoFit/>
          </a:bodyPr>
          <a:lstStyle/>
          <a:p>
            <a:pPr marL="92075" marR="13334" indent="-92075" algn="just">
              <a:spcBef>
                <a:spcPts val="70"/>
              </a:spcBef>
              <a:buAutoNum type="arabicPeriod"/>
              <a:tabLst>
                <a:tab pos="92075" algn="l"/>
              </a:tabLst>
            </a:pPr>
            <a:r>
              <a:rPr sz="600" spc="-20" dirty="0">
                <a:solidFill>
                  <a:srgbClr val="757982"/>
                </a:solidFill>
                <a:latin typeface="Neue Frutiger World" panose="020B0603040304020203" pitchFamily="34" charset="0"/>
                <a:cs typeface="Neue Frutiger World" panose="020B0603040304020203" pitchFamily="34" charset="0"/>
              </a:rPr>
              <a:t>Voigt, Andrew, et </a:t>
            </a:r>
            <a:r>
              <a:rPr sz="600" spc="-10" dirty="0">
                <a:solidFill>
                  <a:srgbClr val="757982"/>
                </a:solidFill>
                <a:latin typeface="Neue Frutiger World" panose="020B0603040304020203" pitchFamily="34" charset="0"/>
                <a:cs typeface="Neue Frutiger World" panose="020B0603040304020203" pitchFamily="34" charset="0"/>
              </a:rPr>
              <a:t>al. </a:t>
            </a:r>
            <a:r>
              <a:rPr sz="600" spc="-20" dirty="0">
                <a:solidFill>
                  <a:srgbClr val="757982"/>
                </a:solidFill>
                <a:latin typeface="Neue Frutiger World" panose="020B0603040304020203" pitchFamily="34" charset="0"/>
                <a:cs typeface="Neue Frutiger World" panose="020B0603040304020203" pitchFamily="34" charset="0"/>
              </a:rPr>
              <a:t>Rising </a:t>
            </a:r>
            <a:r>
              <a:rPr sz="600" spc="-25" dirty="0">
                <a:solidFill>
                  <a:srgbClr val="757982"/>
                </a:solidFill>
                <a:latin typeface="Neue Frutiger World" panose="020B0603040304020203" pitchFamily="34" charset="0"/>
                <a:cs typeface="Neue Frutiger World" panose="020B0603040304020203" pitchFamily="34" charset="0"/>
              </a:rPr>
              <a:t>Rates </a:t>
            </a:r>
            <a:r>
              <a:rPr sz="600" spc="-10" dirty="0">
                <a:solidFill>
                  <a:srgbClr val="757982"/>
                </a:solidFill>
                <a:latin typeface="Neue Frutiger World" panose="020B0603040304020203" pitchFamily="34" charset="0"/>
                <a:cs typeface="Neue Frutiger World" panose="020B0603040304020203" pitchFamily="34" charset="0"/>
              </a:rPr>
              <a:t>of </a:t>
            </a:r>
            <a:r>
              <a:rPr sz="600" spc="-20" dirty="0">
                <a:solidFill>
                  <a:srgbClr val="757982"/>
                </a:solidFill>
                <a:latin typeface="Neue Frutiger World" panose="020B0603040304020203" pitchFamily="34" charset="0"/>
                <a:cs typeface="Neue Frutiger World" panose="020B0603040304020203" pitchFamily="34" charset="0"/>
              </a:rPr>
              <a:t>Cardiac Rhythm</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Management </a:t>
            </a:r>
            <a:r>
              <a:rPr sz="600" spc="-15" dirty="0">
                <a:solidFill>
                  <a:srgbClr val="757982"/>
                </a:solidFill>
                <a:latin typeface="Neue Frutiger World" panose="020B0603040304020203" pitchFamily="34" charset="0"/>
                <a:cs typeface="Neue Frutiger World" panose="020B0603040304020203" pitchFamily="34" charset="0"/>
              </a:rPr>
              <a:t>Device </a:t>
            </a:r>
            <a:r>
              <a:rPr sz="600" spc="-20" dirty="0">
                <a:solidFill>
                  <a:srgbClr val="757982"/>
                </a:solidFill>
                <a:latin typeface="Neue Frutiger World" panose="020B0603040304020203" pitchFamily="34" charset="0"/>
                <a:cs typeface="Neue Frutiger World" panose="020B0603040304020203" pitchFamily="34" charset="0"/>
              </a:rPr>
              <a:t>Infections </a:t>
            </a:r>
            <a:r>
              <a:rPr sz="600" spc="-15" dirty="0">
                <a:solidFill>
                  <a:srgbClr val="757982"/>
                </a:solidFill>
                <a:latin typeface="Neue Frutiger World" panose="020B0603040304020203" pitchFamily="34" charset="0"/>
                <a:cs typeface="Neue Frutiger World" panose="020B0603040304020203" pitchFamily="34" charset="0"/>
              </a:rPr>
              <a:t>in </a:t>
            </a:r>
            <a:r>
              <a:rPr sz="600" spc="-20" dirty="0">
                <a:solidFill>
                  <a:srgbClr val="757982"/>
                </a:solidFill>
                <a:latin typeface="Neue Frutiger World" panose="020B0603040304020203" pitchFamily="34" charset="0"/>
                <a:cs typeface="Neue Frutiger World" panose="020B0603040304020203" pitchFamily="34" charset="0"/>
              </a:rPr>
              <a:t>the United </a:t>
            </a:r>
            <a:r>
              <a:rPr sz="600" spc="-25" dirty="0">
                <a:solidFill>
                  <a:srgbClr val="757982"/>
                </a:solidFill>
                <a:latin typeface="Neue Frutiger World" panose="020B0603040304020203" pitchFamily="34" charset="0"/>
                <a:cs typeface="Neue Frutiger World" panose="020B0603040304020203" pitchFamily="34" charset="0"/>
              </a:rPr>
              <a:t>States:</a:t>
            </a:r>
            <a:r>
              <a:rPr lang="en-GB" sz="600" spc="-2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1</a:t>
            </a:r>
            <a:r>
              <a:rPr sz="600" spc="-15" dirty="0">
                <a:solidFill>
                  <a:srgbClr val="757982"/>
                </a:solidFill>
                <a:latin typeface="Neue Frutiger World" panose="020B0603040304020203" pitchFamily="34" charset="0"/>
                <a:cs typeface="Neue Frutiger World" panose="020B0603040304020203" pitchFamily="34" charset="0"/>
              </a:rPr>
              <a:t>9</a:t>
            </a:r>
            <a:r>
              <a:rPr sz="600" spc="-10" dirty="0">
                <a:solidFill>
                  <a:srgbClr val="757982"/>
                </a:solidFill>
                <a:latin typeface="Neue Frutiger World" panose="020B0603040304020203" pitchFamily="34" charset="0"/>
                <a:cs typeface="Neue Frutiger World" panose="020B0603040304020203" pitchFamily="34" charset="0"/>
              </a:rPr>
              <a:t>9</a:t>
            </a:r>
            <a:r>
              <a:rPr sz="600" dirty="0">
                <a:solidFill>
                  <a:srgbClr val="757982"/>
                </a:solidFill>
                <a:latin typeface="Neue Frutiger World" panose="020B0603040304020203" pitchFamily="34" charset="0"/>
                <a:cs typeface="Neue Frutiger World" panose="020B0603040304020203" pitchFamily="34" charset="0"/>
              </a:rPr>
              <a:t>6</a:t>
            </a:r>
            <a:r>
              <a:rPr sz="600" spc="-15" dirty="0">
                <a:solidFill>
                  <a:srgbClr val="757982"/>
                </a:solidFill>
                <a:latin typeface="Neue Frutiger World" panose="020B0603040304020203" pitchFamily="34" charset="0"/>
                <a:cs typeface="Neue Frutiger World" panose="020B0603040304020203" pitchFamily="34" charset="0"/>
              </a:rPr>
              <a:t> </a:t>
            </a:r>
            <a:r>
              <a:rPr sz="600" spc="-25" dirty="0">
                <a:solidFill>
                  <a:srgbClr val="757982"/>
                </a:solidFill>
                <a:latin typeface="Neue Frutiger World" panose="020B0603040304020203" pitchFamily="34" charset="0"/>
                <a:cs typeface="Neue Frutiger World" panose="020B0603040304020203" pitchFamily="34" charset="0"/>
              </a:rPr>
              <a:t>th</a:t>
            </a:r>
            <a:r>
              <a:rPr sz="600" spc="-35" dirty="0">
                <a:solidFill>
                  <a:srgbClr val="757982"/>
                </a:solidFill>
                <a:latin typeface="Neue Frutiger World" panose="020B0603040304020203" pitchFamily="34" charset="0"/>
                <a:cs typeface="Neue Frutiger World" panose="020B0603040304020203" pitchFamily="34" charset="0"/>
              </a:rPr>
              <a:t>r</a:t>
            </a:r>
            <a:r>
              <a:rPr sz="600" spc="-20" dirty="0">
                <a:solidFill>
                  <a:srgbClr val="757982"/>
                </a:solidFill>
                <a:latin typeface="Neue Frutiger World" panose="020B0603040304020203" pitchFamily="34" charset="0"/>
                <a:cs typeface="Neue Frutiger World" panose="020B0603040304020203" pitchFamily="34" charset="0"/>
              </a:rPr>
              <a:t>oug</a:t>
            </a:r>
            <a:r>
              <a:rPr sz="600" spc="-10" dirty="0">
                <a:solidFill>
                  <a:srgbClr val="757982"/>
                </a:solidFill>
                <a:latin typeface="Neue Frutiger World" panose="020B0603040304020203" pitchFamily="34" charset="0"/>
                <a:cs typeface="Neue Frutiger World" panose="020B0603040304020203" pitchFamily="34" charset="0"/>
              </a:rPr>
              <a:t>h</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2</a:t>
            </a:r>
            <a:r>
              <a:rPr sz="600" spc="-10" dirty="0">
                <a:solidFill>
                  <a:srgbClr val="757982"/>
                </a:solidFill>
                <a:latin typeface="Neue Frutiger World" panose="020B0603040304020203" pitchFamily="34" charset="0"/>
                <a:cs typeface="Neue Frutiger World" panose="020B0603040304020203" pitchFamily="34" charset="0"/>
              </a:rPr>
              <a:t>0</a:t>
            </a:r>
            <a:r>
              <a:rPr sz="600" spc="-40" dirty="0">
                <a:solidFill>
                  <a:srgbClr val="757982"/>
                </a:solidFill>
                <a:latin typeface="Neue Frutiger World" panose="020B0603040304020203" pitchFamily="34" charset="0"/>
                <a:cs typeface="Neue Frutiger World" panose="020B0603040304020203" pitchFamily="34" charset="0"/>
              </a:rPr>
              <a:t>0</a:t>
            </a:r>
            <a:r>
              <a:rPr sz="600" spc="-10" dirty="0">
                <a:solidFill>
                  <a:srgbClr val="757982"/>
                </a:solidFill>
                <a:latin typeface="Neue Frutiger World" panose="020B0603040304020203" pitchFamily="34" charset="0"/>
                <a:cs typeface="Neue Frutiger World" panose="020B0603040304020203" pitchFamily="34" charset="0"/>
              </a:rPr>
              <a:t>3</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5" dirty="0">
                <a:solidFill>
                  <a:srgbClr val="757982"/>
                </a:solidFill>
                <a:latin typeface="Neue Frutiger World" panose="020B0603040304020203" pitchFamily="34" charset="0"/>
                <a:cs typeface="Neue Frutiger World" panose="020B0603040304020203" pitchFamily="34" charset="0"/>
              </a:rPr>
              <a:t>J</a:t>
            </a:r>
            <a:r>
              <a:rPr sz="600" spc="-30" dirty="0">
                <a:solidFill>
                  <a:srgbClr val="757982"/>
                </a:solidFill>
                <a:latin typeface="Neue Frutiger World" panose="020B0603040304020203" pitchFamily="34" charset="0"/>
                <a:cs typeface="Neue Frutiger World" panose="020B0603040304020203" pitchFamily="34" charset="0"/>
              </a:rPr>
              <a:t>AC</a:t>
            </a:r>
            <a:r>
              <a:rPr sz="600" dirty="0">
                <a:solidFill>
                  <a:srgbClr val="757982"/>
                </a:solidFill>
                <a:latin typeface="Neue Frutiger World" panose="020B0603040304020203" pitchFamily="34" charset="0"/>
                <a:cs typeface="Neue Frutiger World" panose="020B0603040304020203" pitchFamily="34" charset="0"/>
              </a:rPr>
              <a:t>C</a:t>
            </a:r>
            <a:r>
              <a:rPr sz="600" spc="-35" dirty="0">
                <a:solidFill>
                  <a:srgbClr val="757982"/>
                </a:solidFill>
                <a:latin typeface="Neue Frutiger World" panose="020B0603040304020203" pitchFamily="34" charset="0"/>
                <a:cs typeface="Neue Frutiger World" panose="020B0603040304020203" pitchFamily="34" charset="0"/>
              </a:rPr>
              <a:t> </a:t>
            </a:r>
            <a:r>
              <a:rPr sz="600" spc="-40" dirty="0">
                <a:solidFill>
                  <a:srgbClr val="757982"/>
                </a:solidFill>
                <a:latin typeface="Neue Frutiger World" panose="020B0603040304020203" pitchFamily="34" charset="0"/>
                <a:cs typeface="Neue Frutiger World" panose="020B0603040304020203" pitchFamily="34" charset="0"/>
              </a:rPr>
              <a:t>V</a:t>
            </a:r>
            <a:r>
              <a:rPr sz="600" spc="-10" dirty="0">
                <a:solidFill>
                  <a:srgbClr val="757982"/>
                </a:solidFill>
                <a:latin typeface="Neue Frutiger World" panose="020B0603040304020203" pitchFamily="34" charset="0"/>
                <a:cs typeface="Neue Frutiger World" panose="020B0603040304020203" pitchFamily="34" charset="0"/>
              </a:rPr>
              <a:t>ol</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48</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N</a:t>
            </a:r>
            <a:r>
              <a:rPr sz="600" spc="-25" dirty="0">
                <a:solidFill>
                  <a:srgbClr val="757982"/>
                </a:solidFill>
                <a:latin typeface="Neue Frutiger World" panose="020B0603040304020203" pitchFamily="34" charset="0"/>
                <a:cs typeface="Neue Frutiger World" panose="020B0603040304020203" pitchFamily="34" charset="0"/>
              </a:rPr>
              <a:t>o</a:t>
            </a:r>
            <a:r>
              <a:rPr sz="600" spc="5"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3</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2</a:t>
            </a:r>
            <a:r>
              <a:rPr sz="600" spc="-15" dirty="0">
                <a:solidFill>
                  <a:srgbClr val="757982"/>
                </a:solidFill>
                <a:latin typeface="Neue Frutiger World" panose="020B0603040304020203" pitchFamily="34" charset="0"/>
                <a:cs typeface="Neue Frutiger World" panose="020B0603040304020203" pitchFamily="34" charset="0"/>
              </a:rPr>
              <a:t>006</a:t>
            </a:r>
            <a:r>
              <a:rPr sz="600" spc="-5"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5</a:t>
            </a:r>
            <a:r>
              <a:rPr sz="600" spc="-10" dirty="0">
                <a:solidFill>
                  <a:srgbClr val="757982"/>
                </a:solidFill>
                <a:latin typeface="Neue Frutiger World" panose="020B0603040304020203" pitchFamily="34" charset="0"/>
                <a:cs typeface="Neue Frutiger World" panose="020B0603040304020203" pitchFamily="34" charset="0"/>
              </a:rPr>
              <a:t>9</a:t>
            </a:r>
            <a:r>
              <a:rPr sz="600" spc="-5" dirty="0">
                <a:solidFill>
                  <a:srgbClr val="757982"/>
                </a:solidFill>
                <a:latin typeface="Neue Frutiger World" panose="020B0603040304020203" pitchFamily="34" charset="0"/>
                <a:cs typeface="Neue Frutiger World" panose="020B0603040304020203" pitchFamily="34" charset="0"/>
              </a:rPr>
              <a:t>0</a:t>
            </a:r>
            <a:r>
              <a:rPr sz="600" spc="-10" dirty="0">
                <a:solidFill>
                  <a:srgbClr val="757982"/>
                </a:solidFill>
                <a:latin typeface="Neue Frutiger World" panose="020B0603040304020203" pitchFamily="34" charset="0"/>
                <a:cs typeface="Neue Frutiger World" panose="020B0603040304020203" pitchFamily="34" charset="0"/>
              </a:rPr>
              <a:t>-1.</a:t>
            </a:r>
            <a:endParaRPr sz="600" dirty="0">
              <a:latin typeface="Neue Frutiger World" panose="020B0603040304020203" pitchFamily="34" charset="0"/>
              <a:cs typeface="Neue Frutiger World" panose="020B0603040304020203" pitchFamily="34" charset="0"/>
            </a:endParaRPr>
          </a:p>
          <a:p>
            <a:pPr marL="92075" marR="34922" indent="-92075">
              <a:spcBef>
                <a:spcPts val="450"/>
              </a:spcBef>
              <a:buAutoNum type="arabicPeriod"/>
              <a:tabLst>
                <a:tab pos="92075" algn="l"/>
              </a:tabLst>
            </a:pPr>
            <a:r>
              <a:rPr sz="600" spc="-40" dirty="0">
                <a:solidFill>
                  <a:srgbClr val="757982"/>
                </a:solidFill>
                <a:latin typeface="Neue Frutiger World" panose="020B0603040304020203" pitchFamily="34" charset="0"/>
                <a:cs typeface="Neue Frutiger World" panose="020B0603040304020203" pitchFamily="34" charset="0"/>
              </a:rPr>
              <a:t>V</a:t>
            </a:r>
            <a:r>
              <a:rPr sz="600" spc="-20" dirty="0">
                <a:solidFill>
                  <a:srgbClr val="757982"/>
                </a:solidFill>
                <a:latin typeface="Neue Frutiger World" panose="020B0603040304020203" pitchFamily="34" charset="0"/>
                <a:cs typeface="Neue Frutiger World" panose="020B0603040304020203" pitchFamily="34" charset="0"/>
              </a:rPr>
              <a:t>oigt</a:t>
            </a:r>
            <a:r>
              <a:rPr sz="600" spc="-5" dirty="0">
                <a:solidFill>
                  <a:srgbClr val="757982"/>
                </a:solidFill>
                <a:latin typeface="Neue Frutiger World" panose="020B0603040304020203" pitchFamily="34" charset="0"/>
                <a:cs typeface="Neue Frutiger World" panose="020B0603040304020203" pitchFamily="34" charset="0"/>
              </a:rPr>
              <a:t>,</a:t>
            </a:r>
            <a:r>
              <a:rPr sz="600" spc="-3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nd</a:t>
            </a:r>
            <a:r>
              <a:rPr sz="600" spc="-25" dirty="0">
                <a:solidFill>
                  <a:srgbClr val="757982"/>
                </a:solidFill>
                <a:latin typeface="Neue Frutiger World" panose="020B0603040304020203" pitchFamily="34" charset="0"/>
                <a:cs typeface="Neue Frutiger World" panose="020B0603040304020203" pitchFamily="34" charset="0"/>
              </a:rPr>
              <a:t>re</a:t>
            </a:r>
            <a:r>
              <a:rPr sz="600" spc="-30" dirty="0">
                <a:solidFill>
                  <a:srgbClr val="757982"/>
                </a:solidFill>
                <a:latin typeface="Neue Frutiger World" panose="020B0603040304020203" pitchFamily="34" charset="0"/>
                <a:cs typeface="Neue Frutiger World" panose="020B0603040304020203" pitchFamily="34" charset="0"/>
              </a:rPr>
              <a:t>w</a:t>
            </a:r>
            <a:r>
              <a:rPr sz="600" spc="5"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30" dirty="0">
                <a:solidFill>
                  <a:srgbClr val="757982"/>
                </a:solidFill>
                <a:latin typeface="Neue Frutiger World" panose="020B0603040304020203" pitchFamily="34" charset="0"/>
                <a:cs typeface="Neue Frutiger World" panose="020B0603040304020203" pitchFamily="34" charset="0"/>
              </a:rPr>
              <a:t>e</a:t>
            </a:r>
            <a:r>
              <a:rPr sz="600" spc="-10" dirty="0">
                <a:solidFill>
                  <a:srgbClr val="757982"/>
                </a:solidFill>
                <a:latin typeface="Neue Frutiger World" panose="020B0603040304020203" pitchFamily="34" charset="0"/>
                <a:cs typeface="Neue Frutiger World" panose="020B0603040304020203" pitchFamily="34" charset="0"/>
              </a:rPr>
              <a:t>t</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a:t>
            </a:r>
            <a:r>
              <a:rPr sz="600" spc="-10" dirty="0">
                <a:solidFill>
                  <a:srgbClr val="757982"/>
                </a:solidFill>
                <a:latin typeface="Neue Frutiger World" panose="020B0603040304020203" pitchFamily="34" charset="0"/>
                <a:cs typeface="Neue Frutiger World" panose="020B0603040304020203" pitchFamily="34" charset="0"/>
              </a:rPr>
              <a:t>l</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25" dirty="0">
                <a:solidFill>
                  <a:srgbClr val="757982"/>
                </a:solidFill>
                <a:latin typeface="Neue Frutiger World" panose="020B0603040304020203" pitchFamily="34" charset="0"/>
                <a:cs typeface="Neue Frutiger World" panose="020B0603040304020203" pitchFamily="34" charset="0"/>
              </a:rPr>
              <a:t>C</a:t>
            </a:r>
            <a:r>
              <a:rPr sz="600" spc="-20" dirty="0">
                <a:solidFill>
                  <a:srgbClr val="757982"/>
                </a:solidFill>
                <a:latin typeface="Neue Frutiger World" panose="020B0603040304020203" pitchFamily="34" charset="0"/>
                <a:cs typeface="Neue Frutiger World" panose="020B0603040304020203" pitchFamily="34" charset="0"/>
              </a:rPr>
              <a:t>ontinue</a:t>
            </a:r>
            <a:r>
              <a:rPr sz="600" spc="-15" dirty="0">
                <a:solidFill>
                  <a:srgbClr val="757982"/>
                </a:solidFill>
                <a:latin typeface="Neue Frutiger World" panose="020B0603040304020203" pitchFamily="34" charset="0"/>
                <a:cs typeface="Neue Frutiger World" panose="020B0603040304020203" pitchFamily="34" charset="0"/>
              </a:rPr>
              <a:t>d </a:t>
            </a:r>
            <a:r>
              <a:rPr sz="600" spc="-20" dirty="0">
                <a:solidFill>
                  <a:srgbClr val="757982"/>
                </a:solidFill>
                <a:latin typeface="Neue Frutiger World" panose="020B0603040304020203" pitchFamily="34" charset="0"/>
                <a:cs typeface="Neue Frutiger World" panose="020B0603040304020203" pitchFamily="34" charset="0"/>
              </a:rPr>
              <a:t>Ris</a:t>
            </a:r>
            <a:r>
              <a:rPr sz="600" spc="-10" dirty="0">
                <a:solidFill>
                  <a:srgbClr val="757982"/>
                </a:solidFill>
                <a:latin typeface="Neue Frutiger World" panose="020B0603040304020203" pitchFamily="34" charset="0"/>
                <a:cs typeface="Neue Frutiger World" panose="020B0603040304020203" pitchFamily="34" charset="0"/>
              </a:rPr>
              <a:t>e</a:t>
            </a:r>
            <a:r>
              <a:rPr sz="600" spc="-15" dirty="0">
                <a:solidFill>
                  <a:srgbClr val="757982"/>
                </a:solidFill>
                <a:latin typeface="Neue Frutiger World" panose="020B0603040304020203" pitchFamily="34" charset="0"/>
                <a:cs typeface="Neue Frutiger World" panose="020B0603040304020203" pitchFamily="34" charset="0"/>
              </a:rPr>
              <a:t> in </a:t>
            </a:r>
            <a:r>
              <a:rPr sz="600" spc="-25" dirty="0">
                <a:solidFill>
                  <a:srgbClr val="757982"/>
                </a:solidFill>
                <a:latin typeface="Neue Frutiger World" panose="020B0603040304020203" pitchFamily="34" charset="0"/>
                <a:cs typeface="Neue Frutiger World" panose="020B0603040304020203" pitchFamily="34" charset="0"/>
              </a:rPr>
              <a:t>R</a:t>
            </a:r>
            <a:r>
              <a:rPr sz="600" spc="-20" dirty="0">
                <a:solidFill>
                  <a:srgbClr val="757982"/>
                </a:solidFill>
                <a:latin typeface="Neue Frutiger World" panose="020B0603040304020203" pitchFamily="34" charset="0"/>
                <a:cs typeface="Neue Frutiger World" panose="020B0603040304020203" pitchFamily="34" charset="0"/>
              </a:rPr>
              <a:t>a</a:t>
            </a:r>
            <a:r>
              <a:rPr sz="600" spc="-40" dirty="0">
                <a:solidFill>
                  <a:srgbClr val="757982"/>
                </a:solidFill>
                <a:latin typeface="Neue Frutiger World" panose="020B0603040304020203" pitchFamily="34" charset="0"/>
                <a:cs typeface="Neue Frutiger World" panose="020B0603040304020203" pitchFamily="34" charset="0"/>
              </a:rPr>
              <a:t>t</a:t>
            </a:r>
            <a:r>
              <a:rPr sz="600" spc="-20" dirty="0">
                <a:solidFill>
                  <a:srgbClr val="757982"/>
                </a:solidFill>
                <a:latin typeface="Neue Frutiger World" panose="020B0603040304020203" pitchFamily="34" charset="0"/>
                <a:cs typeface="Neue Frutiger World" panose="020B0603040304020203" pitchFamily="34" charset="0"/>
              </a:rPr>
              <a:t>e</a:t>
            </a:r>
            <a:r>
              <a:rPr sz="600" spc="-10" dirty="0">
                <a:solidFill>
                  <a:srgbClr val="757982"/>
                </a:solidFill>
                <a:latin typeface="Neue Frutiger World" panose="020B0603040304020203" pitchFamily="34" charset="0"/>
                <a:cs typeface="Neue Frutiger World" panose="020B0603040304020203" pitchFamily="34" charset="0"/>
              </a:rPr>
              <a:t>s</a:t>
            </a:r>
            <a:r>
              <a:rPr sz="600" spc="-15" dirty="0">
                <a:solidFill>
                  <a:srgbClr val="757982"/>
                </a:solidFill>
                <a:latin typeface="Neue Frutiger World" panose="020B0603040304020203" pitchFamily="34" charset="0"/>
                <a:cs typeface="Neue Frutiger World" panose="020B0603040304020203" pitchFamily="34" charset="0"/>
              </a:rPr>
              <a:t> of</a:t>
            </a:r>
            <a:r>
              <a:rPr lang="en-GB"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Cardiovascular</a:t>
            </a:r>
            <a:r>
              <a:rPr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mplantable</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Electronic</a:t>
            </a:r>
            <a:r>
              <a:rPr sz="600" spc="-1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Device</a:t>
            </a:r>
            <a:r>
              <a:rPr lang="en-GB" sz="600" spc="-15"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I</a:t>
            </a:r>
            <a:r>
              <a:rPr sz="600" spc="-20" dirty="0">
                <a:solidFill>
                  <a:srgbClr val="757982"/>
                </a:solidFill>
                <a:latin typeface="Neue Frutiger World" panose="020B0603040304020203" pitchFamily="34" charset="0"/>
                <a:cs typeface="Neue Frutiger World" panose="020B0603040304020203" pitchFamily="34" charset="0"/>
              </a:rPr>
              <a:t>n</a:t>
            </a:r>
            <a:r>
              <a:rPr sz="600" spc="-25" dirty="0">
                <a:solidFill>
                  <a:srgbClr val="757982"/>
                </a:solidFill>
                <a:latin typeface="Neue Frutiger World" panose="020B0603040304020203" pitchFamily="34" charset="0"/>
                <a:cs typeface="Neue Frutiger World" panose="020B0603040304020203" pitchFamily="34" charset="0"/>
              </a:rPr>
              <a:t>f</a:t>
            </a:r>
            <a:r>
              <a:rPr sz="600" spc="-20" dirty="0">
                <a:solidFill>
                  <a:srgbClr val="757982"/>
                </a:solidFill>
                <a:latin typeface="Neue Frutiger World" panose="020B0603040304020203" pitchFamily="34" charset="0"/>
                <a:cs typeface="Neue Frutiger World" panose="020B0603040304020203" pitchFamily="34" charset="0"/>
              </a:rPr>
              <a:t>ection</a:t>
            </a:r>
            <a:r>
              <a:rPr sz="600" spc="-10" dirty="0">
                <a:solidFill>
                  <a:srgbClr val="757982"/>
                </a:solidFill>
                <a:latin typeface="Neue Frutiger World" panose="020B0603040304020203" pitchFamily="34" charset="0"/>
                <a:cs typeface="Neue Frutiger World" panose="020B0603040304020203" pitchFamily="34" charset="0"/>
              </a:rPr>
              <a:t>s</a:t>
            </a:r>
            <a:r>
              <a:rPr sz="600" spc="-15" dirty="0">
                <a:solidFill>
                  <a:srgbClr val="757982"/>
                </a:solidFill>
                <a:latin typeface="Neue Frutiger World" panose="020B0603040304020203" pitchFamily="34" charset="0"/>
                <a:cs typeface="Neue Frutiger World" panose="020B0603040304020203" pitchFamily="34" charset="0"/>
              </a:rPr>
              <a:t> in </a:t>
            </a:r>
            <a:r>
              <a:rPr sz="600" spc="-20" dirty="0">
                <a:solidFill>
                  <a:srgbClr val="757982"/>
                </a:solidFill>
                <a:latin typeface="Neue Frutiger World" panose="020B0603040304020203" pitchFamily="34" charset="0"/>
                <a:cs typeface="Neue Frutiger World" panose="020B0603040304020203" pitchFamily="34" charset="0"/>
              </a:rPr>
              <a:t>th</a:t>
            </a:r>
            <a:r>
              <a:rPr sz="600" spc="-15" dirty="0">
                <a:solidFill>
                  <a:srgbClr val="757982"/>
                </a:solidFill>
                <a:latin typeface="Neue Frutiger World" panose="020B0603040304020203" pitchFamily="34" charset="0"/>
                <a:cs typeface="Neue Frutiger World" panose="020B0603040304020203" pitchFamily="34" charset="0"/>
              </a:rPr>
              <a:t>e </a:t>
            </a:r>
            <a:r>
              <a:rPr sz="600" spc="-30" dirty="0">
                <a:solidFill>
                  <a:srgbClr val="757982"/>
                </a:solidFill>
                <a:latin typeface="Neue Frutiger World" panose="020B0603040304020203" pitchFamily="34" charset="0"/>
                <a:cs typeface="Neue Frutiger World" panose="020B0603040304020203" pitchFamily="34" charset="0"/>
              </a:rPr>
              <a:t>U</a:t>
            </a:r>
            <a:r>
              <a:rPr sz="600" spc="-25" dirty="0">
                <a:solidFill>
                  <a:srgbClr val="757982"/>
                </a:solidFill>
                <a:latin typeface="Neue Frutiger World" panose="020B0603040304020203" pitchFamily="34" charset="0"/>
                <a:cs typeface="Neue Frutiger World" panose="020B0603040304020203" pitchFamily="34" charset="0"/>
              </a:rPr>
              <a:t>ni</a:t>
            </a:r>
            <a:r>
              <a:rPr sz="600" spc="-30" dirty="0">
                <a:solidFill>
                  <a:srgbClr val="757982"/>
                </a:solidFill>
                <a:latin typeface="Neue Frutiger World" panose="020B0603040304020203" pitchFamily="34" charset="0"/>
                <a:cs typeface="Neue Frutiger World" panose="020B0603040304020203" pitchFamily="34" charset="0"/>
              </a:rPr>
              <a:t>t</a:t>
            </a:r>
            <a:r>
              <a:rPr sz="600" spc="-20" dirty="0">
                <a:solidFill>
                  <a:srgbClr val="757982"/>
                </a:solidFill>
                <a:latin typeface="Neue Frutiger World" panose="020B0603040304020203" pitchFamily="34" charset="0"/>
                <a:cs typeface="Neue Frutiger World" panose="020B0603040304020203" pitchFamily="34" charset="0"/>
              </a:rPr>
              <a:t>e</a:t>
            </a:r>
            <a:r>
              <a:rPr sz="600" spc="-10" dirty="0">
                <a:solidFill>
                  <a:srgbClr val="757982"/>
                </a:solidFill>
                <a:latin typeface="Neue Frutiger World" panose="020B0603040304020203" pitchFamily="34" charset="0"/>
                <a:cs typeface="Neue Frutiger World" panose="020B0603040304020203" pitchFamily="34" charset="0"/>
              </a:rPr>
              <a:t>d</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S</a:t>
            </a:r>
            <a:r>
              <a:rPr sz="600" spc="-30" dirty="0">
                <a:solidFill>
                  <a:srgbClr val="757982"/>
                </a:solidFill>
                <a:latin typeface="Neue Frutiger World" panose="020B0603040304020203" pitchFamily="34" charset="0"/>
                <a:cs typeface="Neue Frutiger World" panose="020B0603040304020203" pitchFamily="34" charset="0"/>
              </a:rPr>
              <a:t>t</a:t>
            </a:r>
            <a:r>
              <a:rPr sz="600" spc="-20" dirty="0">
                <a:solidFill>
                  <a:srgbClr val="757982"/>
                </a:solidFill>
                <a:latin typeface="Neue Frutiger World" panose="020B0603040304020203" pitchFamily="34" charset="0"/>
                <a:cs typeface="Neue Frutiger World" panose="020B0603040304020203" pitchFamily="34" charset="0"/>
              </a:rPr>
              <a:t>a</a:t>
            </a:r>
            <a:r>
              <a:rPr sz="600" spc="-40" dirty="0">
                <a:solidFill>
                  <a:srgbClr val="757982"/>
                </a:solidFill>
                <a:latin typeface="Neue Frutiger World" panose="020B0603040304020203" pitchFamily="34" charset="0"/>
                <a:cs typeface="Neue Frutiger World" panose="020B0603040304020203" pitchFamily="34" charset="0"/>
              </a:rPr>
              <a:t>t</a:t>
            </a:r>
            <a:r>
              <a:rPr sz="600" spc="-20" dirty="0">
                <a:solidFill>
                  <a:srgbClr val="757982"/>
                </a:solidFill>
                <a:latin typeface="Neue Frutiger World" panose="020B0603040304020203" pitchFamily="34" charset="0"/>
                <a:cs typeface="Neue Frutiger World" panose="020B0603040304020203" pitchFamily="34" charset="0"/>
              </a:rPr>
              <a:t>es</a:t>
            </a:r>
            <a:r>
              <a:rPr sz="600" spc="-5" dirty="0">
                <a:solidFill>
                  <a:srgbClr val="757982"/>
                </a:solidFill>
                <a:latin typeface="Neue Frutiger World" panose="020B0603040304020203" pitchFamily="34" charset="0"/>
                <a:cs typeface="Neue Frutiger World" panose="020B0603040304020203" pitchFamily="34" charset="0"/>
              </a:rPr>
              <a:t>:</a:t>
            </a:r>
            <a:r>
              <a:rPr sz="600" spc="-30" dirty="0">
                <a:solidFill>
                  <a:srgbClr val="757982"/>
                </a:solidFill>
                <a:latin typeface="Neue Frutiger World" panose="020B0603040304020203" pitchFamily="34" charset="0"/>
                <a:cs typeface="Neue Frutiger World" panose="020B0603040304020203" pitchFamily="34" charset="0"/>
              </a:rPr>
              <a:t> </a:t>
            </a:r>
            <a:r>
              <a:rPr sz="600" spc="-70" dirty="0">
                <a:solidFill>
                  <a:srgbClr val="757982"/>
                </a:solidFill>
                <a:latin typeface="Neue Frutiger World" panose="020B0603040304020203" pitchFamily="34" charset="0"/>
                <a:cs typeface="Neue Frutiger World" panose="020B0603040304020203" pitchFamily="34" charset="0"/>
              </a:rPr>
              <a:t>T</a:t>
            </a:r>
            <a:r>
              <a:rPr sz="600" spc="-20" dirty="0">
                <a:solidFill>
                  <a:srgbClr val="757982"/>
                </a:solidFill>
                <a:latin typeface="Neue Frutiger World" panose="020B0603040304020203" pitchFamily="34" charset="0"/>
                <a:cs typeface="Neue Frutiger World" panose="020B0603040304020203" pitchFamily="34" charset="0"/>
              </a:rPr>
              <a:t>empora</a:t>
            </a:r>
            <a:r>
              <a:rPr sz="600" spc="-5" dirty="0">
                <a:solidFill>
                  <a:srgbClr val="757982"/>
                </a:solidFill>
                <a:latin typeface="Neue Frutiger World" panose="020B0603040304020203" pitchFamily="34" charset="0"/>
                <a:cs typeface="Neue Frutiger World" panose="020B0603040304020203" pitchFamily="34" charset="0"/>
              </a:rPr>
              <a:t>l</a:t>
            </a:r>
            <a:r>
              <a:rPr sz="600" spc="-30" dirty="0">
                <a:solidFill>
                  <a:srgbClr val="757982"/>
                </a:solidFill>
                <a:latin typeface="Neue Frutiger World" panose="020B0603040304020203" pitchFamily="34" charset="0"/>
                <a:cs typeface="Neue Frutiger World" panose="020B0603040304020203" pitchFamily="34" charset="0"/>
              </a:rPr>
              <a:t> </a:t>
            </a:r>
            <a:r>
              <a:rPr sz="600" spc="-55" dirty="0">
                <a:solidFill>
                  <a:srgbClr val="757982"/>
                </a:solidFill>
                <a:latin typeface="Neue Frutiger World" panose="020B0603040304020203" pitchFamily="34" charset="0"/>
                <a:cs typeface="Neue Frutiger World" panose="020B0603040304020203" pitchFamily="34" charset="0"/>
              </a:rPr>
              <a:t>T</a:t>
            </a:r>
            <a:r>
              <a:rPr sz="600" spc="-35" dirty="0">
                <a:solidFill>
                  <a:srgbClr val="757982"/>
                </a:solidFill>
                <a:latin typeface="Neue Frutiger World" panose="020B0603040304020203" pitchFamily="34" charset="0"/>
                <a:cs typeface="Neue Frutiger World" panose="020B0603040304020203" pitchFamily="34" charset="0"/>
              </a:rPr>
              <a:t>r</a:t>
            </a:r>
            <a:r>
              <a:rPr sz="600" spc="-20" dirty="0">
                <a:solidFill>
                  <a:srgbClr val="757982"/>
                </a:solidFill>
                <a:latin typeface="Neue Frutiger World" panose="020B0603040304020203" pitchFamily="34" charset="0"/>
                <a:cs typeface="Neue Frutiger World" panose="020B0603040304020203" pitchFamily="34" charset="0"/>
              </a:rPr>
              <a:t>end</a:t>
            </a:r>
            <a:r>
              <a:rPr sz="600" spc="-10" dirty="0">
                <a:solidFill>
                  <a:srgbClr val="757982"/>
                </a:solidFill>
                <a:latin typeface="Neue Frutiger World" panose="020B0603040304020203" pitchFamily="34" charset="0"/>
                <a:cs typeface="Neue Frutiger World" panose="020B0603040304020203" pitchFamily="34" charset="0"/>
              </a:rPr>
              <a:t>s</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nd</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Causative</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nsights.</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PACE</a:t>
            </a:r>
            <a:r>
              <a:rPr sz="600" spc="-1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Vol.</a:t>
            </a:r>
            <a:r>
              <a:rPr sz="600" spc="-10" dirty="0">
                <a:solidFill>
                  <a:srgbClr val="757982"/>
                </a:solidFill>
                <a:latin typeface="Neue Frutiger World" panose="020B0603040304020203" pitchFamily="34" charset="0"/>
                <a:cs typeface="Neue Frutiger World" panose="020B0603040304020203" pitchFamily="34" charset="0"/>
              </a:rPr>
              <a:t> 33,</a:t>
            </a:r>
            <a:r>
              <a:rPr sz="600" spc="-15" dirty="0">
                <a:solidFill>
                  <a:srgbClr val="757982"/>
                </a:solidFill>
                <a:latin typeface="Neue Frutiger World" panose="020B0603040304020203" pitchFamily="34" charset="0"/>
                <a:cs typeface="Neue Frutiger World" panose="020B0603040304020203" pitchFamily="34" charset="0"/>
              </a:rPr>
              <a:t> No.</a:t>
            </a:r>
            <a:r>
              <a:rPr sz="600" spc="-10" dirty="0">
                <a:solidFill>
                  <a:srgbClr val="757982"/>
                </a:solidFill>
                <a:latin typeface="Neue Frutiger World" panose="020B0603040304020203" pitchFamily="34" charset="0"/>
                <a:cs typeface="Neue Frutiger World" panose="020B0603040304020203" pitchFamily="34" charset="0"/>
              </a:rPr>
              <a:t> </a:t>
            </a:r>
            <a:r>
              <a:rPr sz="600" dirty="0">
                <a:solidFill>
                  <a:srgbClr val="757982"/>
                </a:solidFill>
                <a:latin typeface="Neue Frutiger World" panose="020B0603040304020203" pitchFamily="34" charset="0"/>
                <a:cs typeface="Neue Frutiger World" panose="020B0603040304020203" pitchFamily="34" charset="0"/>
              </a:rPr>
              <a:t>4,</a:t>
            </a:r>
            <a:r>
              <a:rPr sz="600" spc="-15" dirty="0">
                <a:solidFill>
                  <a:srgbClr val="757982"/>
                </a:solidFill>
                <a:latin typeface="Neue Frutiger World" panose="020B0603040304020203" pitchFamily="34" charset="0"/>
                <a:cs typeface="Neue Frutiger World" panose="020B0603040304020203" pitchFamily="34" charset="0"/>
              </a:rPr>
              <a:t> 2010:</a:t>
            </a:r>
            <a:r>
              <a:rPr sz="600" spc="-10" dirty="0">
                <a:solidFill>
                  <a:srgbClr val="757982"/>
                </a:solidFill>
                <a:latin typeface="Neue Frutiger World" panose="020B0603040304020203" pitchFamily="34" charset="0"/>
                <a:cs typeface="Neue Frutiger World" panose="020B0603040304020203" pitchFamily="34" charset="0"/>
              </a:rPr>
              <a:t> </a:t>
            </a:r>
            <a:r>
              <a:rPr sz="600" spc="-5" dirty="0">
                <a:solidFill>
                  <a:srgbClr val="757982"/>
                </a:solidFill>
                <a:latin typeface="Neue Frutiger World" panose="020B0603040304020203" pitchFamily="34" charset="0"/>
                <a:cs typeface="Neue Frutiger World" panose="020B0603040304020203" pitchFamily="34" charset="0"/>
              </a:rPr>
              <a:t>414-9.</a:t>
            </a:r>
            <a:endParaRPr sz="600" dirty="0">
              <a:latin typeface="Neue Frutiger World" panose="020B0603040304020203" pitchFamily="34" charset="0"/>
              <a:cs typeface="Neue Frutiger World" panose="020B0603040304020203" pitchFamily="34" charset="0"/>
            </a:endParaRPr>
          </a:p>
          <a:p>
            <a:pPr marL="92075" marR="149212" indent="-92075">
              <a:spcBef>
                <a:spcPts val="450"/>
              </a:spcBef>
              <a:buAutoNum type="arabicPeriod"/>
              <a:tabLst>
                <a:tab pos="92075" algn="l"/>
              </a:tabLst>
            </a:pPr>
            <a:r>
              <a:rPr sz="600" spc="-20" dirty="0">
                <a:solidFill>
                  <a:srgbClr val="757982"/>
                </a:solidFill>
                <a:latin typeface="Neue Frutiger World" panose="020B0603040304020203" pitchFamily="34" charset="0"/>
                <a:cs typeface="Neue Frutiger World" panose="020B0603040304020203" pitchFamily="34" charset="0"/>
              </a:rPr>
              <a:t>Greenspon </a:t>
            </a:r>
            <a:r>
              <a:rPr sz="600" spc="-5" dirty="0">
                <a:solidFill>
                  <a:srgbClr val="757982"/>
                </a:solidFill>
                <a:latin typeface="Neue Frutiger World" panose="020B0603040304020203" pitchFamily="34" charset="0"/>
                <a:cs typeface="Neue Frutiger World" panose="020B0603040304020203" pitchFamily="34" charset="0"/>
              </a:rPr>
              <a:t>AJ, </a:t>
            </a:r>
            <a:r>
              <a:rPr sz="600" spc="-20" dirty="0">
                <a:solidFill>
                  <a:srgbClr val="757982"/>
                </a:solidFill>
                <a:latin typeface="Neue Frutiger World" panose="020B0603040304020203" pitchFamily="34" charset="0"/>
                <a:cs typeface="Neue Frutiger World" panose="020B0603040304020203" pitchFamily="34" charset="0"/>
              </a:rPr>
              <a:t>Patel </a:t>
            </a:r>
            <a:r>
              <a:rPr sz="600" spc="-5" dirty="0">
                <a:solidFill>
                  <a:srgbClr val="757982"/>
                </a:solidFill>
                <a:latin typeface="Neue Frutiger World" panose="020B0603040304020203" pitchFamily="34" charset="0"/>
                <a:cs typeface="Neue Frutiger World" panose="020B0603040304020203" pitchFamily="34" charset="0"/>
              </a:rPr>
              <a:t>JD, </a:t>
            </a:r>
            <a:r>
              <a:rPr sz="600" spc="-15" dirty="0">
                <a:solidFill>
                  <a:srgbClr val="757982"/>
                </a:solidFill>
                <a:latin typeface="Neue Frutiger World" panose="020B0603040304020203" pitchFamily="34" charset="0"/>
                <a:cs typeface="Neue Frutiger World" panose="020B0603040304020203" pitchFamily="34" charset="0"/>
              </a:rPr>
              <a:t>Lau </a:t>
            </a:r>
            <a:r>
              <a:rPr sz="600" dirty="0">
                <a:solidFill>
                  <a:srgbClr val="757982"/>
                </a:solidFill>
                <a:latin typeface="Neue Frutiger World" panose="020B0603040304020203" pitchFamily="34" charset="0"/>
                <a:cs typeface="Neue Frutiger World" panose="020B0603040304020203" pitchFamily="34" charset="0"/>
              </a:rPr>
              <a:t>E, </a:t>
            </a:r>
            <a:r>
              <a:rPr sz="600" spc="-20" dirty="0">
                <a:solidFill>
                  <a:srgbClr val="757982"/>
                </a:solidFill>
                <a:latin typeface="Neue Frutiger World" panose="020B0603040304020203" pitchFamily="34" charset="0"/>
                <a:cs typeface="Neue Frutiger World" panose="020B0603040304020203" pitchFamily="34" charset="0"/>
              </a:rPr>
              <a:t>et </a:t>
            </a:r>
            <a:r>
              <a:rPr sz="600" spc="-10" dirty="0">
                <a:solidFill>
                  <a:srgbClr val="757982"/>
                </a:solidFill>
                <a:latin typeface="Neue Frutiger World" panose="020B0603040304020203" pitchFamily="34" charset="0"/>
                <a:cs typeface="Neue Frutiger World" panose="020B0603040304020203" pitchFamily="34" charset="0"/>
              </a:rPr>
              <a:t>al. </a:t>
            </a:r>
            <a:r>
              <a:rPr sz="600" spc="-25" dirty="0">
                <a:solidFill>
                  <a:srgbClr val="757982"/>
                </a:solidFill>
                <a:latin typeface="Neue Frutiger World" panose="020B0603040304020203" pitchFamily="34" charset="0"/>
                <a:cs typeface="Neue Frutiger World" panose="020B0603040304020203" pitchFamily="34" charset="0"/>
              </a:rPr>
              <a:t>16-Year</a:t>
            </a:r>
            <a:r>
              <a:rPr lang="en-GB" sz="600" spc="-25" dirty="0">
                <a:solidFill>
                  <a:srgbClr val="757982"/>
                </a:solidFill>
                <a:latin typeface="Neue Frutiger World" panose="020B0603040304020203" pitchFamily="34" charset="0"/>
                <a:cs typeface="Neue Frutiger World" panose="020B0603040304020203" pitchFamily="34" charset="0"/>
              </a:rPr>
              <a:t> </a:t>
            </a:r>
            <a:r>
              <a:rPr sz="600" spc="-55" dirty="0">
                <a:solidFill>
                  <a:srgbClr val="757982"/>
                </a:solidFill>
                <a:latin typeface="Neue Frutiger World" panose="020B0603040304020203" pitchFamily="34" charset="0"/>
                <a:cs typeface="Neue Frutiger World" panose="020B0603040304020203" pitchFamily="34" charset="0"/>
              </a:rPr>
              <a:t>T</a:t>
            </a:r>
            <a:r>
              <a:rPr sz="600" spc="-35" dirty="0">
                <a:solidFill>
                  <a:srgbClr val="757982"/>
                </a:solidFill>
                <a:latin typeface="Neue Frutiger World" panose="020B0603040304020203" pitchFamily="34" charset="0"/>
                <a:cs typeface="Neue Frutiger World" panose="020B0603040304020203" pitchFamily="34" charset="0"/>
              </a:rPr>
              <a:t>r</a:t>
            </a:r>
            <a:r>
              <a:rPr sz="600" spc="-20" dirty="0">
                <a:solidFill>
                  <a:srgbClr val="757982"/>
                </a:solidFill>
                <a:latin typeface="Neue Frutiger World" panose="020B0603040304020203" pitchFamily="34" charset="0"/>
                <a:cs typeface="Neue Frutiger World" panose="020B0603040304020203" pitchFamily="34" charset="0"/>
              </a:rPr>
              <a:t>end</a:t>
            </a:r>
            <a:r>
              <a:rPr sz="600" spc="-10" dirty="0">
                <a:solidFill>
                  <a:srgbClr val="757982"/>
                </a:solidFill>
                <a:latin typeface="Neue Frutiger World" panose="020B0603040304020203" pitchFamily="34" charset="0"/>
                <a:cs typeface="Neue Frutiger World" panose="020B0603040304020203" pitchFamily="34" charset="0"/>
              </a:rPr>
              <a:t>s</a:t>
            </a:r>
            <a:r>
              <a:rPr sz="600" spc="-15" dirty="0">
                <a:solidFill>
                  <a:srgbClr val="757982"/>
                </a:solidFill>
                <a:latin typeface="Neue Frutiger World" panose="020B0603040304020203" pitchFamily="34" charset="0"/>
                <a:cs typeface="Neue Frutiger World" panose="020B0603040304020203" pitchFamily="34" charset="0"/>
              </a:rPr>
              <a:t> in </a:t>
            </a:r>
            <a:r>
              <a:rPr sz="600" spc="-20" dirty="0">
                <a:solidFill>
                  <a:srgbClr val="757982"/>
                </a:solidFill>
                <a:latin typeface="Neue Frutiger World" panose="020B0603040304020203" pitchFamily="34" charset="0"/>
                <a:cs typeface="Neue Frutiger World" panose="020B0603040304020203" pitchFamily="34" charset="0"/>
              </a:rPr>
              <a:t>th</a:t>
            </a:r>
            <a:r>
              <a:rPr sz="600" spc="-15" dirty="0">
                <a:solidFill>
                  <a:srgbClr val="757982"/>
                </a:solidFill>
                <a:latin typeface="Neue Frutiger World" panose="020B0603040304020203" pitchFamily="34" charset="0"/>
                <a:cs typeface="Neue Frutiger World" panose="020B0603040304020203" pitchFamily="34" charset="0"/>
              </a:rPr>
              <a:t>e I</a:t>
            </a:r>
            <a:r>
              <a:rPr sz="600" spc="-20" dirty="0">
                <a:solidFill>
                  <a:srgbClr val="757982"/>
                </a:solidFill>
                <a:latin typeface="Neue Frutiger World" panose="020B0603040304020203" pitchFamily="34" charset="0"/>
                <a:cs typeface="Neue Frutiger World" panose="020B0603040304020203" pitchFamily="34" charset="0"/>
              </a:rPr>
              <a:t>n</a:t>
            </a:r>
            <a:r>
              <a:rPr sz="600" spc="-25" dirty="0">
                <a:solidFill>
                  <a:srgbClr val="757982"/>
                </a:solidFill>
                <a:latin typeface="Neue Frutiger World" panose="020B0603040304020203" pitchFamily="34" charset="0"/>
                <a:cs typeface="Neue Frutiger World" panose="020B0603040304020203" pitchFamily="34" charset="0"/>
              </a:rPr>
              <a:t>f</a:t>
            </a:r>
            <a:r>
              <a:rPr sz="600" spc="-20" dirty="0">
                <a:solidFill>
                  <a:srgbClr val="757982"/>
                </a:solidFill>
                <a:latin typeface="Neue Frutiger World" panose="020B0603040304020203" pitchFamily="34" charset="0"/>
                <a:cs typeface="Neue Frutiger World" panose="020B0603040304020203" pitchFamily="34" charset="0"/>
              </a:rPr>
              <a:t>ectio</a:t>
            </a:r>
            <a:r>
              <a:rPr sz="600" spc="-10" dirty="0">
                <a:solidFill>
                  <a:srgbClr val="757982"/>
                </a:solidFill>
                <a:latin typeface="Neue Frutiger World" panose="020B0603040304020203" pitchFamily="34" charset="0"/>
                <a:cs typeface="Neue Frutiger World" panose="020B0603040304020203" pitchFamily="34" charset="0"/>
              </a:rPr>
              <a:t>n</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B</a:t>
            </a:r>
            <a:r>
              <a:rPr sz="600" spc="-25" dirty="0">
                <a:solidFill>
                  <a:srgbClr val="757982"/>
                </a:solidFill>
                <a:latin typeface="Neue Frutiger World" panose="020B0603040304020203" pitchFamily="34" charset="0"/>
                <a:cs typeface="Neue Frutiger World" panose="020B0603040304020203" pitchFamily="34" charset="0"/>
              </a:rPr>
              <a:t>u</a:t>
            </a:r>
            <a:r>
              <a:rPr sz="600" spc="-30" dirty="0">
                <a:solidFill>
                  <a:srgbClr val="757982"/>
                </a:solidFill>
                <a:latin typeface="Neue Frutiger World" panose="020B0603040304020203" pitchFamily="34" charset="0"/>
                <a:cs typeface="Neue Frutiger World" panose="020B0603040304020203" pitchFamily="34" charset="0"/>
              </a:rPr>
              <a:t>r</a:t>
            </a:r>
            <a:r>
              <a:rPr sz="600" spc="-20" dirty="0">
                <a:solidFill>
                  <a:srgbClr val="757982"/>
                </a:solidFill>
                <a:latin typeface="Neue Frutiger World" panose="020B0603040304020203" pitchFamily="34" charset="0"/>
                <a:cs typeface="Neue Frutiger World" panose="020B0603040304020203" pitchFamily="34" charset="0"/>
              </a:rPr>
              <a:t>de</a:t>
            </a:r>
            <a:r>
              <a:rPr sz="600" spc="-10" dirty="0">
                <a:solidFill>
                  <a:srgbClr val="757982"/>
                </a:solidFill>
                <a:latin typeface="Neue Frutiger World" panose="020B0603040304020203" pitchFamily="34" charset="0"/>
                <a:cs typeface="Neue Frutiger World" panose="020B0603040304020203" pitchFamily="34" charset="0"/>
              </a:rPr>
              <a:t>n</a:t>
            </a:r>
            <a:r>
              <a:rPr sz="600" spc="-15" dirty="0">
                <a:solidFill>
                  <a:srgbClr val="757982"/>
                </a:solidFill>
                <a:latin typeface="Neue Frutiger World" panose="020B0603040304020203" pitchFamily="34" charset="0"/>
                <a:cs typeface="Neue Frutiger World" panose="020B0603040304020203" pitchFamily="34" charset="0"/>
              </a:rPr>
              <a:t> </a:t>
            </a:r>
            <a:r>
              <a:rPr sz="600" spc="-25" dirty="0">
                <a:solidFill>
                  <a:srgbClr val="757982"/>
                </a:solidFill>
                <a:latin typeface="Neue Frutiger World" panose="020B0603040304020203" pitchFamily="34" charset="0"/>
                <a:cs typeface="Neue Frutiger World" panose="020B0603040304020203" pitchFamily="34" charset="0"/>
              </a:rPr>
              <a:t>fo</a:t>
            </a:r>
            <a:r>
              <a:rPr sz="600" spc="-10" dirty="0">
                <a:solidFill>
                  <a:srgbClr val="757982"/>
                </a:solidFill>
                <a:latin typeface="Neue Frutiger World" panose="020B0603040304020203" pitchFamily="34" charset="0"/>
                <a:cs typeface="Neue Frutiger World" panose="020B0603040304020203" pitchFamily="34" charset="0"/>
              </a:rPr>
              <a:t>r</a:t>
            </a:r>
            <a:r>
              <a:rPr sz="600" spc="-25" dirty="0">
                <a:solidFill>
                  <a:srgbClr val="757982"/>
                </a:solidFill>
                <a:latin typeface="Neue Frutiger World" panose="020B0603040304020203" pitchFamily="34" charset="0"/>
                <a:cs typeface="Neue Frutiger World" panose="020B0603040304020203" pitchFamily="34" charset="0"/>
              </a:rPr>
              <a:t> Pa</a:t>
            </a:r>
            <a:r>
              <a:rPr sz="600" spc="-20" dirty="0">
                <a:solidFill>
                  <a:srgbClr val="757982"/>
                </a:solidFill>
                <a:latin typeface="Neue Frutiger World" panose="020B0603040304020203" pitchFamily="34" charset="0"/>
                <a:cs typeface="Neue Frutiger World" panose="020B0603040304020203" pitchFamily="34" charset="0"/>
              </a:rPr>
              <a:t>cema</a:t>
            </a:r>
            <a:r>
              <a:rPr sz="600" spc="-35" dirty="0">
                <a:solidFill>
                  <a:srgbClr val="757982"/>
                </a:solidFill>
                <a:latin typeface="Neue Frutiger World" panose="020B0603040304020203" pitchFamily="34" charset="0"/>
                <a:cs typeface="Neue Frutiger World" panose="020B0603040304020203" pitchFamily="34" charset="0"/>
              </a:rPr>
              <a:t>k</a:t>
            </a:r>
            <a:r>
              <a:rPr sz="600" spc="-20" dirty="0">
                <a:solidFill>
                  <a:srgbClr val="757982"/>
                </a:solidFill>
                <a:latin typeface="Neue Frutiger World" panose="020B0603040304020203" pitchFamily="34" charset="0"/>
                <a:cs typeface="Neue Frutiger World" panose="020B0603040304020203" pitchFamily="34" charset="0"/>
              </a:rPr>
              <a:t>ers</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and</a:t>
            </a:r>
            <a:r>
              <a:rPr sz="600" spc="-20" dirty="0">
                <a:solidFill>
                  <a:srgbClr val="757982"/>
                </a:solidFill>
                <a:latin typeface="Neue Frutiger World" panose="020B0603040304020203" pitchFamily="34" charset="0"/>
                <a:cs typeface="Neue Frutiger World" panose="020B0603040304020203" pitchFamily="34" charset="0"/>
              </a:rPr>
              <a:t> Implantable</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Cardioverter-Defibrillators</a:t>
            </a:r>
            <a:r>
              <a:rPr sz="600" spc="-15" dirty="0">
                <a:solidFill>
                  <a:srgbClr val="757982"/>
                </a:solidFill>
                <a:latin typeface="Neue Frutiger World" panose="020B0603040304020203" pitchFamily="34" charset="0"/>
                <a:cs typeface="Neue Frutiger World" panose="020B0603040304020203" pitchFamily="34" charset="0"/>
              </a:rPr>
              <a:t> in </a:t>
            </a:r>
            <a:r>
              <a:rPr sz="600" spc="-25" dirty="0">
                <a:solidFill>
                  <a:srgbClr val="757982"/>
                </a:solidFill>
                <a:latin typeface="Neue Frutiger World" panose="020B0603040304020203" pitchFamily="34" charset="0"/>
                <a:cs typeface="Neue Frutiger World" panose="020B0603040304020203" pitchFamily="34" charset="0"/>
              </a:rPr>
              <a:t>the</a:t>
            </a:r>
            <a:r>
              <a:rPr lang="en-GB"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United</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States:</a:t>
            </a:r>
            <a:r>
              <a:rPr sz="600" spc="-15" dirty="0">
                <a:solidFill>
                  <a:srgbClr val="757982"/>
                </a:solidFill>
                <a:latin typeface="Neue Frutiger World" panose="020B0603040304020203" pitchFamily="34" charset="0"/>
                <a:cs typeface="Neue Frutiger World" panose="020B0603040304020203" pitchFamily="34" charset="0"/>
              </a:rPr>
              <a:t> 1993 </a:t>
            </a:r>
            <a:r>
              <a:rPr sz="600" spc="-25" dirty="0">
                <a:solidFill>
                  <a:srgbClr val="757982"/>
                </a:solidFill>
                <a:latin typeface="Neue Frutiger World" panose="020B0603040304020203" pitchFamily="34" charset="0"/>
                <a:cs typeface="Neue Frutiger World" panose="020B0603040304020203" pitchFamily="34" charset="0"/>
              </a:rPr>
              <a:t>to</a:t>
            </a:r>
            <a:r>
              <a:rPr sz="600" spc="-15" dirty="0">
                <a:solidFill>
                  <a:srgbClr val="757982"/>
                </a:solidFill>
                <a:latin typeface="Neue Frutiger World" panose="020B0603040304020203" pitchFamily="34" charset="0"/>
                <a:cs typeface="Neue Frutiger World" panose="020B0603040304020203" pitchFamily="34" charset="0"/>
              </a:rPr>
              <a:t> 2008. </a:t>
            </a:r>
            <a:r>
              <a:rPr sz="600" spc="25" dirty="0">
                <a:solidFill>
                  <a:srgbClr val="757982"/>
                </a:solidFill>
                <a:latin typeface="Neue Frutiger World" panose="020B0603040304020203" pitchFamily="34" charset="0"/>
                <a:cs typeface="Neue Frutiger World" panose="020B0603040304020203" pitchFamily="34" charset="0"/>
              </a:rPr>
              <a:t>J</a:t>
            </a:r>
            <a:r>
              <a:rPr sz="600" spc="-35"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Am Coll </a:t>
            </a:r>
            <a:r>
              <a:rPr sz="600" spc="-20" dirty="0">
                <a:solidFill>
                  <a:srgbClr val="757982"/>
                </a:solidFill>
                <a:latin typeface="Neue Frutiger World" panose="020B0603040304020203" pitchFamily="34" charset="0"/>
                <a:cs typeface="Neue Frutiger World" panose="020B0603040304020203" pitchFamily="34" charset="0"/>
              </a:rPr>
              <a:t>Cardiol.</a:t>
            </a:r>
            <a:r>
              <a:rPr lang="nl-BE" sz="600" dirty="0">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2011;58(10):1001-1006.</a:t>
            </a:r>
            <a:r>
              <a:rPr sz="600" spc="1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doi:10.1016/j.</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jacc.2011.04.033.</a:t>
            </a:r>
            <a:endParaRPr sz="600" dirty="0">
              <a:latin typeface="Neue Frutiger World" panose="020B0603040304020203" pitchFamily="34" charset="0"/>
              <a:cs typeface="Neue Frutiger World" panose="020B0603040304020203" pitchFamily="34" charset="0"/>
            </a:endParaRPr>
          </a:p>
          <a:p>
            <a:pPr marL="92075" indent="-92075">
              <a:spcBef>
                <a:spcPts val="470"/>
              </a:spcBef>
              <a:buAutoNum type="arabicPeriod" startAt="4"/>
              <a:tabLst>
                <a:tab pos="92075" algn="l"/>
              </a:tabLst>
            </a:pPr>
            <a:r>
              <a:rPr sz="600" spc="-15" dirty="0">
                <a:solidFill>
                  <a:srgbClr val="757982"/>
                </a:solidFill>
                <a:latin typeface="Neue Frutiger World" panose="020B0603040304020203" pitchFamily="34" charset="0"/>
                <a:cs typeface="Neue Frutiger World" panose="020B0603040304020203" pitchFamily="34" charset="0"/>
              </a:rPr>
              <a:t>D021403-00 </a:t>
            </a:r>
            <a:r>
              <a:rPr sz="600" spc="-20" dirty="0">
                <a:solidFill>
                  <a:srgbClr val="757982"/>
                </a:solidFill>
                <a:latin typeface="Neue Frutiger World" panose="020B0603040304020203" pitchFamily="34" charset="0"/>
                <a:cs typeface="Neue Frutiger World" panose="020B0603040304020203" pitchFamily="34" charset="0"/>
              </a:rPr>
              <a:t>Data</a:t>
            </a:r>
            <a:r>
              <a:rPr sz="600" spc="-1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on</a:t>
            </a:r>
            <a:r>
              <a:rPr sz="600" spc="-1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file,</a:t>
            </a:r>
            <a:r>
              <a:rPr sz="600" spc="-15" dirty="0">
                <a:solidFill>
                  <a:srgbClr val="757982"/>
                </a:solidFill>
                <a:latin typeface="Neue Frutiger World" panose="020B0603040304020203" pitchFamily="34" charset="0"/>
                <a:cs typeface="Neue Frutiger World" panose="020B0603040304020203" pitchFamily="34" charset="0"/>
              </a:rPr>
              <a:t> see</a:t>
            </a:r>
            <a:r>
              <a:rPr sz="600" spc="-1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nfographic</a:t>
            </a:r>
            <a:r>
              <a:rPr sz="600" spc="-1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references.</a:t>
            </a:r>
            <a:endParaRPr sz="600" dirty="0">
              <a:latin typeface="Neue Frutiger World" panose="020B0603040304020203" pitchFamily="34" charset="0"/>
              <a:cs typeface="Neue Frutiger World" panose="020B0603040304020203" pitchFamily="34" charset="0"/>
            </a:endParaRPr>
          </a:p>
          <a:p>
            <a:pPr marL="92075" marR="5079" indent="-92075">
              <a:spcBef>
                <a:spcPts val="445"/>
              </a:spcBef>
              <a:buAutoNum type="arabicPeriod" startAt="4"/>
              <a:tabLst>
                <a:tab pos="92075" algn="l"/>
              </a:tabLst>
            </a:pPr>
            <a:r>
              <a:rPr sz="600" spc="-10" dirty="0">
                <a:solidFill>
                  <a:srgbClr val="757982"/>
                </a:solidFill>
                <a:latin typeface="Neue Frutiger World" panose="020B0603040304020203" pitchFamily="34" charset="0"/>
                <a:cs typeface="Neue Frutiger World" panose="020B0603040304020203" pitchFamily="34" charset="0"/>
              </a:rPr>
              <a:t>Chua,</a:t>
            </a:r>
            <a:r>
              <a:rPr sz="600" spc="-1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J.D.,</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et</a:t>
            </a:r>
            <a:r>
              <a:rPr sz="600" spc="-10" dirty="0">
                <a:solidFill>
                  <a:srgbClr val="757982"/>
                </a:solidFill>
                <a:latin typeface="Neue Frutiger World" panose="020B0603040304020203" pitchFamily="34" charset="0"/>
                <a:cs typeface="Neue Frutiger World" panose="020B0603040304020203" pitchFamily="34" charset="0"/>
              </a:rPr>
              <a:t> al.</a:t>
            </a:r>
            <a:r>
              <a:rPr sz="600" spc="-1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2000). </a:t>
            </a:r>
            <a:r>
              <a:rPr sz="600" spc="-20" dirty="0">
                <a:solidFill>
                  <a:srgbClr val="757982"/>
                </a:solidFill>
                <a:latin typeface="Neue Frutiger World" panose="020B0603040304020203" pitchFamily="34" charset="0"/>
                <a:cs typeface="Neue Frutiger World" panose="020B0603040304020203" pitchFamily="34" charset="0"/>
              </a:rPr>
              <a:t>Diagnosis</a:t>
            </a:r>
            <a:r>
              <a:rPr sz="600" spc="-15" dirty="0">
                <a:solidFill>
                  <a:srgbClr val="757982"/>
                </a:solidFill>
                <a:latin typeface="Neue Frutiger World" panose="020B0603040304020203" pitchFamily="34" charset="0"/>
                <a:cs typeface="Neue Frutiger World" panose="020B0603040304020203" pitchFamily="34" charset="0"/>
              </a:rPr>
              <a:t> and</a:t>
            </a:r>
            <a:r>
              <a:rPr sz="600" spc="-1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management</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of</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nfections</a:t>
            </a:r>
            <a:r>
              <a:rPr sz="600" spc="-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nvolving</a:t>
            </a:r>
            <a:r>
              <a:rPr sz="60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mplantable</a:t>
            </a:r>
            <a:r>
              <a:rPr sz="600" spc="-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electrophysiologic</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c</a:t>
            </a:r>
            <a:r>
              <a:rPr sz="600" spc="-25" dirty="0">
                <a:solidFill>
                  <a:srgbClr val="757982"/>
                </a:solidFill>
                <a:latin typeface="Neue Frutiger World" panose="020B0603040304020203" pitchFamily="34" charset="0"/>
                <a:cs typeface="Neue Frutiger World" panose="020B0603040304020203" pitchFamily="34" charset="0"/>
              </a:rPr>
              <a:t>a</a:t>
            </a:r>
            <a:r>
              <a:rPr sz="600" spc="-30" dirty="0">
                <a:solidFill>
                  <a:srgbClr val="757982"/>
                </a:solidFill>
                <a:latin typeface="Neue Frutiger World" panose="020B0603040304020203" pitchFamily="34" charset="0"/>
                <a:cs typeface="Neue Frutiger World" panose="020B0603040304020203" pitchFamily="34" charset="0"/>
              </a:rPr>
              <a:t>r</a:t>
            </a:r>
            <a:r>
              <a:rPr sz="600" spc="-20" dirty="0">
                <a:solidFill>
                  <a:srgbClr val="757982"/>
                </a:solidFill>
                <a:latin typeface="Neue Frutiger World" panose="020B0603040304020203" pitchFamily="34" charset="0"/>
                <a:cs typeface="Neue Frutiger World" panose="020B0603040304020203" pitchFamily="34" charset="0"/>
              </a:rPr>
              <a:t>di</a:t>
            </a:r>
            <a:r>
              <a:rPr sz="600" spc="-25" dirty="0">
                <a:solidFill>
                  <a:srgbClr val="757982"/>
                </a:solidFill>
                <a:latin typeface="Neue Frutiger World" panose="020B0603040304020203" pitchFamily="34" charset="0"/>
                <a:cs typeface="Neue Frutiger World" panose="020B0603040304020203" pitchFamily="34" charset="0"/>
              </a:rPr>
              <a:t>a</a:t>
            </a:r>
            <a:r>
              <a:rPr sz="600" spc="-5" dirty="0">
                <a:solidFill>
                  <a:srgbClr val="757982"/>
                </a:solidFill>
                <a:latin typeface="Neue Frutiger World" panose="020B0603040304020203" pitchFamily="34" charset="0"/>
                <a:cs typeface="Neue Frutiger World" panose="020B0603040304020203" pitchFamily="34" charset="0"/>
              </a:rPr>
              <a:t>c</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d</a:t>
            </a:r>
            <a:r>
              <a:rPr sz="600" spc="-30" dirty="0">
                <a:solidFill>
                  <a:srgbClr val="757982"/>
                </a:solidFill>
                <a:latin typeface="Neue Frutiger World" panose="020B0603040304020203" pitchFamily="34" charset="0"/>
                <a:cs typeface="Neue Frutiger World" panose="020B0603040304020203" pitchFamily="34" charset="0"/>
              </a:rPr>
              <a:t>e</a:t>
            </a:r>
            <a:r>
              <a:rPr sz="600" spc="-15" dirty="0">
                <a:solidFill>
                  <a:srgbClr val="757982"/>
                </a:solidFill>
                <a:latin typeface="Neue Frutiger World" panose="020B0603040304020203" pitchFamily="34" charset="0"/>
                <a:cs typeface="Neue Frutiger World" panose="020B0603040304020203" pitchFamily="34" charset="0"/>
              </a:rPr>
              <a:t>vi</a:t>
            </a:r>
            <a:r>
              <a:rPr sz="600" spc="-20" dirty="0">
                <a:solidFill>
                  <a:srgbClr val="757982"/>
                </a:solidFill>
                <a:latin typeface="Neue Frutiger World" panose="020B0603040304020203" pitchFamily="34" charset="0"/>
                <a:cs typeface="Neue Frutiger World" panose="020B0603040304020203" pitchFamily="34" charset="0"/>
              </a:rPr>
              <a:t>c</a:t>
            </a:r>
            <a:r>
              <a:rPr sz="600" spc="-15" dirty="0">
                <a:solidFill>
                  <a:srgbClr val="757982"/>
                </a:solidFill>
                <a:latin typeface="Neue Frutiger World" panose="020B0603040304020203" pitchFamily="34" charset="0"/>
                <a:cs typeface="Neue Frutiger World" panose="020B0603040304020203" pitchFamily="34" charset="0"/>
              </a:rPr>
              <a:t>es</a:t>
            </a:r>
            <a:r>
              <a:rPr sz="600" spc="-5" dirty="0">
                <a:solidFill>
                  <a:srgbClr val="757982"/>
                </a:solidFill>
                <a:latin typeface="Neue Frutiger World" panose="020B0603040304020203" pitchFamily="34" charset="0"/>
                <a:cs typeface="Neue Frutiger World" panose="020B0603040304020203" pitchFamily="34" charset="0"/>
              </a:rPr>
              <a:t>.</a:t>
            </a:r>
            <a:r>
              <a:rPr sz="600" spc="-3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nna</a:t>
            </a:r>
            <a:r>
              <a:rPr sz="600" spc="-15" dirty="0">
                <a:solidFill>
                  <a:srgbClr val="757982"/>
                </a:solidFill>
                <a:latin typeface="Neue Frutiger World" panose="020B0603040304020203" pitchFamily="34" charset="0"/>
                <a:cs typeface="Neue Frutiger World" panose="020B0603040304020203" pitchFamily="34" charset="0"/>
              </a:rPr>
              <a:t>l</a:t>
            </a:r>
            <a:r>
              <a:rPr sz="600" spc="-10" dirty="0">
                <a:solidFill>
                  <a:srgbClr val="757982"/>
                </a:solidFill>
                <a:latin typeface="Neue Frutiger World" panose="020B0603040304020203" pitchFamily="34" charset="0"/>
                <a:cs typeface="Neue Frutiger World" panose="020B0603040304020203" pitchFamily="34" charset="0"/>
              </a:rPr>
              <a:t>s</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o</a:t>
            </a:r>
            <a:r>
              <a:rPr sz="600" spc="-5" dirty="0">
                <a:solidFill>
                  <a:srgbClr val="757982"/>
                </a:solidFill>
                <a:latin typeface="Neue Frutiger World" panose="020B0603040304020203" pitchFamily="34" charset="0"/>
                <a:cs typeface="Neue Frutiger World" panose="020B0603040304020203" pitchFamily="34" charset="0"/>
              </a:rPr>
              <a:t>f</a:t>
            </a:r>
            <a:r>
              <a:rPr sz="600" spc="-25"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I</a:t>
            </a:r>
            <a:r>
              <a:rPr sz="600" spc="-20" dirty="0">
                <a:solidFill>
                  <a:srgbClr val="757982"/>
                </a:solidFill>
                <a:latin typeface="Neue Frutiger World" panose="020B0603040304020203" pitchFamily="34" charset="0"/>
                <a:cs typeface="Neue Frutiger World" panose="020B0603040304020203" pitchFamily="34" charset="0"/>
              </a:rPr>
              <a:t>n</a:t>
            </a:r>
            <a:r>
              <a:rPr sz="600" spc="-40" dirty="0">
                <a:solidFill>
                  <a:srgbClr val="757982"/>
                </a:solidFill>
                <a:latin typeface="Neue Frutiger World" panose="020B0603040304020203" pitchFamily="34" charset="0"/>
                <a:cs typeface="Neue Frutiger World" panose="020B0603040304020203" pitchFamily="34" charset="0"/>
              </a:rPr>
              <a:t>t</a:t>
            </a:r>
            <a:r>
              <a:rPr sz="600" spc="-20" dirty="0">
                <a:solidFill>
                  <a:srgbClr val="757982"/>
                </a:solidFill>
                <a:latin typeface="Neue Frutiger World" panose="020B0603040304020203" pitchFamily="34" charset="0"/>
                <a:cs typeface="Neue Frutiger World" panose="020B0603040304020203" pitchFamily="34" charset="0"/>
              </a:rPr>
              <a:t>erna</a:t>
            </a:r>
            <a:r>
              <a:rPr sz="600" spc="-5" dirty="0">
                <a:solidFill>
                  <a:srgbClr val="757982"/>
                </a:solidFill>
                <a:latin typeface="Neue Frutiger World" panose="020B0603040304020203" pitchFamily="34" charset="0"/>
                <a:cs typeface="Neue Frutiger World" panose="020B0603040304020203" pitchFamily="34" charset="0"/>
              </a:rPr>
              <a:t>l</a:t>
            </a:r>
            <a:r>
              <a:rPr sz="600" spc="-15" dirty="0">
                <a:solidFill>
                  <a:srgbClr val="757982"/>
                </a:solidFill>
                <a:latin typeface="Neue Frutiger World" panose="020B0603040304020203" pitchFamily="34" charset="0"/>
                <a:cs typeface="Neue Frutiger World" panose="020B0603040304020203" pitchFamily="34" charset="0"/>
              </a:rPr>
              <a:t> Medicine</a:t>
            </a:r>
            <a:r>
              <a:rPr sz="600" spc="-5"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133</a:t>
            </a:r>
            <a:r>
              <a:rPr sz="600" spc="-20" dirty="0">
                <a:solidFill>
                  <a:srgbClr val="757982"/>
                </a:solidFill>
                <a:latin typeface="Neue Frutiger World" panose="020B0603040304020203" pitchFamily="34" charset="0"/>
                <a:cs typeface="Neue Frutiger World" panose="020B0603040304020203" pitchFamily="34" charset="0"/>
              </a:rPr>
              <a:t>(</a:t>
            </a:r>
            <a:r>
              <a:rPr sz="600" spc="-30" dirty="0">
                <a:solidFill>
                  <a:srgbClr val="757982"/>
                </a:solidFill>
                <a:latin typeface="Neue Frutiger World" panose="020B0603040304020203" pitchFamily="34" charset="0"/>
                <a:cs typeface="Neue Frutiger World" panose="020B0603040304020203" pitchFamily="34" charset="0"/>
              </a:rPr>
              <a:t>8</a:t>
            </a:r>
            <a:r>
              <a:rPr sz="600" spc="-10" dirty="0">
                <a:solidFill>
                  <a:srgbClr val="757982"/>
                </a:solidFill>
                <a:latin typeface="Neue Frutiger World" panose="020B0603040304020203" pitchFamily="34" charset="0"/>
                <a:cs typeface="Neue Frutiger World" panose="020B0603040304020203" pitchFamily="34" charset="0"/>
              </a:rPr>
              <a:t>):</a:t>
            </a:r>
            <a:r>
              <a:rPr lang="en-GB" sz="600" spc="-10"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604-608.</a:t>
            </a:r>
            <a:endParaRPr sz="600" dirty="0">
              <a:latin typeface="Neue Frutiger World" panose="020B0603040304020203" pitchFamily="34" charset="0"/>
              <a:cs typeface="Neue Frutiger World" panose="020B0603040304020203" pitchFamily="34" charset="0"/>
            </a:endParaRPr>
          </a:p>
          <a:p>
            <a:pPr marL="92075" marR="85718" indent="-92075">
              <a:spcBef>
                <a:spcPts val="450"/>
              </a:spcBef>
              <a:buAutoNum type="arabicPeriod" startAt="4"/>
              <a:tabLst>
                <a:tab pos="92075" algn="l"/>
              </a:tabLst>
            </a:pPr>
            <a:r>
              <a:rPr sz="600" spc="-10" dirty="0">
                <a:solidFill>
                  <a:srgbClr val="757982"/>
                </a:solidFill>
                <a:latin typeface="Neue Frutiger World" panose="020B0603040304020203" pitchFamily="34" charset="0"/>
                <a:cs typeface="Neue Frutiger World" panose="020B0603040304020203" pitchFamily="34" charset="0"/>
              </a:rPr>
              <a:t>Klug,</a:t>
            </a:r>
            <a:r>
              <a:rPr sz="600" spc="20"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D.,</a:t>
            </a:r>
            <a:r>
              <a:rPr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et</a:t>
            </a:r>
            <a:r>
              <a:rPr sz="600" spc="2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al.</a:t>
            </a:r>
            <a:r>
              <a:rPr sz="600" spc="20"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2004).</a:t>
            </a:r>
            <a:r>
              <a:rPr sz="600" spc="25"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Local</a:t>
            </a:r>
            <a:r>
              <a:rPr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symptoms</a:t>
            </a:r>
            <a:r>
              <a:rPr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t</a:t>
            </a:r>
            <a:r>
              <a:rPr sz="600" spc="2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the</a:t>
            </a:r>
            <a:r>
              <a:rPr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site</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o</a:t>
            </a:r>
            <a:r>
              <a:rPr sz="600" spc="-5" dirty="0">
                <a:solidFill>
                  <a:srgbClr val="757982"/>
                </a:solidFill>
                <a:latin typeface="Neue Frutiger World" panose="020B0603040304020203" pitchFamily="34" charset="0"/>
                <a:cs typeface="Neue Frutiger World" panose="020B0603040304020203" pitchFamily="34" charset="0"/>
              </a:rPr>
              <a:t>f</a:t>
            </a:r>
            <a:r>
              <a:rPr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p</a:t>
            </a:r>
            <a:r>
              <a:rPr sz="600" spc="-25" dirty="0">
                <a:solidFill>
                  <a:srgbClr val="757982"/>
                </a:solidFill>
                <a:latin typeface="Neue Frutiger World" panose="020B0603040304020203" pitchFamily="34" charset="0"/>
                <a:cs typeface="Neue Frutiger World" panose="020B0603040304020203" pitchFamily="34" charset="0"/>
              </a:rPr>
              <a:t>a</a:t>
            </a:r>
            <a:r>
              <a:rPr sz="600" spc="-20" dirty="0">
                <a:solidFill>
                  <a:srgbClr val="757982"/>
                </a:solidFill>
                <a:latin typeface="Neue Frutiger World" panose="020B0603040304020203" pitchFamily="34" charset="0"/>
                <a:cs typeface="Neue Frutiger World" panose="020B0603040304020203" pitchFamily="34" charset="0"/>
              </a:rPr>
              <a:t>cema</a:t>
            </a:r>
            <a:r>
              <a:rPr sz="600" spc="-35" dirty="0">
                <a:solidFill>
                  <a:srgbClr val="757982"/>
                </a:solidFill>
                <a:latin typeface="Neue Frutiger World" panose="020B0603040304020203" pitchFamily="34" charset="0"/>
                <a:cs typeface="Neue Frutiger World" panose="020B0603040304020203" pitchFamily="34" charset="0"/>
              </a:rPr>
              <a:t>k</a:t>
            </a:r>
            <a:r>
              <a:rPr sz="600" spc="-20" dirty="0">
                <a:solidFill>
                  <a:srgbClr val="757982"/>
                </a:solidFill>
                <a:latin typeface="Neue Frutiger World" panose="020B0603040304020203" pitchFamily="34" charset="0"/>
                <a:cs typeface="Neue Frutiger World" panose="020B0603040304020203" pitchFamily="34" charset="0"/>
              </a:rPr>
              <a:t>e</a:t>
            </a:r>
            <a:r>
              <a:rPr sz="600" spc="-10" dirty="0">
                <a:solidFill>
                  <a:srgbClr val="757982"/>
                </a:solidFill>
                <a:latin typeface="Neue Frutiger World" panose="020B0603040304020203" pitchFamily="34" charset="0"/>
                <a:cs typeface="Neue Frutiger World" panose="020B0603040304020203" pitchFamily="34" charset="0"/>
              </a:rPr>
              <a:t>r</a:t>
            </a:r>
            <a:r>
              <a:rPr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mplan</a:t>
            </a:r>
            <a:r>
              <a:rPr sz="600" spc="-30" dirty="0">
                <a:solidFill>
                  <a:srgbClr val="757982"/>
                </a:solidFill>
                <a:latin typeface="Neue Frutiger World" panose="020B0603040304020203" pitchFamily="34" charset="0"/>
                <a:cs typeface="Neue Frutiger World" panose="020B0603040304020203" pitchFamily="34" charset="0"/>
              </a:rPr>
              <a:t>t</a:t>
            </a:r>
            <a:r>
              <a:rPr sz="600" spc="-20" dirty="0">
                <a:solidFill>
                  <a:srgbClr val="757982"/>
                </a:solidFill>
                <a:latin typeface="Neue Frutiger World" panose="020B0603040304020203" pitchFamily="34" charset="0"/>
                <a:cs typeface="Neue Frutiger World" panose="020B0603040304020203" pitchFamily="34" charset="0"/>
              </a:rPr>
              <a:t>atio</a:t>
            </a:r>
            <a:r>
              <a:rPr sz="600" spc="-15" dirty="0">
                <a:solidFill>
                  <a:srgbClr val="757982"/>
                </a:solidFill>
                <a:latin typeface="Neue Frutiger World" panose="020B0603040304020203" pitchFamily="34" charset="0"/>
                <a:cs typeface="Neue Frutiger World" panose="020B0603040304020203" pitchFamily="34" charset="0"/>
              </a:rPr>
              <a:t>n </a:t>
            </a:r>
            <a:r>
              <a:rPr sz="600" spc="-20" dirty="0">
                <a:solidFill>
                  <a:srgbClr val="757982"/>
                </a:solidFill>
                <a:latin typeface="Neue Frutiger World" panose="020B0603040304020203" pitchFamily="34" charset="0"/>
                <a:cs typeface="Neue Frutiger World" panose="020B0603040304020203" pitchFamily="34" charset="0"/>
              </a:rPr>
              <a:t>indica</a:t>
            </a:r>
            <a:r>
              <a:rPr sz="600" spc="-40" dirty="0">
                <a:solidFill>
                  <a:srgbClr val="757982"/>
                </a:solidFill>
                <a:latin typeface="Neue Frutiger World" panose="020B0603040304020203" pitchFamily="34" charset="0"/>
                <a:cs typeface="Neue Frutiger World" panose="020B0603040304020203" pitchFamily="34" charset="0"/>
              </a:rPr>
              <a:t>t</a:t>
            </a:r>
            <a:r>
              <a:rPr sz="600" spc="-5" dirty="0">
                <a:solidFill>
                  <a:srgbClr val="757982"/>
                </a:solidFill>
                <a:latin typeface="Neue Frutiger World" panose="020B0603040304020203" pitchFamily="34" charset="0"/>
                <a:cs typeface="Neue Frutiger World" panose="020B0603040304020203" pitchFamily="34" charset="0"/>
              </a:rPr>
              <a:t>e</a:t>
            </a:r>
            <a:r>
              <a:rPr sz="600" spc="-15" dirty="0">
                <a:solidFill>
                  <a:srgbClr val="757982"/>
                </a:solidFill>
                <a:latin typeface="Neue Frutiger World" panose="020B0603040304020203" pitchFamily="34" charset="0"/>
                <a:cs typeface="Neue Frutiger World" panose="020B0603040304020203" pitchFamily="34" charset="0"/>
              </a:rPr>
              <a:t> la</a:t>
            </a:r>
            <a:r>
              <a:rPr sz="600" spc="-40" dirty="0">
                <a:solidFill>
                  <a:srgbClr val="757982"/>
                </a:solidFill>
                <a:latin typeface="Neue Frutiger World" panose="020B0603040304020203" pitchFamily="34" charset="0"/>
                <a:cs typeface="Neue Frutiger World" panose="020B0603040304020203" pitchFamily="34" charset="0"/>
              </a:rPr>
              <a:t>t</a:t>
            </a:r>
            <a:r>
              <a:rPr sz="600" spc="-15" dirty="0">
                <a:solidFill>
                  <a:srgbClr val="757982"/>
                </a:solidFill>
                <a:latin typeface="Neue Frutiger World" panose="020B0603040304020203" pitchFamily="34" charset="0"/>
                <a:cs typeface="Neue Frutiger World" panose="020B0603040304020203" pitchFamily="34" charset="0"/>
              </a:rPr>
              <a:t>en</a:t>
            </a:r>
            <a:r>
              <a:rPr sz="600" spc="-25" dirty="0">
                <a:solidFill>
                  <a:srgbClr val="757982"/>
                </a:solidFill>
                <a:latin typeface="Neue Frutiger World" panose="020B0603040304020203" pitchFamily="34" charset="0"/>
                <a:cs typeface="Neue Frutiger World" panose="020B0603040304020203" pitchFamily="34" charset="0"/>
              </a:rPr>
              <a:t>t</a:t>
            </a:r>
            <a:r>
              <a:rPr sz="600" spc="-15" dirty="0">
                <a:solidFill>
                  <a:srgbClr val="757982"/>
                </a:solidFill>
                <a:latin typeface="Neue Frutiger World" panose="020B0603040304020203" pitchFamily="34" charset="0"/>
                <a:cs typeface="Neue Frutiger World" panose="020B0603040304020203" pitchFamily="34" charset="0"/>
              </a:rPr>
              <a:t> </a:t>
            </a:r>
            <a:r>
              <a:rPr sz="600" spc="-25" dirty="0">
                <a:solidFill>
                  <a:srgbClr val="757982"/>
                </a:solidFill>
                <a:latin typeface="Neue Frutiger World" panose="020B0603040304020203" pitchFamily="34" charset="0"/>
                <a:cs typeface="Neue Frutiger World" panose="020B0603040304020203" pitchFamily="34" charset="0"/>
              </a:rPr>
              <a:t>s</a:t>
            </a:r>
            <a:r>
              <a:rPr sz="600" spc="5" dirty="0">
                <a:solidFill>
                  <a:srgbClr val="757982"/>
                </a:solidFill>
                <a:latin typeface="Neue Frutiger World" panose="020B0603040304020203" pitchFamily="34" charset="0"/>
                <a:cs typeface="Neue Frutiger World" panose="020B0603040304020203" pitchFamily="34" charset="0"/>
              </a:rPr>
              <a:t>y</a:t>
            </a:r>
            <a:r>
              <a:rPr sz="600" spc="-30" dirty="0">
                <a:solidFill>
                  <a:srgbClr val="757982"/>
                </a:solidFill>
                <a:latin typeface="Neue Frutiger World" panose="020B0603040304020203" pitchFamily="34" charset="0"/>
                <a:cs typeface="Neue Frutiger World" panose="020B0603040304020203" pitchFamily="34" charset="0"/>
              </a:rPr>
              <a:t>st</a:t>
            </a:r>
            <a:r>
              <a:rPr sz="600" spc="-15" dirty="0">
                <a:solidFill>
                  <a:srgbClr val="757982"/>
                </a:solidFill>
                <a:latin typeface="Neue Frutiger World" panose="020B0603040304020203" pitchFamily="34" charset="0"/>
                <a:cs typeface="Neue Frutiger World" panose="020B0603040304020203" pitchFamily="34" charset="0"/>
              </a:rPr>
              <a:t>emic</a:t>
            </a:r>
            <a:r>
              <a:rPr lang="en-GB"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nfection. </a:t>
            </a:r>
            <a:r>
              <a:rPr sz="600" spc="-15" dirty="0">
                <a:solidFill>
                  <a:srgbClr val="757982"/>
                </a:solidFill>
                <a:latin typeface="Neue Frutiger World" panose="020B0603040304020203" pitchFamily="34" charset="0"/>
                <a:cs typeface="Neue Frutiger World" panose="020B0603040304020203" pitchFamily="34" charset="0"/>
              </a:rPr>
              <a:t>Heart, </a:t>
            </a:r>
            <a:r>
              <a:rPr sz="600" spc="-10" dirty="0">
                <a:solidFill>
                  <a:srgbClr val="757982"/>
                </a:solidFill>
                <a:latin typeface="Neue Frutiger World" panose="020B0603040304020203" pitchFamily="34" charset="0"/>
                <a:cs typeface="Neue Frutiger World" panose="020B0603040304020203" pitchFamily="34" charset="0"/>
              </a:rPr>
              <a:t>90(8),</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882-886.”</a:t>
            </a:r>
            <a:endParaRPr sz="600" dirty="0">
              <a:latin typeface="Neue Frutiger World" panose="020B0603040304020203" pitchFamily="34" charset="0"/>
              <a:cs typeface="Neue Frutiger World" panose="020B0603040304020203" pitchFamily="34" charset="0"/>
            </a:endParaRPr>
          </a:p>
          <a:p>
            <a:pPr marL="92075" marR="333347" indent="-92075">
              <a:spcBef>
                <a:spcPts val="450"/>
              </a:spcBef>
              <a:buAutoNum type="arabicPeriod" startAt="4"/>
              <a:tabLst>
                <a:tab pos="92075" algn="l"/>
              </a:tabLst>
            </a:pPr>
            <a:r>
              <a:rPr sz="600" spc="-15" dirty="0">
                <a:solidFill>
                  <a:srgbClr val="757982"/>
                </a:solidFill>
                <a:latin typeface="Neue Frutiger World" panose="020B0603040304020203" pitchFamily="34" charset="0"/>
                <a:cs typeface="Neue Frutiger World" panose="020B0603040304020203" pitchFamily="34" charset="0"/>
              </a:rPr>
              <a:t>Sohail, </a:t>
            </a:r>
            <a:r>
              <a:rPr sz="600" spc="-10" dirty="0">
                <a:solidFill>
                  <a:srgbClr val="757982"/>
                </a:solidFill>
                <a:latin typeface="Neue Frutiger World" panose="020B0603040304020203" pitchFamily="34" charset="0"/>
                <a:cs typeface="Neue Frutiger World" panose="020B0603040304020203" pitchFamily="34" charset="0"/>
              </a:rPr>
              <a:t>MR, </a:t>
            </a:r>
            <a:r>
              <a:rPr sz="600" spc="-20" dirty="0">
                <a:solidFill>
                  <a:srgbClr val="757982"/>
                </a:solidFill>
                <a:latin typeface="Neue Frutiger World" panose="020B0603040304020203" pitchFamily="34" charset="0"/>
                <a:cs typeface="Neue Frutiger World" panose="020B0603040304020203" pitchFamily="34" charset="0"/>
              </a:rPr>
              <a:t>et </a:t>
            </a:r>
            <a:r>
              <a:rPr sz="600" spc="-10" dirty="0">
                <a:solidFill>
                  <a:srgbClr val="757982"/>
                </a:solidFill>
                <a:latin typeface="Neue Frutiger World" panose="020B0603040304020203" pitchFamily="34" charset="0"/>
                <a:cs typeface="Neue Frutiger World" panose="020B0603040304020203" pitchFamily="34" charset="0"/>
              </a:rPr>
              <a:t>al. </a:t>
            </a:r>
            <a:r>
              <a:rPr sz="600" spc="-20" dirty="0">
                <a:solidFill>
                  <a:srgbClr val="757982"/>
                </a:solidFill>
                <a:latin typeface="Neue Frutiger World" panose="020B0603040304020203" pitchFamily="34" charset="0"/>
                <a:cs typeface="Neue Frutiger World" panose="020B0603040304020203" pitchFamily="34" charset="0"/>
              </a:rPr>
              <a:t>Management </a:t>
            </a:r>
            <a:r>
              <a:rPr sz="600" spc="-15" dirty="0">
                <a:solidFill>
                  <a:srgbClr val="757982"/>
                </a:solidFill>
                <a:latin typeface="Neue Frutiger World" panose="020B0603040304020203" pitchFamily="34" charset="0"/>
                <a:cs typeface="Neue Frutiger World" panose="020B0603040304020203" pitchFamily="34" charset="0"/>
              </a:rPr>
              <a:t>and </a:t>
            </a:r>
            <a:r>
              <a:rPr sz="600" spc="-20" dirty="0">
                <a:solidFill>
                  <a:srgbClr val="757982"/>
                </a:solidFill>
                <a:latin typeface="Neue Frutiger World" panose="020B0603040304020203" pitchFamily="34" charset="0"/>
                <a:cs typeface="Neue Frutiger World" panose="020B0603040304020203" pitchFamily="34" charset="0"/>
              </a:rPr>
              <a:t>outcome</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of </a:t>
            </a:r>
            <a:r>
              <a:rPr sz="600" spc="-20" dirty="0">
                <a:solidFill>
                  <a:srgbClr val="757982"/>
                </a:solidFill>
                <a:latin typeface="Neue Frutiger World" panose="020B0603040304020203" pitchFamily="34" charset="0"/>
                <a:cs typeface="Neue Frutiger World" panose="020B0603040304020203" pitchFamily="34" charset="0"/>
              </a:rPr>
              <a:t>permanent </a:t>
            </a:r>
            <a:r>
              <a:rPr sz="600" spc="-15" dirty="0">
                <a:solidFill>
                  <a:srgbClr val="757982"/>
                </a:solidFill>
                <a:latin typeface="Neue Frutiger World" panose="020B0603040304020203" pitchFamily="34" charset="0"/>
                <a:cs typeface="Neue Frutiger World" panose="020B0603040304020203" pitchFamily="34" charset="0"/>
              </a:rPr>
              <a:t>and </a:t>
            </a:r>
            <a:r>
              <a:rPr sz="600" spc="-20" dirty="0">
                <a:solidFill>
                  <a:srgbClr val="757982"/>
                </a:solidFill>
                <a:latin typeface="Neue Frutiger World" panose="020B0603040304020203" pitchFamily="34" charset="0"/>
                <a:cs typeface="Neue Frutiger World" panose="020B0603040304020203" pitchFamily="34" charset="0"/>
              </a:rPr>
              <a:t>implantable cardioverter-</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defibrillator infections. </a:t>
            </a:r>
            <a:r>
              <a:rPr sz="600" spc="25" dirty="0">
                <a:solidFill>
                  <a:srgbClr val="757982"/>
                </a:solidFill>
                <a:latin typeface="Neue Frutiger World" panose="020B0603040304020203" pitchFamily="34" charset="0"/>
                <a:cs typeface="Neue Frutiger World" panose="020B0603040304020203" pitchFamily="34" charset="0"/>
              </a:rPr>
              <a:t>J </a:t>
            </a:r>
            <a:r>
              <a:rPr sz="600" spc="-15" dirty="0">
                <a:solidFill>
                  <a:srgbClr val="757982"/>
                </a:solidFill>
                <a:latin typeface="Neue Frutiger World" panose="020B0603040304020203" pitchFamily="34" charset="0"/>
                <a:cs typeface="Neue Frutiger World" panose="020B0603040304020203" pitchFamily="34" charset="0"/>
              </a:rPr>
              <a:t>Am Coll </a:t>
            </a:r>
            <a:r>
              <a:rPr sz="600" spc="-20" dirty="0" err="1">
                <a:solidFill>
                  <a:srgbClr val="757982"/>
                </a:solidFill>
                <a:latin typeface="Neue Frutiger World" panose="020B0603040304020203" pitchFamily="34" charset="0"/>
                <a:cs typeface="Neue Frutiger World" panose="020B0603040304020203" pitchFamily="34" charset="0"/>
              </a:rPr>
              <a:t>Cardiol</a:t>
            </a:r>
            <a:r>
              <a:rPr sz="600" spc="-20" dirty="0">
                <a:solidFill>
                  <a:srgbClr val="757982"/>
                </a:solidFill>
                <a:latin typeface="Neue Frutiger World" panose="020B0603040304020203" pitchFamily="34" charset="0"/>
                <a:cs typeface="Neue Frutiger World" panose="020B0603040304020203" pitchFamily="34" charset="0"/>
              </a:rPr>
              <a:t>.</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2007;49:1851–1859.</a:t>
            </a:r>
            <a:endParaRPr sz="600" dirty="0">
              <a:latin typeface="Neue Frutiger World" panose="020B0603040304020203" pitchFamily="34" charset="0"/>
              <a:cs typeface="Neue Frutiger World" panose="020B0603040304020203" pitchFamily="34" charset="0"/>
            </a:endParaRPr>
          </a:p>
          <a:p>
            <a:pPr marL="92075" marR="60320" indent="-92075">
              <a:spcBef>
                <a:spcPts val="450"/>
              </a:spcBef>
              <a:buAutoNum type="arabicPeriod" startAt="4"/>
              <a:tabLst>
                <a:tab pos="92075" algn="l"/>
              </a:tabLst>
            </a:pPr>
            <a:r>
              <a:rPr sz="600" spc="-20" dirty="0">
                <a:solidFill>
                  <a:srgbClr val="757982"/>
                </a:solidFill>
                <a:latin typeface="Neue Frutiger World" panose="020B0603040304020203" pitchFamily="34" charset="0"/>
                <a:cs typeface="Neue Frutiger World" panose="020B0603040304020203" pitchFamily="34" charset="0"/>
              </a:rPr>
              <a:t>Margey, </a:t>
            </a:r>
            <a:r>
              <a:rPr sz="600" spc="-10" dirty="0">
                <a:solidFill>
                  <a:srgbClr val="757982"/>
                </a:solidFill>
                <a:latin typeface="Neue Frutiger World" panose="020B0603040304020203" pitchFamily="34" charset="0"/>
                <a:cs typeface="Neue Frutiger World" panose="020B0603040304020203" pitchFamily="34" charset="0"/>
              </a:rPr>
              <a:t>R. </a:t>
            </a:r>
            <a:r>
              <a:rPr sz="600" spc="-20" dirty="0">
                <a:solidFill>
                  <a:srgbClr val="757982"/>
                </a:solidFill>
                <a:latin typeface="Neue Frutiger World" panose="020B0603040304020203" pitchFamily="34" charset="0"/>
                <a:cs typeface="Neue Frutiger World" panose="020B0603040304020203" pitchFamily="34" charset="0"/>
              </a:rPr>
              <a:t>et </a:t>
            </a:r>
            <a:r>
              <a:rPr sz="600" spc="-10" dirty="0">
                <a:solidFill>
                  <a:srgbClr val="757982"/>
                </a:solidFill>
                <a:latin typeface="Neue Frutiger World" panose="020B0603040304020203" pitchFamily="34" charset="0"/>
                <a:cs typeface="Neue Frutiger World" panose="020B0603040304020203" pitchFamily="34" charset="0"/>
              </a:rPr>
              <a:t>al. </a:t>
            </a:r>
            <a:r>
              <a:rPr sz="600" spc="-20" dirty="0">
                <a:solidFill>
                  <a:srgbClr val="757982"/>
                </a:solidFill>
                <a:latin typeface="Neue Frutiger World" panose="020B0603040304020203" pitchFamily="34" charset="0"/>
                <a:cs typeface="Neue Frutiger World" panose="020B0603040304020203" pitchFamily="34" charset="0"/>
              </a:rPr>
              <a:t>Contemporary management </a:t>
            </a:r>
            <a:r>
              <a:rPr sz="600" spc="-10" dirty="0">
                <a:solidFill>
                  <a:srgbClr val="757982"/>
                </a:solidFill>
                <a:latin typeface="Neue Frutiger World" panose="020B0603040304020203" pitchFamily="34" charset="0"/>
                <a:cs typeface="Neue Frutiger World" panose="020B0603040304020203" pitchFamily="34" charset="0"/>
              </a:rPr>
              <a:t>of </a:t>
            </a:r>
            <a:r>
              <a:rPr sz="600" spc="-20" dirty="0">
                <a:solidFill>
                  <a:srgbClr val="757982"/>
                </a:solidFill>
                <a:latin typeface="Neue Frutiger World" panose="020B0603040304020203" pitchFamily="34" charset="0"/>
                <a:cs typeface="Neue Frutiger World" panose="020B0603040304020203" pitchFamily="34" charset="0"/>
              </a:rPr>
              <a:t>and</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outcomes from</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cardiac</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device</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related</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nfections</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20" dirty="0" err="1">
                <a:solidFill>
                  <a:srgbClr val="757982"/>
                </a:solidFill>
                <a:latin typeface="Neue Frutiger World" panose="020B0603040304020203" pitchFamily="34" charset="0"/>
                <a:cs typeface="Neue Frutiger World" panose="020B0603040304020203" pitchFamily="34" charset="0"/>
              </a:rPr>
              <a:t>Europace</a:t>
            </a:r>
            <a:r>
              <a:rPr sz="600" spc="-15" dirty="0">
                <a:solidFill>
                  <a:srgbClr val="757982"/>
                </a:solidFill>
                <a:latin typeface="Neue Frutiger World" panose="020B0603040304020203" pitchFamily="34" charset="0"/>
                <a:cs typeface="Neue Frutiger World" panose="020B0603040304020203" pitchFamily="34" charset="0"/>
              </a:rPr>
              <a:t> (2010)</a:t>
            </a:r>
            <a:r>
              <a:rPr sz="600" spc="-10" dirty="0">
                <a:solidFill>
                  <a:srgbClr val="757982"/>
                </a:solidFill>
                <a:latin typeface="Neue Frutiger World" panose="020B0603040304020203" pitchFamily="34" charset="0"/>
                <a:cs typeface="Neue Frutiger World" panose="020B0603040304020203" pitchFamily="34" charset="0"/>
              </a:rPr>
              <a:t> 12 </a:t>
            </a:r>
            <a:r>
              <a:rPr sz="600" spc="-5" dirty="0">
                <a:solidFill>
                  <a:srgbClr val="757982"/>
                </a:solidFill>
                <a:latin typeface="Neue Frutiger World" panose="020B0603040304020203" pitchFamily="34" charset="0"/>
                <a:cs typeface="Neue Frutiger World" panose="020B0603040304020203" pitchFamily="34" charset="0"/>
              </a:rPr>
              <a:t>(1):</a:t>
            </a:r>
            <a:r>
              <a:rPr sz="600" spc="-1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64-70 </a:t>
            </a:r>
            <a:r>
              <a:rPr sz="600" spc="-25" dirty="0">
                <a:solidFill>
                  <a:srgbClr val="757982"/>
                </a:solidFill>
                <a:latin typeface="Neue Frutiger World" panose="020B0603040304020203" pitchFamily="34" charset="0"/>
                <a:cs typeface="Neue Frutiger World" panose="020B0603040304020203" pitchFamily="34" charset="0"/>
              </a:rPr>
              <a:t>first</a:t>
            </a:r>
            <a:r>
              <a:rPr sz="600" spc="-1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published</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online</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N</a:t>
            </a:r>
            <a:r>
              <a:rPr sz="600" spc="-25" dirty="0">
                <a:solidFill>
                  <a:srgbClr val="757982"/>
                </a:solidFill>
                <a:latin typeface="Neue Frutiger World" panose="020B0603040304020203" pitchFamily="34" charset="0"/>
                <a:cs typeface="Neue Frutiger World" panose="020B0603040304020203" pitchFamily="34" charset="0"/>
              </a:rPr>
              <a:t>ov</a:t>
            </a:r>
            <a:r>
              <a:rPr sz="600" spc="-20" dirty="0">
                <a:solidFill>
                  <a:srgbClr val="757982"/>
                </a:solidFill>
                <a:latin typeface="Neue Frutiger World" panose="020B0603040304020203" pitchFamily="34" charset="0"/>
                <a:cs typeface="Neue Frutiger World" panose="020B0603040304020203" pitchFamily="34" charset="0"/>
              </a:rPr>
              <a:t>embe</a:t>
            </a:r>
            <a:r>
              <a:rPr sz="600" spc="-5" dirty="0">
                <a:solidFill>
                  <a:srgbClr val="757982"/>
                </a:solidFill>
                <a:latin typeface="Neue Frutiger World" panose="020B0603040304020203" pitchFamily="34" charset="0"/>
                <a:cs typeface="Neue Frutiger World" panose="020B0603040304020203" pitchFamily="34" charset="0"/>
              </a:rPr>
              <a:t>r</a:t>
            </a:r>
            <a:r>
              <a:rPr sz="600" spc="-2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11</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2</a:t>
            </a:r>
            <a:r>
              <a:rPr sz="600" spc="-10" dirty="0">
                <a:solidFill>
                  <a:srgbClr val="757982"/>
                </a:solidFill>
                <a:latin typeface="Neue Frutiger World" panose="020B0603040304020203" pitchFamily="34" charset="0"/>
                <a:cs typeface="Neue Frutiger World" panose="020B0603040304020203" pitchFamily="34" charset="0"/>
              </a:rPr>
              <a:t>0</a:t>
            </a:r>
            <a:r>
              <a:rPr sz="600" spc="-15" dirty="0">
                <a:solidFill>
                  <a:srgbClr val="757982"/>
                </a:solidFill>
                <a:latin typeface="Neue Frutiger World" panose="020B0603040304020203" pitchFamily="34" charset="0"/>
                <a:cs typeface="Neue Frutiger World" panose="020B0603040304020203" pitchFamily="34" charset="0"/>
              </a:rPr>
              <a:t>0</a:t>
            </a:r>
            <a:r>
              <a:rPr sz="600" spc="5" dirty="0">
                <a:solidFill>
                  <a:srgbClr val="757982"/>
                </a:solidFill>
                <a:latin typeface="Neue Frutiger World" panose="020B0603040304020203" pitchFamily="34" charset="0"/>
                <a:cs typeface="Neue Frutiger World" panose="020B0603040304020203" pitchFamily="34" charset="0"/>
              </a:rPr>
              <a:t>9</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d</a:t>
            </a:r>
            <a:r>
              <a:rPr sz="600" spc="-25" dirty="0">
                <a:solidFill>
                  <a:srgbClr val="757982"/>
                </a:solidFill>
                <a:latin typeface="Neue Frutiger World" panose="020B0603040304020203" pitchFamily="34" charset="0"/>
                <a:cs typeface="Neue Frutiger World" panose="020B0603040304020203" pitchFamily="34" charset="0"/>
              </a:rPr>
              <a:t>o</a:t>
            </a:r>
            <a:r>
              <a:rPr sz="600" spc="-15" dirty="0">
                <a:solidFill>
                  <a:srgbClr val="757982"/>
                </a:solidFill>
                <a:latin typeface="Neue Frutiger World" panose="020B0603040304020203" pitchFamily="34" charset="0"/>
                <a:cs typeface="Neue Frutiger World" panose="020B0603040304020203" pitchFamily="34" charset="0"/>
              </a:rPr>
              <a:t>i:1</a:t>
            </a:r>
            <a:r>
              <a:rPr sz="600" spc="-30" dirty="0">
                <a:solidFill>
                  <a:srgbClr val="757982"/>
                </a:solidFill>
                <a:latin typeface="Neue Frutiger World" panose="020B0603040304020203" pitchFamily="34" charset="0"/>
                <a:cs typeface="Neue Frutiger World" panose="020B0603040304020203" pitchFamily="34" charset="0"/>
              </a:rPr>
              <a:t>0</a:t>
            </a:r>
            <a:r>
              <a:rPr sz="600" spc="-35"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1</a:t>
            </a:r>
            <a:r>
              <a:rPr sz="600" spc="-20" dirty="0">
                <a:solidFill>
                  <a:srgbClr val="757982"/>
                </a:solidFill>
                <a:latin typeface="Neue Frutiger World" panose="020B0603040304020203" pitchFamily="34" charset="0"/>
                <a:cs typeface="Neue Frutiger World" panose="020B0603040304020203" pitchFamily="34" charset="0"/>
              </a:rPr>
              <a:t>0</a:t>
            </a:r>
            <a:r>
              <a:rPr sz="600" spc="-30" dirty="0">
                <a:solidFill>
                  <a:srgbClr val="757982"/>
                </a:solidFill>
                <a:latin typeface="Neue Frutiger World" panose="020B0603040304020203" pitchFamily="34" charset="0"/>
                <a:cs typeface="Neue Frutiger World" panose="020B0603040304020203" pitchFamily="34" charset="0"/>
              </a:rPr>
              <a:t>93</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eu</a:t>
            </a:r>
            <a:r>
              <a:rPr sz="600" spc="-30" dirty="0">
                <a:solidFill>
                  <a:srgbClr val="757982"/>
                </a:solidFill>
                <a:latin typeface="Neue Frutiger World" panose="020B0603040304020203" pitchFamily="34" charset="0"/>
                <a:cs typeface="Neue Frutiger World" panose="020B0603040304020203" pitchFamily="34" charset="0"/>
              </a:rPr>
              <a:t>r</a:t>
            </a:r>
            <a:r>
              <a:rPr sz="600" spc="-20" dirty="0">
                <a:solidFill>
                  <a:srgbClr val="757982"/>
                </a:solidFill>
                <a:latin typeface="Neue Frutiger World" panose="020B0603040304020203" pitchFamily="34" charset="0"/>
                <a:cs typeface="Neue Frutiger World" panose="020B0603040304020203" pitchFamily="34" charset="0"/>
              </a:rPr>
              <a:t>op</a:t>
            </a:r>
            <a:r>
              <a:rPr sz="600" spc="-25" dirty="0">
                <a:solidFill>
                  <a:srgbClr val="757982"/>
                </a:solidFill>
                <a:latin typeface="Neue Frutiger World" panose="020B0603040304020203" pitchFamily="34" charset="0"/>
                <a:cs typeface="Neue Frutiger World" panose="020B0603040304020203" pitchFamily="34" charset="0"/>
              </a:rPr>
              <a:t>a</a:t>
            </a:r>
            <a:r>
              <a:rPr sz="600" spc="-20" dirty="0">
                <a:solidFill>
                  <a:srgbClr val="757982"/>
                </a:solidFill>
                <a:latin typeface="Neue Frutiger World" panose="020B0603040304020203" pitchFamily="34" charset="0"/>
                <a:cs typeface="Neue Frutiger World" panose="020B0603040304020203" pitchFamily="34" charset="0"/>
              </a:rPr>
              <a:t>c</a:t>
            </a:r>
            <a:r>
              <a:rPr sz="600" spc="-30" dirty="0">
                <a:solidFill>
                  <a:srgbClr val="757982"/>
                </a:solidFill>
                <a:latin typeface="Neue Frutiger World" panose="020B0603040304020203" pitchFamily="34" charset="0"/>
                <a:cs typeface="Neue Frutiger World" panose="020B0603040304020203" pitchFamily="34" charset="0"/>
              </a:rPr>
              <a:t>e</a:t>
            </a:r>
            <a:r>
              <a:rPr sz="600" spc="-4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eup362.</a:t>
            </a:r>
            <a:endParaRPr sz="600" dirty="0">
              <a:latin typeface="Neue Frutiger World" panose="020B0603040304020203" pitchFamily="34" charset="0"/>
              <a:cs typeface="Neue Frutiger World" panose="020B0603040304020203" pitchFamily="34" charset="0"/>
            </a:endParaRPr>
          </a:p>
          <a:p>
            <a:pPr marL="92075" marR="40636" indent="-92075">
              <a:spcBef>
                <a:spcPts val="450"/>
              </a:spcBef>
              <a:buAutoNum type="arabicPeriod" startAt="4"/>
              <a:tabLst>
                <a:tab pos="92075" algn="l"/>
              </a:tabLst>
            </a:pPr>
            <a:r>
              <a:rPr sz="600" spc="-20" dirty="0">
                <a:solidFill>
                  <a:srgbClr val="757982"/>
                </a:solidFill>
                <a:latin typeface="Neue Frutiger World" panose="020B0603040304020203" pitchFamily="34" charset="0"/>
                <a:cs typeface="Neue Frutiger World" panose="020B0603040304020203" pitchFamily="34" charset="0"/>
              </a:rPr>
              <a:t>de</a:t>
            </a:r>
            <a:r>
              <a:rPr sz="600" spc="-5" dirty="0">
                <a:solidFill>
                  <a:srgbClr val="757982"/>
                </a:solidFill>
                <a:latin typeface="Neue Frutiger World" panose="020B0603040304020203" pitchFamily="34" charset="0"/>
                <a:cs typeface="Neue Frutiger World" panose="020B0603040304020203" pitchFamily="34" charset="0"/>
              </a:rPr>
              <a:t>l</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Ri</a:t>
            </a:r>
            <a:r>
              <a:rPr sz="600" spc="-30" dirty="0">
                <a:solidFill>
                  <a:srgbClr val="757982"/>
                </a:solidFill>
                <a:latin typeface="Neue Frutiger World" panose="020B0603040304020203" pitchFamily="34" charset="0"/>
                <a:cs typeface="Neue Frutiger World" panose="020B0603040304020203" pitchFamily="34" charset="0"/>
              </a:rPr>
              <a:t>o</a:t>
            </a:r>
            <a:r>
              <a:rPr sz="600" spc="5" dirty="0">
                <a:solidFill>
                  <a:srgbClr val="757982"/>
                </a:solidFill>
                <a:latin typeface="Neue Frutiger World" panose="020B0603040304020203" pitchFamily="34" charset="0"/>
                <a:cs typeface="Neue Frutiger World" panose="020B0603040304020203" pitchFamily="34" charset="0"/>
              </a:rPr>
              <a:t>,</a:t>
            </a:r>
            <a:r>
              <a:rPr sz="600" spc="-3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A</a:t>
            </a:r>
            <a:r>
              <a:rPr sz="600" dirty="0">
                <a:solidFill>
                  <a:srgbClr val="757982"/>
                </a:solidFill>
                <a:latin typeface="Neue Frutiger World" panose="020B0603040304020203" pitchFamily="34" charset="0"/>
                <a:cs typeface="Neue Frutiger World" panose="020B0603040304020203" pitchFamily="34" charset="0"/>
              </a:rPr>
              <a:t>,</a:t>
            </a:r>
            <a:r>
              <a:rPr sz="600" spc="-3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nguer</a:t>
            </a:r>
            <a:r>
              <a:rPr sz="600" spc="-10" dirty="0">
                <a:solidFill>
                  <a:srgbClr val="757982"/>
                </a:solidFill>
                <a:latin typeface="Neue Frutiger World" panose="020B0603040304020203" pitchFamily="34" charset="0"/>
                <a:cs typeface="Neue Frutiger World" panose="020B0603040304020203" pitchFamily="34" charset="0"/>
              </a:rPr>
              <a:t>a</a:t>
            </a:r>
            <a:r>
              <a:rPr sz="600" spc="-1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I</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25" dirty="0">
                <a:solidFill>
                  <a:srgbClr val="757982"/>
                </a:solidFill>
                <a:latin typeface="Neue Frutiger World" panose="020B0603040304020203" pitchFamily="34" charset="0"/>
                <a:cs typeface="Neue Frutiger World" panose="020B0603040304020203" pitchFamily="34" charset="0"/>
              </a:rPr>
              <a:t>Mi</a:t>
            </a:r>
            <a:r>
              <a:rPr sz="600" spc="-30" dirty="0">
                <a:solidFill>
                  <a:srgbClr val="757982"/>
                </a:solidFill>
                <a:latin typeface="Neue Frutiger World" panose="020B0603040304020203" pitchFamily="34" charset="0"/>
                <a:cs typeface="Neue Frutiger World" panose="020B0603040304020203" pitchFamily="34" charset="0"/>
              </a:rPr>
              <a:t>r</a:t>
            </a:r>
            <a:r>
              <a:rPr sz="600" spc="-5" dirty="0">
                <a:solidFill>
                  <a:srgbClr val="757982"/>
                </a:solidFill>
                <a:latin typeface="Neue Frutiger World" panose="020B0603040304020203" pitchFamily="34" charset="0"/>
                <a:cs typeface="Neue Frutiger World" panose="020B0603040304020203" pitchFamily="34" charset="0"/>
              </a:rPr>
              <a:t>o</a:t>
            </a:r>
            <a:r>
              <a:rPr sz="600" spc="-15" dirty="0">
                <a:solidFill>
                  <a:srgbClr val="757982"/>
                </a:solidFill>
                <a:latin typeface="Neue Frutiger World" panose="020B0603040304020203" pitchFamily="34" charset="0"/>
                <a:cs typeface="Neue Frutiger World" panose="020B0603040304020203" pitchFamily="34" charset="0"/>
              </a:rPr>
              <a:t> </a:t>
            </a:r>
            <a:r>
              <a:rPr sz="600" dirty="0">
                <a:solidFill>
                  <a:srgbClr val="757982"/>
                </a:solidFill>
                <a:latin typeface="Neue Frutiger World" panose="020B0603040304020203" pitchFamily="34" charset="0"/>
                <a:cs typeface="Neue Frutiger World" panose="020B0603040304020203" pitchFamily="34" charset="0"/>
              </a:rPr>
              <a:t>JM,</a:t>
            </a:r>
            <a:r>
              <a:rPr sz="600" spc="-15" dirty="0">
                <a:solidFill>
                  <a:srgbClr val="757982"/>
                </a:solidFill>
                <a:latin typeface="Neue Frutiger World" panose="020B0603040304020203" pitchFamily="34" charset="0"/>
                <a:cs typeface="Neue Frutiger World" panose="020B0603040304020203" pitchFamily="34" charset="0"/>
              </a:rPr>
              <a:t> </a:t>
            </a:r>
            <a:r>
              <a:rPr sz="600" spc="-30" dirty="0">
                <a:solidFill>
                  <a:srgbClr val="757982"/>
                </a:solidFill>
                <a:latin typeface="Neue Frutiger World" panose="020B0603040304020203" pitchFamily="34" charset="0"/>
                <a:cs typeface="Neue Frutiger World" panose="020B0603040304020203" pitchFamily="34" charset="0"/>
              </a:rPr>
              <a:t>e</a:t>
            </a:r>
            <a:r>
              <a:rPr sz="600" spc="-10" dirty="0">
                <a:solidFill>
                  <a:srgbClr val="757982"/>
                </a:solidFill>
                <a:latin typeface="Neue Frutiger World" panose="020B0603040304020203" pitchFamily="34" charset="0"/>
                <a:cs typeface="Neue Frutiger World" panose="020B0603040304020203" pitchFamily="34" charset="0"/>
              </a:rPr>
              <a:t>t</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a:t>
            </a:r>
            <a:r>
              <a:rPr sz="600" spc="-10" dirty="0">
                <a:solidFill>
                  <a:srgbClr val="757982"/>
                </a:solidFill>
                <a:latin typeface="Neue Frutiger World" panose="020B0603040304020203" pitchFamily="34" charset="0"/>
                <a:cs typeface="Neue Frutiger World" panose="020B0603040304020203" pitchFamily="34" charset="0"/>
              </a:rPr>
              <a:t>l</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S</a:t>
            </a:r>
            <a:r>
              <a:rPr sz="600" spc="-25" dirty="0">
                <a:solidFill>
                  <a:srgbClr val="757982"/>
                </a:solidFill>
                <a:latin typeface="Neue Frutiger World" panose="020B0603040304020203" pitchFamily="34" charset="0"/>
                <a:cs typeface="Neue Frutiger World" panose="020B0603040304020203" pitchFamily="34" charset="0"/>
              </a:rPr>
              <a:t>ur</a:t>
            </a:r>
            <a:r>
              <a:rPr sz="600" spc="-15" dirty="0">
                <a:solidFill>
                  <a:srgbClr val="757982"/>
                </a:solidFill>
                <a:latin typeface="Neue Frutiger World" panose="020B0603040304020203" pitchFamily="34" charset="0"/>
                <a:cs typeface="Neue Frutiger World" panose="020B0603040304020203" pitchFamily="34" charset="0"/>
              </a:rPr>
              <a:t>gic</a:t>
            </a:r>
            <a:r>
              <a:rPr sz="600" spc="-20" dirty="0">
                <a:solidFill>
                  <a:srgbClr val="757982"/>
                </a:solidFill>
                <a:latin typeface="Neue Frutiger World" panose="020B0603040304020203" pitchFamily="34" charset="0"/>
                <a:cs typeface="Neue Frutiger World" panose="020B0603040304020203" pitchFamily="34" charset="0"/>
              </a:rPr>
              <a:t>a</a:t>
            </a:r>
            <a:r>
              <a:rPr sz="600" spc="-5" dirty="0">
                <a:solidFill>
                  <a:srgbClr val="757982"/>
                </a:solidFill>
                <a:latin typeface="Neue Frutiger World" panose="020B0603040304020203" pitchFamily="34" charset="0"/>
                <a:cs typeface="Neue Frutiger World" panose="020B0603040304020203" pitchFamily="34" charset="0"/>
              </a:rPr>
              <a:t>l</a:t>
            </a:r>
            <a:r>
              <a:rPr lang="en-GB" sz="600" spc="-5" dirty="0">
                <a:solidFill>
                  <a:srgbClr val="757982"/>
                </a:solidFill>
                <a:latin typeface="Neue Frutiger World" panose="020B0603040304020203" pitchFamily="34" charset="0"/>
                <a:cs typeface="Neue Frutiger World" panose="020B0603040304020203" pitchFamily="34" charset="0"/>
              </a:rPr>
              <a:t> </a:t>
            </a:r>
            <a:r>
              <a:rPr sz="600" spc="-30" dirty="0">
                <a:solidFill>
                  <a:srgbClr val="757982"/>
                </a:solidFill>
                <a:latin typeface="Neue Frutiger World" panose="020B0603040304020203" pitchFamily="34" charset="0"/>
                <a:cs typeface="Neue Frutiger World" panose="020B0603040304020203" pitchFamily="34" charset="0"/>
              </a:rPr>
              <a:t>t</a:t>
            </a:r>
            <a:r>
              <a:rPr sz="600" spc="-40" dirty="0">
                <a:solidFill>
                  <a:srgbClr val="757982"/>
                </a:solidFill>
                <a:latin typeface="Neue Frutiger World" panose="020B0603040304020203" pitchFamily="34" charset="0"/>
                <a:cs typeface="Neue Frutiger World" panose="020B0603040304020203" pitchFamily="34" charset="0"/>
              </a:rPr>
              <a:t>r</a:t>
            </a:r>
            <a:r>
              <a:rPr sz="600" spc="-20" dirty="0">
                <a:solidFill>
                  <a:srgbClr val="757982"/>
                </a:solidFill>
                <a:latin typeface="Neue Frutiger World" panose="020B0603040304020203" pitchFamily="34" charset="0"/>
                <a:cs typeface="Neue Frutiger World" panose="020B0603040304020203" pitchFamily="34" charset="0"/>
              </a:rPr>
              <a:t>ea</a:t>
            </a:r>
            <a:r>
              <a:rPr sz="600" spc="-25" dirty="0">
                <a:solidFill>
                  <a:srgbClr val="757982"/>
                </a:solidFill>
                <a:latin typeface="Neue Frutiger World" panose="020B0603040304020203" pitchFamily="34" charset="0"/>
                <a:cs typeface="Neue Frutiger World" panose="020B0603040304020203" pitchFamily="34" charset="0"/>
              </a:rPr>
              <a:t>tment</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o</a:t>
            </a:r>
            <a:r>
              <a:rPr sz="600" spc="-5" dirty="0">
                <a:solidFill>
                  <a:srgbClr val="757982"/>
                </a:solidFill>
                <a:latin typeface="Neue Frutiger World" panose="020B0603040304020203" pitchFamily="34" charset="0"/>
                <a:cs typeface="Neue Frutiger World" panose="020B0603040304020203" pitchFamily="34" charset="0"/>
              </a:rPr>
              <a:t>f</a:t>
            </a:r>
            <a:r>
              <a:rPr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p</a:t>
            </a:r>
            <a:r>
              <a:rPr sz="600" spc="-25" dirty="0">
                <a:solidFill>
                  <a:srgbClr val="757982"/>
                </a:solidFill>
                <a:latin typeface="Neue Frutiger World" panose="020B0603040304020203" pitchFamily="34" charset="0"/>
                <a:cs typeface="Neue Frutiger World" panose="020B0603040304020203" pitchFamily="34" charset="0"/>
              </a:rPr>
              <a:t>a</a:t>
            </a:r>
            <a:r>
              <a:rPr sz="600" spc="-20" dirty="0">
                <a:solidFill>
                  <a:srgbClr val="757982"/>
                </a:solidFill>
                <a:latin typeface="Neue Frutiger World" panose="020B0603040304020203" pitchFamily="34" charset="0"/>
                <a:cs typeface="Neue Frutiger World" panose="020B0603040304020203" pitchFamily="34" charset="0"/>
              </a:rPr>
              <a:t>cema</a:t>
            </a:r>
            <a:r>
              <a:rPr sz="600" spc="-35" dirty="0">
                <a:solidFill>
                  <a:srgbClr val="757982"/>
                </a:solidFill>
                <a:latin typeface="Neue Frutiger World" panose="020B0603040304020203" pitchFamily="34" charset="0"/>
                <a:cs typeface="Neue Frutiger World" panose="020B0603040304020203" pitchFamily="34" charset="0"/>
              </a:rPr>
              <a:t>k</a:t>
            </a:r>
            <a:r>
              <a:rPr sz="600" spc="-20" dirty="0">
                <a:solidFill>
                  <a:srgbClr val="757982"/>
                </a:solidFill>
                <a:latin typeface="Neue Frutiger World" panose="020B0603040304020203" pitchFamily="34" charset="0"/>
                <a:cs typeface="Neue Frutiger World" panose="020B0603040304020203" pitchFamily="34" charset="0"/>
              </a:rPr>
              <a:t>e</a:t>
            </a:r>
            <a:r>
              <a:rPr sz="600" spc="-10" dirty="0">
                <a:solidFill>
                  <a:srgbClr val="757982"/>
                </a:solidFill>
                <a:latin typeface="Neue Frutiger World" panose="020B0603040304020203" pitchFamily="34" charset="0"/>
                <a:cs typeface="Neue Frutiger World" panose="020B0603040304020203" pitchFamily="34" charset="0"/>
              </a:rPr>
              <a:t>r</a:t>
            </a:r>
            <a:r>
              <a:rPr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n</a:t>
            </a:r>
            <a:r>
              <a:rPr sz="600" spc="-10" dirty="0">
                <a:solidFill>
                  <a:srgbClr val="757982"/>
                </a:solidFill>
                <a:latin typeface="Neue Frutiger World" panose="020B0603040304020203" pitchFamily="34" charset="0"/>
                <a:cs typeface="Neue Frutiger World" panose="020B0603040304020203" pitchFamily="34" charset="0"/>
              </a:rPr>
              <a:t>d</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de</a:t>
            </a:r>
            <a:r>
              <a:rPr sz="600" spc="-25" dirty="0">
                <a:solidFill>
                  <a:srgbClr val="757982"/>
                </a:solidFill>
                <a:latin typeface="Neue Frutiger World" panose="020B0603040304020203" pitchFamily="34" charset="0"/>
                <a:cs typeface="Neue Frutiger World" panose="020B0603040304020203" pitchFamily="34" charset="0"/>
              </a:rPr>
              <a:t>fibril</a:t>
            </a:r>
            <a:r>
              <a:rPr sz="600" spc="-15" dirty="0">
                <a:solidFill>
                  <a:srgbClr val="757982"/>
                </a:solidFill>
                <a:latin typeface="Neue Frutiger World" panose="020B0603040304020203" pitchFamily="34" charset="0"/>
                <a:cs typeface="Neue Frutiger World" panose="020B0603040304020203" pitchFamily="34" charset="0"/>
              </a:rPr>
              <a:t>la</a:t>
            </a:r>
            <a:r>
              <a:rPr sz="600" spc="-40" dirty="0">
                <a:solidFill>
                  <a:srgbClr val="757982"/>
                </a:solidFill>
                <a:latin typeface="Neue Frutiger World" panose="020B0603040304020203" pitchFamily="34" charset="0"/>
                <a:cs typeface="Neue Frutiger World" panose="020B0603040304020203" pitchFamily="34" charset="0"/>
              </a:rPr>
              <a:t>t</a:t>
            </a:r>
            <a:r>
              <a:rPr sz="600" spc="-25" dirty="0">
                <a:solidFill>
                  <a:srgbClr val="757982"/>
                </a:solidFill>
                <a:latin typeface="Neue Frutiger World" panose="020B0603040304020203" pitchFamily="34" charset="0"/>
                <a:cs typeface="Neue Frutiger World" panose="020B0603040304020203" pitchFamily="34" charset="0"/>
              </a:rPr>
              <a:t>o</a:t>
            </a:r>
            <a:r>
              <a:rPr sz="600" spc="-10" dirty="0">
                <a:solidFill>
                  <a:srgbClr val="757982"/>
                </a:solidFill>
                <a:latin typeface="Neue Frutiger World" panose="020B0603040304020203" pitchFamily="34" charset="0"/>
                <a:cs typeface="Neue Frutiger World" panose="020B0603040304020203" pitchFamily="34" charset="0"/>
              </a:rPr>
              <a:t>r</a:t>
            </a:r>
            <a:r>
              <a:rPr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lead</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endocarditis: the impact </a:t>
            </a:r>
            <a:r>
              <a:rPr sz="600" spc="-10" dirty="0">
                <a:solidFill>
                  <a:srgbClr val="757982"/>
                </a:solidFill>
                <a:latin typeface="Neue Frutiger World" panose="020B0603040304020203" pitchFamily="34" charset="0"/>
                <a:cs typeface="Neue Frutiger World" panose="020B0603040304020203" pitchFamily="34" charset="0"/>
              </a:rPr>
              <a:t>of </a:t>
            </a:r>
            <a:r>
              <a:rPr sz="600" spc="-20" dirty="0">
                <a:solidFill>
                  <a:srgbClr val="757982"/>
                </a:solidFill>
                <a:latin typeface="Neue Frutiger World" panose="020B0603040304020203" pitchFamily="34" charset="0"/>
                <a:cs typeface="Neue Frutiger World" panose="020B0603040304020203" pitchFamily="34" charset="0"/>
              </a:rPr>
              <a:t>electrode </a:t>
            </a:r>
            <a:r>
              <a:rPr sz="600" spc="-15" dirty="0">
                <a:solidFill>
                  <a:srgbClr val="757982"/>
                </a:solidFill>
                <a:latin typeface="Neue Frutiger World" panose="020B0603040304020203" pitchFamily="34" charset="0"/>
                <a:cs typeface="Neue Frutiger World" panose="020B0603040304020203" pitchFamily="34" charset="0"/>
              </a:rPr>
              <a:t>lead </a:t>
            </a:r>
            <a:r>
              <a:rPr sz="600" spc="-20" dirty="0">
                <a:solidFill>
                  <a:srgbClr val="757982"/>
                </a:solidFill>
                <a:latin typeface="Neue Frutiger World" panose="020B0603040304020203" pitchFamily="34" charset="0"/>
                <a:cs typeface="Neue Frutiger World" panose="020B0603040304020203" pitchFamily="34" charset="0"/>
              </a:rPr>
              <a:t>extraction</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on</a:t>
            </a:r>
            <a:r>
              <a:rPr sz="600" spc="-20" dirty="0">
                <a:solidFill>
                  <a:srgbClr val="757982"/>
                </a:solidFill>
                <a:latin typeface="Neue Frutiger World" panose="020B0603040304020203" pitchFamily="34" charset="0"/>
                <a:cs typeface="Neue Frutiger World" panose="020B0603040304020203" pitchFamily="34" charset="0"/>
              </a:rPr>
              <a:t> outcome.</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Chest</a:t>
            </a:r>
            <a:r>
              <a:rPr sz="600" spc="-1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2003;124:1451–9.</a:t>
            </a:r>
            <a:endParaRPr sz="600" dirty="0">
              <a:latin typeface="Neue Frutiger World" panose="020B0603040304020203" pitchFamily="34" charset="0"/>
              <a:cs typeface="Neue Frutiger World" panose="020B0603040304020203" pitchFamily="34" charset="0"/>
            </a:endParaRPr>
          </a:p>
          <a:p>
            <a:pPr marL="92075" marR="36192" indent="-92075">
              <a:spcBef>
                <a:spcPts val="450"/>
              </a:spcBef>
              <a:buAutoNum type="arabicPeriod" startAt="4"/>
              <a:tabLst>
                <a:tab pos="92075" algn="l"/>
              </a:tabLst>
            </a:pPr>
            <a:r>
              <a:rPr sz="600" spc="-15" dirty="0">
                <a:solidFill>
                  <a:srgbClr val="757982"/>
                </a:solidFill>
                <a:latin typeface="Neue Frutiger World" panose="020B0603040304020203" pitchFamily="34" charset="0"/>
                <a:cs typeface="Neue Frutiger World" panose="020B0603040304020203" pitchFamily="34" charset="0"/>
              </a:rPr>
              <a:t>de</a:t>
            </a:r>
            <a:r>
              <a:rPr sz="600" spc="-1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Bie,</a:t>
            </a:r>
            <a:r>
              <a:rPr sz="600" spc="-1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Mihály </a:t>
            </a:r>
            <a:r>
              <a:rPr sz="600" dirty="0">
                <a:solidFill>
                  <a:srgbClr val="757982"/>
                </a:solidFill>
                <a:latin typeface="Neue Frutiger World" panose="020B0603040304020203" pitchFamily="34" charset="0"/>
                <a:cs typeface="Neue Frutiger World" panose="020B0603040304020203" pitchFamily="34" charset="0"/>
              </a:rPr>
              <a:t>K., </a:t>
            </a:r>
            <a:r>
              <a:rPr sz="600" spc="-20" dirty="0">
                <a:solidFill>
                  <a:srgbClr val="757982"/>
                </a:solidFill>
                <a:latin typeface="Neue Frutiger World" panose="020B0603040304020203" pitchFamily="34" charset="0"/>
                <a:cs typeface="Neue Frutiger World" panose="020B0603040304020203" pitchFamily="34" charset="0"/>
              </a:rPr>
              <a:t>et</a:t>
            </a:r>
            <a:r>
              <a:rPr sz="600" spc="12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al. </a:t>
            </a:r>
            <a:r>
              <a:rPr sz="600" spc="-15" dirty="0">
                <a:solidFill>
                  <a:srgbClr val="757982"/>
                </a:solidFill>
                <a:latin typeface="Neue Frutiger World" panose="020B0603040304020203" pitchFamily="34" charset="0"/>
                <a:cs typeface="Neue Frutiger World" panose="020B0603040304020203" pitchFamily="34" charset="0"/>
              </a:rPr>
              <a:t>“Cardiac</a:t>
            </a:r>
            <a:r>
              <a:rPr sz="600" spc="13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device</a:t>
            </a:r>
            <a:r>
              <a:rPr sz="600" spc="13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nfections</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re</a:t>
            </a:r>
            <a:r>
              <a:rPr sz="600" spc="-1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ssociated</a:t>
            </a:r>
            <a:r>
              <a:rPr sz="600" spc="-2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with</a:t>
            </a:r>
            <a:r>
              <a:rPr sz="600" spc="-10" dirty="0">
                <a:solidFill>
                  <a:srgbClr val="757982"/>
                </a:solidFill>
                <a:latin typeface="Neue Frutiger World" panose="020B0603040304020203" pitchFamily="34" charset="0"/>
                <a:cs typeface="Neue Frutiger World" panose="020B0603040304020203" pitchFamily="34" charset="0"/>
              </a:rPr>
              <a:t> a </a:t>
            </a:r>
            <a:r>
              <a:rPr sz="600" spc="-20" dirty="0">
                <a:solidFill>
                  <a:srgbClr val="757982"/>
                </a:solidFill>
                <a:latin typeface="Neue Frutiger World" panose="020B0603040304020203" pitchFamily="34" charset="0"/>
                <a:cs typeface="Neue Frutiger World" panose="020B0603040304020203" pitchFamily="34" charset="0"/>
              </a:rPr>
              <a:t>significant</a:t>
            </a:r>
            <a:r>
              <a:rPr sz="600" spc="-1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mortality</a:t>
            </a:r>
            <a:r>
              <a:rPr sz="600" spc="-25" dirty="0">
                <a:solidFill>
                  <a:srgbClr val="757982"/>
                </a:solidFill>
                <a:latin typeface="Neue Frutiger World" panose="020B0603040304020203" pitchFamily="34" charset="0"/>
                <a:cs typeface="Neue Frutiger World" panose="020B0603040304020203" pitchFamily="34" charset="0"/>
              </a:rPr>
              <a:t> risk.” </a:t>
            </a:r>
            <a:r>
              <a:rPr sz="600" spc="-20" dirty="0">
                <a:solidFill>
                  <a:srgbClr val="757982"/>
                </a:solidFill>
                <a:latin typeface="Neue Frutiger World" panose="020B0603040304020203" pitchFamily="34" charset="0"/>
                <a:cs typeface="Neue Frutiger World" panose="020B0603040304020203" pitchFamily="34" charset="0"/>
              </a:rPr>
              <a:t>Heart</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Rhythm</a:t>
            </a:r>
            <a:r>
              <a:rPr sz="600" spc="-20" dirty="0">
                <a:solidFill>
                  <a:srgbClr val="757982"/>
                </a:solidFill>
                <a:latin typeface="Neue Frutiger World" panose="020B0603040304020203" pitchFamily="34" charset="0"/>
                <a:cs typeface="Neue Frutiger World" panose="020B0603040304020203" pitchFamily="34" charset="0"/>
              </a:rPr>
              <a:t> </a:t>
            </a:r>
            <a:r>
              <a:rPr sz="600" spc="-5" dirty="0">
                <a:solidFill>
                  <a:srgbClr val="757982"/>
                </a:solidFill>
                <a:latin typeface="Neue Frutiger World" panose="020B0603040304020203" pitchFamily="34" charset="0"/>
                <a:cs typeface="Neue Frutiger World" panose="020B0603040304020203" pitchFamily="34" charset="0"/>
              </a:rPr>
              <a:t>9.4</a:t>
            </a:r>
            <a:r>
              <a:rPr sz="600" spc="-15" dirty="0">
                <a:solidFill>
                  <a:srgbClr val="757982"/>
                </a:solidFill>
                <a:latin typeface="Neue Frutiger World" panose="020B0603040304020203" pitchFamily="34" charset="0"/>
                <a:cs typeface="Neue Frutiger World" panose="020B0603040304020203" pitchFamily="34" charset="0"/>
              </a:rPr>
              <a:t> (2012): </a:t>
            </a:r>
            <a:r>
              <a:rPr sz="600" spc="-5" dirty="0">
                <a:solidFill>
                  <a:srgbClr val="757982"/>
                </a:solidFill>
                <a:latin typeface="Neue Frutiger World" panose="020B0603040304020203" pitchFamily="34" charset="0"/>
                <a:cs typeface="Neue Frutiger World" panose="020B0603040304020203" pitchFamily="34" charset="0"/>
              </a:rPr>
              <a:t>494-498.</a:t>
            </a:r>
            <a:endParaRPr lang="nl-BE" sz="600" spc="-5" dirty="0">
              <a:solidFill>
                <a:srgbClr val="757982"/>
              </a:solidFill>
              <a:latin typeface="Neue Frutiger World" panose="020B0603040304020203" pitchFamily="34" charset="0"/>
              <a:cs typeface="Neue Frutiger World" panose="020B0603040304020203" pitchFamily="34" charset="0"/>
            </a:endParaRPr>
          </a:p>
          <a:p>
            <a:pPr marL="92075" marR="36192" indent="-92075">
              <a:spcBef>
                <a:spcPts val="450"/>
              </a:spcBef>
              <a:buFontTx/>
              <a:buAutoNum type="arabicPeriod" startAt="4"/>
              <a:tabLst>
                <a:tab pos="92075" algn="l"/>
              </a:tabLst>
            </a:pPr>
            <a:r>
              <a:rPr lang="en-US" sz="600" spc="-20" dirty="0" err="1">
                <a:solidFill>
                  <a:srgbClr val="757982"/>
                </a:solidFill>
                <a:latin typeface="Neue Frutiger World" panose="020B0603040304020203" pitchFamily="34" charset="0"/>
                <a:cs typeface="Neue Frutiger World" panose="020B0603040304020203" pitchFamily="34" charset="0"/>
              </a:rPr>
              <a:t>Rungpradubvong</a:t>
            </a:r>
            <a:r>
              <a:rPr lang="en-US" sz="600" spc="-20" dirty="0">
                <a:solidFill>
                  <a:srgbClr val="757982"/>
                </a:solidFill>
                <a:latin typeface="Neue Frutiger World" panose="020B0603040304020203" pitchFamily="34" charset="0"/>
                <a:cs typeface="Neue Frutiger World" panose="020B0603040304020203" pitchFamily="34" charset="0"/>
              </a:rPr>
              <a:t>, V et al. Outcomes of early and delayed removal in patients with cardiac implantable electronic device infection. Poster Presentation. 2014 Heart Rhythm Society Annual Scientific Sessions, San Francisco, CA.</a:t>
            </a:r>
          </a:p>
          <a:p>
            <a:pPr marL="92075" marR="36192" indent="-92075">
              <a:spcBef>
                <a:spcPts val="450"/>
              </a:spcBef>
              <a:buFontTx/>
              <a:buAutoNum type="arabicPeriod" startAt="4"/>
              <a:tabLst>
                <a:tab pos="92075" algn="l"/>
              </a:tabLst>
            </a:pPr>
            <a:r>
              <a:rPr lang="en-US" sz="600" spc="-65" dirty="0" err="1">
                <a:solidFill>
                  <a:srgbClr val="757982"/>
                </a:solidFill>
                <a:latin typeface="Neue Frutiger World" panose="020B0603040304020203" pitchFamily="34" charset="0"/>
                <a:cs typeface="Neue Frutiger World" panose="020B0603040304020203" pitchFamily="34" charset="0"/>
              </a:rPr>
              <a:t>T</a:t>
            </a:r>
            <a:r>
              <a:rPr lang="en-US" sz="600" spc="-25" dirty="0" err="1">
                <a:solidFill>
                  <a:srgbClr val="757982"/>
                </a:solidFill>
                <a:latin typeface="Neue Frutiger World" panose="020B0603040304020203" pitchFamily="34" charset="0"/>
                <a:cs typeface="Neue Frutiger World" panose="020B0603040304020203" pitchFamily="34" charset="0"/>
              </a:rPr>
              <a:t>ar</a:t>
            </a:r>
            <a:r>
              <a:rPr lang="en-US" sz="600" spc="-20" dirty="0" err="1">
                <a:solidFill>
                  <a:srgbClr val="757982"/>
                </a:solidFill>
                <a:latin typeface="Neue Frutiger World" panose="020B0603040304020203" pitchFamily="34" charset="0"/>
                <a:cs typeface="Neue Frutiger World" panose="020B0603040304020203" pitchFamily="34" charset="0"/>
              </a:rPr>
              <a:t>akj</a:t>
            </a:r>
            <a:r>
              <a:rPr lang="en-US" sz="600" spc="-10" dirty="0" err="1">
                <a:solidFill>
                  <a:srgbClr val="757982"/>
                </a:solidFill>
                <a:latin typeface="Neue Frutiger World" panose="020B0603040304020203" pitchFamily="34" charset="0"/>
                <a:cs typeface="Neue Frutiger World" panose="020B0603040304020203" pitchFamily="34" charset="0"/>
              </a:rPr>
              <a:t>i</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35" dirty="0">
                <a:solidFill>
                  <a:srgbClr val="757982"/>
                </a:solidFill>
                <a:latin typeface="Neue Frutiger World" panose="020B0603040304020203" pitchFamily="34" charset="0"/>
                <a:cs typeface="Neue Frutiger World" panose="020B0603040304020203" pitchFamily="34" charset="0"/>
              </a:rPr>
              <a:t>K</a:t>
            </a:r>
            <a:r>
              <a:rPr lang="en-US" sz="600" spc="-10" dirty="0">
                <a:solidFill>
                  <a:srgbClr val="757982"/>
                </a:solidFill>
                <a:latin typeface="Neue Frutiger World" panose="020B0603040304020203" pitchFamily="34" charset="0"/>
                <a:cs typeface="Neue Frutiger World" panose="020B0603040304020203" pitchFamily="34" charset="0"/>
              </a:rPr>
              <a:t>G</a:t>
            </a:r>
            <a:r>
              <a:rPr lang="en-US" sz="600" dirty="0">
                <a:solidFill>
                  <a:srgbClr val="757982"/>
                </a:solidFill>
                <a:latin typeface="Neue Frutiger World" panose="020B0603040304020203" pitchFamily="34" charset="0"/>
                <a:cs typeface="Neue Frutiger World" panose="020B0603040304020203" pitchFamily="34" charset="0"/>
              </a:rPr>
              <a:t> et al</a:t>
            </a:r>
            <a:r>
              <a:rPr lang="en-US" sz="600" spc="-10" dirty="0">
                <a:solidFill>
                  <a:srgbClr val="757982"/>
                </a:solidFill>
                <a:latin typeface="Neue Frutiger World" panose="020B0603040304020203" pitchFamily="34" charset="0"/>
                <a:cs typeface="Neue Frutiger World" panose="020B0603040304020203" pitchFamily="34" charset="0"/>
              </a:rPr>
              <a:t>.</a:t>
            </a:r>
            <a:r>
              <a:rPr lang="en-US" sz="600" spc="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Risk</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factors</a:t>
            </a:r>
            <a:r>
              <a:rPr lang="en-US" sz="600" spc="-1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for</a:t>
            </a:r>
            <a:r>
              <a:rPr lang="en-US" sz="600" spc="-25" dirty="0">
                <a:solidFill>
                  <a:srgbClr val="757982"/>
                </a:solidFill>
                <a:latin typeface="Neue Frutiger World" panose="020B0603040304020203" pitchFamily="34" charset="0"/>
                <a:cs typeface="Neue Frutiger World" panose="020B0603040304020203" pitchFamily="34" charset="0"/>
              </a:rPr>
              <a:t> </a:t>
            </a:r>
            <a:r>
              <a:rPr lang="en-US" sz="600" spc="-10" dirty="0">
                <a:solidFill>
                  <a:srgbClr val="757982"/>
                </a:solidFill>
                <a:latin typeface="Neue Frutiger World" panose="020B0603040304020203" pitchFamily="34" charset="0"/>
                <a:cs typeface="Neue Frutiger World" panose="020B0603040304020203" pitchFamily="34" charset="0"/>
              </a:rPr>
              <a:t>1-year</a:t>
            </a:r>
            <a:r>
              <a:rPr lang="en-US" sz="600" spc="-20" dirty="0">
                <a:solidFill>
                  <a:srgbClr val="757982"/>
                </a:solidFill>
                <a:latin typeface="Neue Frutiger World" panose="020B0603040304020203" pitchFamily="34" charset="0"/>
                <a:cs typeface="Neue Frutiger World" panose="020B0603040304020203" pitchFamily="34" charset="0"/>
              </a:rPr>
              <a:t> mortality</a:t>
            </a:r>
            <a:r>
              <a:rPr lang="en-US" sz="600" spc="-3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among patients</a:t>
            </a:r>
            <a:r>
              <a:rPr lang="en-US" sz="600" spc="-2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with</a:t>
            </a:r>
            <a:r>
              <a:rPr lang="en-US" sz="600" spc="-1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cardiac</a:t>
            </a:r>
            <a:r>
              <a:rPr lang="en-US" sz="600" spc="-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implantable</a:t>
            </a:r>
            <a:r>
              <a:rPr lang="en-US" sz="600" spc="-1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electronic</a:t>
            </a:r>
            <a:r>
              <a:rPr lang="en-US" sz="600" spc="-1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device infection undergoing transvenous</a:t>
            </a:r>
            <a:r>
              <a:rPr lang="en-US" sz="600" spc="-15" dirty="0">
                <a:solidFill>
                  <a:srgbClr val="757982"/>
                </a:solidFill>
                <a:latin typeface="Neue Frutiger World" panose="020B0603040304020203" pitchFamily="34" charset="0"/>
                <a:cs typeface="Neue Frutiger World" panose="020B0603040304020203" pitchFamily="34" charset="0"/>
              </a:rPr>
              <a:t> lead</a:t>
            </a:r>
            <a:r>
              <a:rPr lang="en-US" sz="600" spc="-20" dirty="0">
                <a:solidFill>
                  <a:srgbClr val="757982"/>
                </a:solidFill>
                <a:latin typeface="Neue Frutiger World" panose="020B0603040304020203" pitchFamily="34" charset="0"/>
                <a:cs typeface="Neue Frutiger World" panose="020B0603040304020203" pitchFamily="34" charset="0"/>
              </a:rPr>
              <a:t> extraction: the</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impact</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10" dirty="0">
                <a:solidFill>
                  <a:srgbClr val="757982"/>
                </a:solidFill>
                <a:latin typeface="Neue Frutiger World" panose="020B0603040304020203" pitchFamily="34" charset="0"/>
                <a:cs typeface="Neue Frutiger World" panose="020B0603040304020203" pitchFamily="34" charset="0"/>
              </a:rPr>
              <a:t>of</a:t>
            </a:r>
            <a:r>
              <a:rPr lang="en-US" sz="600" spc="-3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the</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infection</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10" dirty="0">
                <a:solidFill>
                  <a:srgbClr val="757982"/>
                </a:solidFill>
                <a:latin typeface="Neue Frutiger World" panose="020B0603040304020203" pitchFamily="34" charset="0"/>
                <a:cs typeface="Neue Frutiger World" panose="020B0603040304020203" pitchFamily="34" charset="0"/>
              </a:rPr>
              <a:t>type</a:t>
            </a:r>
            <a:r>
              <a:rPr lang="en-US" sz="600" spc="-15" dirty="0">
                <a:solidFill>
                  <a:srgbClr val="757982"/>
                </a:solidFill>
                <a:latin typeface="Neue Frutiger World" panose="020B0603040304020203" pitchFamily="34" charset="0"/>
                <a:cs typeface="Neue Frutiger World" panose="020B0603040304020203" pitchFamily="34" charset="0"/>
              </a:rPr>
              <a:t> and </a:t>
            </a:r>
            <a:r>
              <a:rPr lang="en-US" sz="600" spc="-20" dirty="0">
                <a:solidFill>
                  <a:srgbClr val="757982"/>
                </a:solidFill>
                <a:latin typeface="Neue Frutiger World" panose="020B0603040304020203" pitchFamily="34" charset="0"/>
                <a:cs typeface="Neue Frutiger World" panose="020B0603040304020203" pitchFamily="34" charset="0"/>
              </a:rPr>
              <a:t>the</a:t>
            </a:r>
            <a:r>
              <a:rPr lang="en-US" sz="600" spc="-1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presence </a:t>
            </a:r>
            <a:r>
              <a:rPr lang="en-US" sz="600" spc="-10" dirty="0">
                <a:solidFill>
                  <a:srgbClr val="757982"/>
                </a:solidFill>
                <a:latin typeface="Neue Frutiger World" panose="020B0603040304020203" pitchFamily="34" charset="0"/>
                <a:cs typeface="Neue Frutiger World" panose="020B0603040304020203" pitchFamily="34" charset="0"/>
              </a:rPr>
              <a:t>of </a:t>
            </a:r>
            <a:r>
              <a:rPr lang="en-US" sz="600" spc="-20" dirty="0">
                <a:solidFill>
                  <a:srgbClr val="757982"/>
                </a:solidFill>
                <a:latin typeface="Neue Frutiger World" panose="020B0603040304020203" pitchFamily="34" charset="0"/>
                <a:cs typeface="Neue Frutiger World" panose="020B0603040304020203" pitchFamily="34" charset="0"/>
              </a:rPr>
              <a:t>begetation </a:t>
            </a:r>
            <a:r>
              <a:rPr lang="en-US" sz="600" spc="-15" dirty="0">
                <a:solidFill>
                  <a:srgbClr val="757982"/>
                </a:solidFill>
                <a:latin typeface="Neue Frutiger World" panose="020B0603040304020203" pitchFamily="34" charset="0"/>
                <a:cs typeface="Neue Frutiger World" panose="020B0603040304020203" pitchFamily="34" charset="0"/>
              </a:rPr>
              <a:t>on survival. </a:t>
            </a:r>
            <a:r>
              <a:rPr lang="en-US" sz="600" spc="-20" dirty="0">
                <a:solidFill>
                  <a:srgbClr val="757982"/>
                </a:solidFill>
                <a:latin typeface="Neue Frutiger World" panose="020B0603040304020203" pitchFamily="34" charset="0"/>
                <a:cs typeface="Neue Frutiger World" panose="020B0603040304020203" pitchFamily="34" charset="0"/>
              </a:rPr>
              <a:t>Europace doi:10.1093/ </a:t>
            </a:r>
            <a:r>
              <a:rPr lang="en-US" sz="600" spc="-20" dirty="0" err="1">
                <a:solidFill>
                  <a:srgbClr val="757982"/>
                </a:solidFill>
                <a:latin typeface="Neue Frutiger World" panose="020B0603040304020203" pitchFamily="34" charset="0"/>
                <a:cs typeface="Neue Frutiger World" panose="020B0603040304020203" pitchFamily="34" charset="0"/>
              </a:rPr>
              <a:t>europace</a:t>
            </a:r>
            <a:r>
              <a:rPr lang="en-US" sz="600" spc="-20" dirty="0">
                <a:solidFill>
                  <a:srgbClr val="757982"/>
                </a:solidFill>
                <a:latin typeface="Neue Frutiger World" panose="020B0603040304020203" pitchFamily="34" charset="0"/>
                <a:cs typeface="Neue Frutiger World" panose="020B0603040304020203" pitchFamily="34" charset="0"/>
              </a:rPr>
              <a:t>/euu147.</a:t>
            </a:r>
            <a:endParaRPr lang="en-US" sz="600" dirty="0">
              <a:latin typeface="Neue Frutiger World" panose="020B0603040304020203" pitchFamily="34" charset="0"/>
              <a:cs typeface="Neue Frutiger World" panose="020B0603040304020203" pitchFamily="34" charset="0"/>
            </a:endParaRPr>
          </a:p>
          <a:p>
            <a:pPr marL="92075" marR="36192" indent="-92075">
              <a:spcBef>
                <a:spcPts val="450"/>
              </a:spcBef>
              <a:tabLst>
                <a:tab pos="92075" algn="l"/>
              </a:tabLst>
            </a:pPr>
            <a:endParaRPr lang="en-US" sz="600" dirty="0">
              <a:latin typeface="Neue Frutiger World" panose="020B0603040304020203" pitchFamily="34" charset="0"/>
              <a:cs typeface="Neue Frutiger World" panose="020B0603040304020203" pitchFamily="34" charset="0"/>
            </a:endParaRPr>
          </a:p>
          <a:p>
            <a:pPr marL="92075" marR="36192" indent="-92075">
              <a:spcBef>
                <a:spcPts val="450"/>
              </a:spcBef>
              <a:buAutoNum type="arabicPeriod" startAt="4"/>
              <a:tabLst>
                <a:tab pos="92075" algn="l"/>
              </a:tabLst>
            </a:pPr>
            <a:endParaRPr sz="600" dirty="0">
              <a:latin typeface="Neue Frutiger World" panose="020B0603040304020203" pitchFamily="34" charset="0"/>
              <a:cs typeface="Neue Frutiger World" panose="020B0603040304020203" pitchFamily="34" charset="0"/>
            </a:endParaRPr>
          </a:p>
        </p:txBody>
      </p:sp>
      <p:sp>
        <p:nvSpPr>
          <p:cNvPr id="6" name="object 4">
            <a:extLst>
              <a:ext uri="{FF2B5EF4-FFF2-40B4-BE49-F238E27FC236}">
                <a16:creationId xmlns:a16="http://schemas.microsoft.com/office/drawing/2014/main" id="{5CC00CD2-77DF-4774-A863-B5232247DFC0}"/>
              </a:ext>
            </a:extLst>
          </p:cNvPr>
          <p:cNvSpPr txBox="1"/>
          <p:nvPr/>
        </p:nvSpPr>
        <p:spPr>
          <a:xfrm>
            <a:off x="2404240" y="411511"/>
            <a:ext cx="2250436" cy="5028300"/>
          </a:xfrm>
          <a:prstGeom prst="rect">
            <a:avLst/>
          </a:prstGeom>
        </p:spPr>
        <p:txBody>
          <a:bodyPr vert="horz" wrap="square" lIns="0" tIns="8890" rIns="0" bIns="0" rtlCol="0">
            <a:spAutoFit/>
          </a:bodyPr>
          <a:lstStyle/>
          <a:p>
            <a:pPr marL="92075" marR="33652" indent="-90488">
              <a:spcBef>
                <a:spcPts val="450"/>
              </a:spcBef>
              <a:buFont typeface="+mj-lt"/>
              <a:buAutoNum type="arabicPeriod" startAt="13"/>
              <a:tabLst>
                <a:tab pos="92075" algn="l"/>
              </a:tabLst>
            </a:pPr>
            <a:r>
              <a:rPr sz="600" spc="-10" dirty="0">
                <a:solidFill>
                  <a:srgbClr val="757982"/>
                </a:solidFill>
                <a:latin typeface="Neue Frutiger World" panose="020B0603040304020203" pitchFamily="34" charset="0"/>
                <a:cs typeface="Neue Frutiger World" panose="020B0603040304020203" pitchFamily="34" charset="0"/>
              </a:rPr>
              <a:t>C</a:t>
            </a:r>
            <a:r>
              <a:rPr sz="600" spc="-20" dirty="0">
                <a:solidFill>
                  <a:srgbClr val="757982"/>
                </a:solidFill>
                <a:latin typeface="Neue Frutiger World" panose="020B0603040304020203" pitchFamily="34" charset="0"/>
                <a:cs typeface="Neue Frutiger World" panose="020B0603040304020203" pitchFamily="34" charset="0"/>
              </a:rPr>
              <a:t>hami</a:t>
            </a:r>
            <a:r>
              <a:rPr sz="600" spc="-10" dirty="0">
                <a:solidFill>
                  <a:srgbClr val="757982"/>
                </a:solidFill>
                <a:latin typeface="Neue Frutiger World" panose="020B0603040304020203" pitchFamily="34" charset="0"/>
                <a:cs typeface="Neue Frutiger World" panose="020B0603040304020203" pitchFamily="34" charset="0"/>
              </a:rPr>
              <a:t>s</a:t>
            </a:r>
            <a:r>
              <a:rPr sz="600" spc="-3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AL.</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30" dirty="0">
                <a:solidFill>
                  <a:srgbClr val="757982"/>
                </a:solidFill>
                <a:latin typeface="Neue Frutiger World" panose="020B0603040304020203" pitchFamily="34" charset="0"/>
                <a:cs typeface="Neue Frutiger World" panose="020B0603040304020203" pitchFamily="34" charset="0"/>
              </a:rPr>
              <a:t>e</a:t>
            </a:r>
            <a:r>
              <a:rPr sz="600" spc="-10" dirty="0">
                <a:solidFill>
                  <a:srgbClr val="757982"/>
                </a:solidFill>
                <a:latin typeface="Neue Frutiger World" panose="020B0603040304020203" pitchFamily="34" charset="0"/>
                <a:cs typeface="Neue Frutiger World" panose="020B0603040304020203" pitchFamily="34" charset="0"/>
              </a:rPr>
              <a:t>t</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a:t>
            </a:r>
            <a:r>
              <a:rPr sz="600" spc="-10" dirty="0">
                <a:solidFill>
                  <a:srgbClr val="757982"/>
                </a:solidFill>
                <a:latin typeface="Neue Frutiger World" panose="020B0603040304020203" pitchFamily="34" charset="0"/>
                <a:cs typeface="Neue Frutiger World" panose="020B0603040304020203" pitchFamily="34" charset="0"/>
              </a:rPr>
              <a:t>l</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S</a:t>
            </a:r>
            <a:r>
              <a:rPr sz="600" spc="-30" dirty="0">
                <a:solidFill>
                  <a:srgbClr val="757982"/>
                </a:solidFill>
                <a:latin typeface="Neue Frutiger World" panose="020B0603040304020203" pitchFamily="34" charset="0"/>
                <a:cs typeface="Neue Frutiger World" panose="020B0603040304020203" pitchFamily="34" charset="0"/>
              </a:rPr>
              <a:t>t</a:t>
            </a:r>
            <a:r>
              <a:rPr sz="600" spc="-20" dirty="0">
                <a:solidFill>
                  <a:srgbClr val="757982"/>
                </a:solidFill>
                <a:latin typeface="Neue Frutiger World" panose="020B0603040304020203" pitchFamily="34" charset="0"/>
                <a:cs typeface="Neue Frutiger World" panose="020B0603040304020203" pitchFamily="34" charset="0"/>
              </a:rPr>
              <a:t>ap</a:t>
            </a:r>
            <a:r>
              <a:rPr sz="600" spc="-30" dirty="0">
                <a:solidFill>
                  <a:srgbClr val="757982"/>
                </a:solidFill>
                <a:latin typeface="Neue Frutiger World" panose="020B0603040304020203" pitchFamily="34" charset="0"/>
                <a:cs typeface="Neue Frutiger World" panose="020B0603040304020203" pitchFamily="34" charset="0"/>
              </a:rPr>
              <a:t>h</a:t>
            </a:r>
            <a:r>
              <a:rPr sz="600" dirty="0">
                <a:solidFill>
                  <a:srgbClr val="757982"/>
                </a:solidFill>
                <a:latin typeface="Neue Frutiger World" panose="020B0603040304020203" pitchFamily="34" charset="0"/>
                <a:cs typeface="Neue Frutiger World" panose="020B0603040304020203" pitchFamily="34" charset="0"/>
              </a:rPr>
              <a:t>y</a:t>
            </a:r>
            <a:r>
              <a:rPr sz="600" spc="-10" dirty="0">
                <a:solidFill>
                  <a:srgbClr val="757982"/>
                </a:solidFill>
                <a:latin typeface="Neue Frutiger World" panose="020B0603040304020203" pitchFamily="34" charset="0"/>
                <a:cs typeface="Neue Frutiger World" panose="020B0603040304020203" pitchFamily="34" charset="0"/>
              </a:rPr>
              <a:t>l</a:t>
            </a:r>
            <a:r>
              <a:rPr sz="600" spc="-15" dirty="0">
                <a:solidFill>
                  <a:srgbClr val="757982"/>
                </a:solidFill>
                <a:latin typeface="Neue Frutiger World" panose="020B0603040304020203" pitchFamily="34" charset="0"/>
                <a:cs typeface="Neue Frutiger World" panose="020B0603040304020203" pitchFamily="34" charset="0"/>
              </a:rPr>
              <a:t>o</a:t>
            </a:r>
            <a:r>
              <a:rPr sz="600" spc="-20" dirty="0">
                <a:solidFill>
                  <a:srgbClr val="757982"/>
                </a:solidFill>
                <a:latin typeface="Neue Frutiger World" panose="020B0603040304020203" pitchFamily="34" charset="0"/>
                <a:cs typeface="Neue Frutiger World" panose="020B0603040304020203" pitchFamily="34" charset="0"/>
              </a:rPr>
              <a:t>c</a:t>
            </a:r>
            <a:r>
              <a:rPr sz="600" spc="-15" dirty="0">
                <a:solidFill>
                  <a:srgbClr val="757982"/>
                </a:solidFill>
                <a:latin typeface="Neue Frutiger World" panose="020B0603040304020203" pitchFamily="34" charset="0"/>
                <a:cs typeface="Neue Frutiger World" panose="020B0603040304020203" pitchFamily="34" charset="0"/>
              </a:rPr>
              <a:t>o</a:t>
            </a:r>
            <a:r>
              <a:rPr sz="600" spc="-20" dirty="0">
                <a:solidFill>
                  <a:srgbClr val="757982"/>
                </a:solidFill>
                <a:latin typeface="Neue Frutiger World" panose="020B0603040304020203" pitchFamily="34" charset="0"/>
                <a:cs typeface="Neue Frutiger World" panose="020B0603040304020203" pitchFamily="34" charset="0"/>
              </a:rPr>
              <a:t>ccu</a:t>
            </a:r>
            <a:r>
              <a:rPr sz="600" spc="-10" dirty="0">
                <a:solidFill>
                  <a:srgbClr val="757982"/>
                </a:solidFill>
                <a:latin typeface="Neue Frutiger World" panose="020B0603040304020203" pitchFamily="34" charset="0"/>
                <a:cs typeface="Neue Frutiger World" panose="020B0603040304020203" pitchFamily="34" charset="0"/>
              </a:rPr>
              <a:t>s</a:t>
            </a:r>
            <a:r>
              <a:rPr sz="600" spc="-15" dirty="0">
                <a:solidFill>
                  <a:srgbClr val="757982"/>
                </a:solidFill>
                <a:latin typeface="Neue Frutiger World" panose="020B0603040304020203" pitchFamily="34" charset="0"/>
                <a:cs typeface="Neue Frutiger World" panose="020B0603040304020203" pitchFamily="34" charset="0"/>
              </a:rPr>
              <a:t> </a:t>
            </a:r>
            <a:r>
              <a:rPr sz="600" spc="-25" dirty="0">
                <a:solidFill>
                  <a:srgbClr val="757982"/>
                </a:solidFill>
                <a:latin typeface="Neue Frutiger World" panose="020B0603040304020203" pitchFamily="34" charset="0"/>
                <a:cs typeface="Neue Frutiger World" panose="020B0603040304020203" pitchFamily="34" charset="0"/>
              </a:rPr>
              <a:t>au</a:t>
            </a:r>
            <a:r>
              <a:rPr sz="600" spc="-30" dirty="0">
                <a:solidFill>
                  <a:srgbClr val="757982"/>
                </a:solidFill>
                <a:latin typeface="Neue Frutiger World" panose="020B0603040304020203" pitchFamily="34" charset="0"/>
                <a:cs typeface="Neue Frutiger World" panose="020B0603040304020203" pitchFamily="34" charset="0"/>
              </a:rPr>
              <a:t>r</a:t>
            </a:r>
            <a:r>
              <a:rPr sz="600" spc="-20" dirty="0">
                <a:solidFill>
                  <a:srgbClr val="757982"/>
                </a:solidFill>
                <a:latin typeface="Neue Frutiger World" panose="020B0603040304020203" pitchFamily="34" charset="0"/>
                <a:cs typeface="Neue Frutiger World" panose="020B0603040304020203" pitchFamily="34" charset="0"/>
              </a:rPr>
              <a:t>eu</a:t>
            </a:r>
            <a:r>
              <a:rPr sz="600" spc="-10" dirty="0">
                <a:solidFill>
                  <a:srgbClr val="757982"/>
                </a:solidFill>
                <a:latin typeface="Neue Frutiger World" panose="020B0603040304020203" pitchFamily="34" charset="0"/>
                <a:cs typeface="Neue Frutiger World" panose="020B0603040304020203" pitchFamily="34" charset="0"/>
              </a:rPr>
              <a:t>s</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B</a:t>
            </a:r>
            <a:r>
              <a:rPr sz="600" spc="-25" dirty="0">
                <a:solidFill>
                  <a:srgbClr val="757982"/>
                </a:solidFill>
                <a:latin typeface="Neue Frutiger World" panose="020B0603040304020203" pitchFamily="34" charset="0"/>
                <a:cs typeface="Neue Frutiger World" panose="020B0603040304020203" pitchFamily="34" charset="0"/>
              </a:rPr>
              <a:t>act</a:t>
            </a:r>
            <a:r>
              <a:rPr sz="600" spc="-20" dirty="0">
                <a:solidFill>
                  <a:srgbClr val="757982"/>
                </a:solidFill>
                <a:latin typeface="Neue Frutiger World" panose="020B0603040304020203" pitchFamily="34" charset="0"/>
                <a:cs typeface="Neue Frutiger World" panose="020B0603040304020203" pitchFamily="34" charset="0"/>
              </a:rPr>
              <a:t>e</a:t>
            </a:r>
            <a:r>
              <a:rPr sz="600" spc="-30" dirty="0">
                <a:solidFill>
                  <a:srgbClr val="757982"/>
                </a:solidFill>
                <a:latin typeface="Neue Frutiger World" panose="020B0603040304020203" pitchFamily="34" charset="0"/>
                <a:cs typeface="Neue Frutiger World" panose="020B0603040304020203" pitchFamily="34" charset="0"/>
              </a:rPr>
              <a:t>r</a:t>
            </a:r>
            <a:r>
              <a:rPr sz="600" spc="-20" dirty="0">
                <a:solidFill>
                  <a:srgbClr val="757982"/>
                </a:solidFill>
                <a:latin typeface="Neue Frutiger World" panose="020B0603040304020203" pitchFamily="34" charset="0"/>
                <a:cs typeface="Neue Frutiger World" panose="020B0603040304020203" pitchFamily="34" charset="0"/>
              </a:rPr>
              <a:t>emia</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in </a:t>
            </a:r>
            <a:r>
              <a:rPr sz="600" spc="-25" dirty="0">
                <a:solidFill>
                  <a:srgbClr val="757982"/>
                </a:solidFill>
                <a:latin typeface="Neue Frutiger World" panose="020B0603040304020203" pitchFamily="34" charset="0"/>
                <a:cs typeface="Neue Frutiger World" panose="020B0603040304020203" pitchFamily="34" charset="0"/>
              </a:rPr>
              <a:t>P</a:t>
            </a:r>
            <a:r>
              <a:rPr sz="600" spc="-20" dirty="0">
                <a:solidFill>
                  <a:srgbClr val="757982"/>
                </a:solidFill>
                <a:latin typeface="Neue Frutiger World" panose="020B0603040304020203" pitchFamily="34" charset="0"/>
                <a:cs typeface="Neue Frutiger World" panose="020B0603040304020203" pitchFamily="34" charset="0"/>
              </a:rPr>
              <a:t>atien</a:t>
            </a:r>
            <a:r>
              <a:rPr sz="600" spc="-25" dirty="0">
                <a:solidFill>
                  <a:srgbClr val="757982"/>
                </a:solidFill>
                <a:latin typeface="Neue Frutiger World" panose="020B0603040304020203" pitchFamily="34" charset="0"/>
                <a:cs typeface="Neue Frutiger World" panose="020B0603040304020203" pitchFamily="34" charset="0"/>
              </a:rPr>
              <a:t>t</a:t>
            </a:r>
            <a:r>
              <a:rPr sz="600" spc="-20" dirty="0">
                <a:solidFill>
                  <a:srgbClr val="757982"/>
                </a:solidFill>
                <a:latin typeface="Neue Frutiger World" panose="020B0603040304020203" pitchFamily="34" charset="0"/>
                <a:cs typeface="Neue Frutiger World" panose="020B0603040304020203" pitchFamily="34" charset="0"/>
              </a:rPr>
              <a:t>s</a:t>
            </a:r>
            <a:r>
              <a:rPr sz="600" spc="-3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wit</a:t>
            </a:r>
            <a:r>
              <a:rPr sz="600" spc="-10" dirty="0">
                <a:solidFill>
                  <a:srgbClr val="757982"/>
                </a:solidFill>
                <a:latin typeface="Neue Frutiger World" panose="020B0603040304020203" pitchFamily="34" charset="0"/>
                <a:cs typeface="Neue Frutiger World" panose="020B0603040304020203" pitchFamily="34" charset="0"/>
              </a:rPr>
              <a:t>h</a:t>
            </a:r>
            <a:r>
              <a:rPr sz="600" spc="-15" dirty="0">
                <a:solidFill>
                  <a:srgbClr val="757982"/>
                </a:solidFill>
                <a:latin typeface="Neue Frutiger World" panose="020B0603040304020203" pitchFamily="34" charset="0"/>
                <a:cs typeface="Neue Frutiger World" panose="020B0603040304020203" pitchFamily="34" charset="0"/>
              </a:rPr>
              <a:t> </a:t>
            </a:r>
            <a:r>
              <a:rPr sz="600" spc="-25" dirty="0">
                <a:solidFill>
                  <a:srgbClr val="757982"/>
                </a:solidFill>
                <a:latin typeface="Neue Frutiger World" panose="020B0603040304020203" pitchFamily="34" charset="0"/>
                <a:cs typeface="Neue Frutiger World" panose="020B0603040304020203" pitchFamily="34" charset="0"/>
              </a:rPr>
              <a:t>P</a:t>
            </a:r>
            <a:r>
              <a:rPr sz="600" spc="-20" dirty="0">
                <a:solidFill>
                  <a:srgbClr val="757982"/>
                </a:solidFill>
                <a:latin typeface="Neue Frutiger World" panose="020B0603040304020203" pitchFamily="34" charset="0"/>
                <a:cs typeface="Neue Frutiger World" panose="020B0603040304020203" pitchFamily="34" charset="0"/>
              </a:rPr>
              <a:t>ermanen</a:t>
            </a:r>
            <a:r>
              <a:rPr sz="600" spc="-25" dirty="0">
                <a:solidFill>
                  <a:srgbClr val="757982"/>
                </a:solidFill>
                <a:latin typeface="Neue Frutiger World" panose="020B0603040304020203" pitchFamily="34" charset="0"/>
                <a:cs typeface="Neue Frutiger World" panose="020B0603040304020203" pitchFamily="34" charset="0"/>
              </a:rPr>
              <a:t>t</a:t>
            </a:r>
            <a:r>
              <a:rPr sz="600" spc="-15" dirty="0">
                <a:solidFill>
                  <a:srgbClr val="757982"/>
                </a:solidFill>
                <a:latin typeface="Neue Frutiger World" panose="020B0603040304020203" pitchFamily="34" charset="0"/>
                <a:cs typeface="Neue Frutiger World" panose="020B0603040304020203" pitchFamily="34" charset="0"/>
              </a:rPr>
              <a:t> </a:t>
            </a:r>
            <a:r>
              <a:rPr sz="600" spc="-25" dirty="0">
                <a:solidFill>
                  <a:srgbClr val="757982"/>
                </a:solidFill>
                <a:latin typeface="Neue Frutiger World" panose="020B0603040304020203" pitchFamily="34" charset="0"/>
                <a:cs typeface="Neue Frutiger World" panose="020B0603040304020203" pitchFamily="34" charset="0"/>
              </a:rPr>
              <a:t>Pa</a:t>
            </a:r>
            <a:r>
              <a:rPr sz="600" spc="-20" dirty="0">
                <a:solidFill>
                  <a:srgbClr val="757982"/>
                </a:solidFill>
                <a:latin typeface="Neue Frutiger World" panose="020B0603040304020203" pitchFamily="34" charset="0"/>
                <a:cs typeface="Neue Frutiger World" panose="020B0603040304020203" pitchFamily="34" charset="0"/>
              </a:rPr>
              <a:t>cema</a:t>
            </a:r>
            <a:r>
              <a:rPr sz="600" spc="-35" dirty="0">
                <a:solidFill>
                  <a:srgbClr val="757982"/>
                </a:solidFill>
                <a:latin typeface="Neue Frutiger World" panose="020B0603040304020203" pitchFamily="34" charset="0"/>
                <a:cs typeface="Neue Frutiger World" panose="020B0603040304020203" pitchFamily="34" charset="0"/>
              </a:rPr>
              <a:t>k</a:t>
            </a:r>
            <a:r>
              <a:rPr sz="600" spc="-20" dirty="0">
                <a:solidFill>
                  <a:srgbClr val="757982"/>
                </a:solidFill>
                <a:latin typeface="Neue Frutiger World" panose="020B0603040304020203" pitchFamily="34" charset="0"/>
                <a:cs typeface="Neue Frutiger World" panose="020B0603040304020203" pitchFamily="34" charset="0"/>
              </a:rPr>
              <a:t>er</a:t>
            </a:r>
            <a:r>
              <a:rPr sz="600" spc="-10" dirty="0">
                <a:solidFill>
                  <a:srgbClr val="757982"/>
                </a:solidFill>
                <a:latin typeface="Neue Frutiger World" panose="020B0603040304020203" pitchFamily="34" charset="0"/>
                <a:cs typeface="Neue Frutiger World" panose="020B0603040304020203" pitchFamily="34" charset="0"/>
              </a:rPr>
              <a:t>s</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or</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mplantable</a:t>
            </a:r>
            <a:r>
              <a:rPr sz="600" spc="-1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Cardioverter-</a:t>
            </a:r>
            <a:r>
              <a:rPr sz="600" spc="-1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Defibrillators.</a:t>
            </a:r>
            <a:r>
              <a:rPr sz="600" spc="-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Circulation.</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15" dirty="0">
                <a:solidFill>
                  <a:srgbClr val="757982"/>
                </a:solidFill>
                <a:latin typeface="Neue Frutiger World" panose="020B0603040304020203" pitchFamily="34" charset="0"/>
                <a:cs typeface="Neue Frutiger World" panose="020B0603040304020203" pitchFamily="34" charset="0"/>
              </a:rPr>
              <a:t>2001;104:1029-1033.</a:t>
            </a:r>
            <a:r>
              <a:rPr sz="600" spc="-1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doi:10.1161/hc3401.095097.</a:t>
            </a:r>
            <a:endParaRPr sz="600" dirty="0">
              <a:latin typeface="Neue Frutiger World" panose="020B0603040304020203" pitchFamily="34" charset="0"/>
              <a:cs typeface="Neue Frutiger World" panose="020B0603040304020203" pitchFamily="34" charset="0"/>
            </a:endParaRPr>
          </a:p>
          <a:p>
            <a:pPr marL="92075" marR="106671" indent="-90488">
              <a:spcBef>
                <a:spcPts val="445"/>
              </a:spcBef>
              <a:buAutoNum type="arabicPeriod" startAt="13"/>
              <a:tabLst>
                <a:tab pos="92075" algn="l"/>
              </a:tabLst>
            </a:pPr>
            <a:r>
              <a:rPr sz="600" spc="-20" dirty="0">
                <a:solidFill>
                  <a:srgbClr val="757982"/>
                </a:solidFill>
                <a:latin typeface="Neue Frutiger World" panose="020B0603040304020203" pitchFamily="34" charset="0"/>
                <a:cs typeface="Neue Frutiger World" panose="020B0603040304020203" pitchFamily="34" charset="0"/>
              </a:rPr>
              <a:t>Wil</a:t>
            </a:r>
            <a:r>
              <a:rPr sz="600" spc="-35" dirty="0">
                <a:solidFill>
                  <a:srgbClr val="757982"/>
                </a:solidFill>
                <a:latin typeface="Neue Frutiger World" panose="020B0603040304020203" pitchFamily="34" charset="0"/>
                <a:cs typeface="Neue Frutiger World" panose="020B0603040304020203" pitchFamily="34" charset="0"/>
              </a:rPr>
              <a:t>kof</a:t>
            </a:r>
            <a:r>
              <a:rPr sz="600" spc="-20" dirty="0">
                <a:solidFill>
                  <a:srgbClr val="757982"/>
                </a:solidFill>
                <a:latin typeface="Neue Frutiger World" panose="020B0603040304020203" pitchFamily="34" charset="0"/>
                <a:cs typeface="Neue Frutiger World" panose="020B0603040304020203" pitchFamily="34" charset="0"/>
              </a:rPr>
              <a:t>f</a:t>
            </a:r>
            <a:r>
              <a:rPr sz="600" spc="-25" dirty="0">
                <a:solidFill>
                  <a:srgbClr val="757982"/>
                </a:solidFill>
                <a:latin typeface="Neue Frutiger World" panose="020B0603040304020203" pitchFamily="34" charset="0"/>
                <a:cs typeface="Neue Frutiger World" panose="020B0603040304020203" pitchFamily="34" charset="0"/>
              </a:rPr>
              <a:t> </a:t>
            </a:r>
            <a:r>
              <a:rPr sz="600" spc="-10" dirty="0">
                <a:solidFill>
                  <a:srgbClr val="757982"/>
                </a:solidFill>
                <a:latin typeface="Neue Frutiger World" panose="020B0603040304020203" pitchFamily="34" charset="0"/>
                <a:cs typeface="Neue Frutiger World" panose="020B0603040304020203" pitchFamily="34" charset="0"/>
              </a:rPr>
              <a:t>BL.</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H</a:t>
            </a:r>
            <a:r>
              <a:rPr sz="600" spc="-20" dirty="0">
                <a:solidFill>
                  <a:srgbClr val="757982"/>
                </a:solidFill>
                <a:latin typeface="Neue Frutiger World" panose="020B0603040304020203" pitchFamily="34" charset="0"/>
                <a:cs typeface="Neue Frutiger World" panose="020B0603040304020203" pitchFamily="34" charset="0"/>
              </a:rPr>
              <a:t>and</a:t>
            </a:r>
            <a:r>
              <a:rPr sz="600" spc="-10" dirty="0">
                <a:solidFill>
                  <a:srgbClr val="757982"/>
                </a:solidFill>
                <a:latin typeface="Neue Frutiger World" panose="020B0603040304020203" pitchFamily="34" charset="0"/>
                <a:cs typeface="Neue Frutiger World" panose="020B0603040304020203" pitchFamily="34" charset="0"/>
              </a:rPr>
              <a:t>s</a:t>
            </a:r>
            <a:r>
              <a:rPr sz="600" spc="-15" dirty="0">
                <a:solidFill>
                  <a:srgbClr val="757982"/>
                </a:solidFill>
                <a:latin typeface="Neue Frutiger World" panose="020B0603040304020203" pitchFamily="34" charset="0"/>
                <a:cs typeface="Neue Frutiger World" panose="020B0603040304020203" pitchFamily="34" charset="0"/>
              </a:rPr>
              <a:t> </a:t>
            </a:r>
            <a:r>
              <a:rPr sz="600" spc="-25" dirty="0">
                <a:solidFill>
                  <a:srgbClr val="757982"/>
                </a:solidFill>
                <a:latin typeface="Neue Frutiger World" panose="020B0603040304020203" pitchFamily="34" charset="0"/>
                <a:cs typeface="Neue Frutiger World" panose="020B0603040304020203" pitchFamily="34" charset="0"/>
              </a:rPr>
              <a:t>O</a:t>
            </a:r>
            <a:r>
              <a:rPr sz="600" spc="-10" dirty="0">
                <a:solidFill>
                  <a:srgbClr val="757982"/>
                </a:solidFill>
                <a:latin typeface="Neue Frutiger World" panose="020B0603040304020203" pitchFamily="34" charset="0"/>
                <a:cs typeface="Neue Frutiger World" panose="020B0603040304020203" pitchFamily="34" charset="0"/>
              </a:rPr>
              <a:t>n</a:t>
            </a:r>
            <a:r>
              <a:rPr sz="600" dirty="0">
                <a:solidFill>
                  <a:srgbClr val="757982"/>
                </a:solidFill>
                <a:latin typeface="Neue Frutiger World" panose="020B0603040304020203" pitchFamily="34" charset="0"/>
                <a:cs typeface="Neue Frutiger World" panose="020B0603040304020203" pitchFamily="34" charset="0"/>
              </a:rPr>
              <a:t>,</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H</a:t>
            </a:r>
            <a:r>
              <a:rPr sz="600" spc="-25" dirty="0">
                <a:solidFill>
                  <a:srgbClr val="757982"/>
                </a:solidFill>
                <a:latin typeface="Neue Frutiger World" panose="020B0603040304020203" pitchFamily="34" charset="0"/>
                <a:cs typeface="Neue Frutiger World" panose="020B0603040304020203" pitchFamily="34" charset="0"/>
              </a:rPr>
              <a:t>o</a:t>
            </a:r>
            <a:r>
              <a:rPr sz="600" dirty="0">
                <a:solidFill>
                  <a:srgbClr val="757982"/>
                </a:solidFill>
                <a:latin typeface="Neue Frutiger World" panose="020B0603040304020203" pitchFamily="34" charset="0"/>
                <a:cs typeface="Neue Frutiger World" panose="020B0603040304020203" pitchFamily="34" charset="0"/>
              </a:rPr>
              <a:t>w</a:t>
            </a:r>
            <a:r>
              <a:rPr sz="600" spc="-35" dirty="0">
                <a:solidFill>
                  <a:srgbClr val="757982"/>
                </a:solidFill>
                <a:latin typeface="Neue Frutiger World" panose="020B0603040304020203" pitchFamily="34" charset="0"/>
                <a:cs typeface="Neue Frutiger World" panose="020B0603040304020203" pitchFamily="34" charset="0"/>
              </a:rPr>
              <a:t> </a:t>
            </a:r>
            <a:r>
              <a:rPr sz="600" spc="-40" dirty="0">
                <a:solidFill>
                  <a:srgbClr val="757982"/>
                </a:solidFill>
                <a:latin typeface="Neue Frutiger World" panose="020B0603040304020203" pitchFamily="34" charset="0"/>
                <a:cs typeface="Neue Frutiger World" panose="020B0603040304020203" pitchFamily="34" charset="0"/>
              </a:rPr>
              <a:t>t</a:t>
            </a:r>
            <a:r>
              <a:rPr sz="600" spc="-5" dirty="0">
                <a:solidFill>
                  <a:srgbClr val="757982"/>
                </a:solidFill>
                <a:latin typeface="Neue Frutiger World" panose="020B0603040304020203" pitchFamily="34" charset="0"/>
                <a:cs typeface="Neue Frutiger World" panose="020B0603040304020203" pitchFamily="34" charset="0"/>
              </a:rPr>
              <a:t>o</a:t>
            </a:r>
            <a:r>
              <a:rPr sz="600" spc="-15" dirty="0">
                <a:solidFill>
                  <a:srgbClr val="757982"/>
                </a:solidFill>
                <a:latin typeface="Neue Frutiger World" panose="020B0603040304020203" pitchFamily="34" charset="0"/>
                <a:cs typeface="Neue Frutiger World" panose="020B0603040304020203" pitchFamily="34" charset="0"/>
              </a:rPr>
              <a:t> </a:t>
            </a:r>
            <a:r>
              <a:rPr sz="600" spc="-30" dirty="0">
                <a:solidFill>
                  <a:srgbClr val="757982"/>
                </a:solidFill>
                <a:latin typeface="Neue Frutiger World" panose="020B0603040304020203" pitchFamily="34" charset="0"/>
                <a:cs typeface="Neue Frutiger World" panose="020B0603040304020203" pitchFamily="34" charset="0"/>
              </a:rPr>
              <a:t>t</a:t>
            </a:r>
            <a:r>
              <a:rPr sz="600" spc="-40" dirty="0">
                <a:solidFill>
                  <a:srgbClr val="757982"/>
                </a:solidFill>
                <a:latin typeface="Neue Frutiger World" panose="020B0603040304020203" pitchFamily="34" charset="0"/>
                <a:cs typeface="Neue Frutiger World" panose="020B0603040304020203" pitchFamily="34" charset="0"/>
              </a:rPr>
              <a:t>r</a:t>
            </a:r>
            <a:r>
              <a:rPr sz="600" spc="-20" dirty="0">
                <a:solidFill>
                  <a:srgbClr val="757982"/>
                </a:solidFill>
                <a:latin typeface="Neue Frutiger World" panose="020B0603040304020203" pitchFamily="34" charset="0"/>
                <a:cs typeface="Neue Frutiger World" panose="020B0603040304020203" pitchFamily="34" charset="0"/>
              </a:rPr>
              <a:t>ea</a:t>
            </a:r>
            <a:r>
              <a:rPr sz="600" spc="-25" dirty="0">
                <a:solidFill>
                  <a:srgbClr val="757982"/>
                </a:solidFill>
                <a:latin typeface="Neue Frutiger World" panose="020B0603040304020203" pitchFamily="34" charset="0"/>
                <a:cs typeface="Neue Frutiger World" panose="020B0603040304020203" pitchFamily="34" charset="0"/>
              </a:rPr>
              <a:t>t</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an</a:t>
            </a:r>
            <a:r>
              <a:rPr sz="600" spc="-10" dirty="0">
                <a:solidFill>
                  <a:srgbClr val="757982"/>
                </a:solidFill>
                <a:latin typeface="Neue Frutiger World" panose="020B0603040304020203" pitchFamily="34" charset="0"/>
                <a:cs typeface="Neue Frutiger World" panose="020B0603040304020203" pitchFamily="34" charset="0"/>
              </a:rPr>
              <a:t>d</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den</a:t>
            </a:r>
            <a:r>
              <a:rPr sz="600" spc="-15" dirty="0">
                <a:solidFill>
                  <a:srgbClr val="757982"/>
                </a:solidFill>
                <a:latin typeface="Neue Frutiger World" panose="020B0603040304020203" pitchFamily="34" charset="0"/>
                <a:cs typeface="Neue Frutiger World" panose="020B0603040304020203" pitchFamily="34" charset="0"/>
              </a:rPr>
              <a:t>tify</a:t>
            </a:r>
            <a:r>
              <a:rPr lang="en-GB"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device</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infections.</a:t>
            </a:r>
            <a:r>
              <a:rPr sz="600" spc="-15"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Heart</a:t>
            </a:r>
            <a:r>
              <a:rPr sz="600" spc="-15" dirty="0">
                <a:solidFill>
                  <a:srgbClr val="757982"/>
                </a:solidFill>
                <a:latin typeface="Neue Frutiger World" panose="020B0603040304020203" pitchFamily="34" charset="0"/>
                <a:cs typeface="Neue Frutiger World" panose="020B0603040304020203" pitchFamily="34" charset="0"/>
              </a:rPr>
              <a:t> Rhythm</a:t>
            </a:r>
            <a:r>
              <a:rPr sz="600" spc="-10" dirty="0">
                <a:solidFill>
                  <a:srgbClr val="757982"/>
                </a:solidFill>
                <a:latin typeface="Neue Frutiger World" panose="020B0603040304020203" pitchFamily="34" charset="0"/>
                <a:cs typeface="Neue Frutiger World" panose="020B0603040304020203" pitchFamily="34" charset="0"/>
              </a:rPr>
              <a:t> 2007;4:1467-1470.</a:t>
            </a:r>
            <a:endParaRPr sz="600" dirty="0">
              <a:latin typeface="Neue Frutiger World" panose="020B0603040304020203" pitchFamily="34" charset="0"/>
              <a:cs typeface="Neue Frutiger World" panose="020B0603040304020203" pitchFamily="34" charset="0"/>
            </a:endParaRPr>
          </a:p>
          <a:p>
            <a:pPr marL="92075" marR="153657" indent="-90488">
              <a:spcBef>
                <a:spcPts val="450"/>
              </a:spcBef>
              <a:buAutoNum type="arabicPeriod" startAt="13"/>
              <a:tabLst>
                <a:tab pos="92075" algn="l"/>
              </a:tabLst>
            </a:pPr>
            <a:r>
              <a:rPr sz="600" spc="-20" dirty="0">
                <a:solidFill>
                  <a:srgbClr val="757982"/>
                </a:solidFill>
                <a:latin typeface="Neue Frutiger World" panose="020B0603040304020203" pitchFamily="34" charset="0"/>
                <a:cs typeface="Neue Frutiger World" panose="020B0603040304020203" pitchFamily="34" charset="0"/>
              </a:rPr>
              <a:t>Inpatient Prospective Payment System (IPPS) Final</a:t>
            </a:r>
            <a:r>
              <a:rPr lang="en-GB" sz="600" spc="-20" dirty="0">
                <a:solidFill>
                  <a:srgbClr val="757982"/>
                </a:solidFill>
                <a:latin typeface="Neue Frutiger World" panose="020B0603040304020203" pitchFamily="34" charset="0"/>
                <a:cs typeface="Neue Frutiger World" panose="020B0603040304020203" pitchFamily="34" charset="0"/>
              </a:rPr>
              <a:t> </a:t>
            </a:r>
            <a:r>
              <a:rPr sz="600" spc="-20" dirty="0">
                <a:solidFill>
                  <a:srgbClr val="757982"/>
                </a:solidFill>
                <a:latin typeface="Neue Frutiger World" panose="020B0603040304020203" pitchFamily="34" charset="0"/>
                <a:cs typeface="Neue Frutiger World" panose="020B0603040304020203" pitchFamily="34" charset="0"/>
              </a:rPr>
              <a:t>Rule FY13.</a:t>
            </a:r>
          </a:p>
          <a:p>
            <a:pPr marL="92075" marR="198739" indent="-90488">
              <a:spcBef>
                <a:spcPts val="450"/>
              </a:spcBef>
              <a:buAutoNum type="arabicPeriod" startAt="13"/>
              <a:tabLst>
                <a:tab pos="92075" algn="l"/>
              </a:tabLst>
            </a:pPr>
            <a:r>
              <a:rPr lang="en-US" sz="600" spc="-20" dirty="0">
                <a:solidFill>
                  <a:srgbClr val="757982"/>
                </a:solidFill>
                <a:latin typeface="Neue Frutiger World" panose="020B0603040304020203" pitchFamily="34" charset="0"/>
                <a:cs typeface="Neue Frutiger World" panose="020B0603040304020203" pitchFamily="34" charset="0"/>
              </a:rPr>
              <a:t>Archana Rao et al. Knowledge gaps, lack of confidence, and system barriers to guideline implementation among European physicians managing patients with CIED lead or infection complications: a European Heart Rhythm Association/European Society of Cardiology educational needs assessment survey. Europace (2020) 0, 1–11 doi:10.1093/europace/euaa218.</a:t>
            </a:r>
          </a:p>
          <a:p>
            <a:pPr marL="92075" marR="54606" indent="-90488">
              <a:spcBef>
                <a:spcPts val="450"/>
              </a:spcBef>
              <a:buAutoNum type="arabicPeriod" startAt="13"/>
              <a:tabLst>
                <a:tab pos="92075" algn="l"/>
              </a:tabLst>
            </a:pPr>
            <a:r>
              <a:rPr lang="en-US" sz="600" spc="-20" dirty="0">
                <a:solidFill>
                  <a:srgbClr val="757982"/>
                </a:solidFill>
                <a:latin typeface="Neue Frutiger World" panose="020B0603040304020203" pitchFamily="34" charset="0"/>
                <a:cs typeface="Neue Frutiger World" panose="020B0603040304020203" pitchFamily="34" charset="0"/>
              </a:rPr>
              <a:t>Kusumoto et al. 2017 HRS Expert Consensus Statement on Cardiovascular Implantable Electronic Device Lead Management and Extraction. Heart Rhythm, 2017.</a:t>
            </a:r>
          </a:p>
          <a:p>
            <a:pPr marL="92075" marR="42541" indent="-90488">
              <a:spcBef>
                <a:spcPts val="450"/>
              </a:spcBef>
              <a:buAutoNum type="arabicPeriod" startAt="13"/>
              <a:tabLst>
                <a:tab pos="92075" algn="l"/>
              </a:tabLst>
            </a:pPr>
            <a:r>
              <a:rPr lang="en-US" sz="600" spc="-20" dirty="0">
                <a:solidFill>
                  <a:srgbClr val="757982"/>
                </a:solidFill>
                <a:latin typeface="Neue Frutiger World" panose="020B0603040304020203" pitchFamily="34" charset="0"/>
                <a:cs typeface="Neue Frutiger World" panose="020B0603040304020203" pitchFamily="34" charset="0"/>
              </a:rPr>
              <a:t>Gould et al. Predictors of mortality and outcomes in transvenous lead extraction for systemic and local infection cohorts. Pacing Clin Electrophysiol, 42(1), 73-84. https://doi.org/10.1111/pace.13542.</a:t>
            </a:r>
          </a:p>
          <a:p>
            <a:pPr marL="92075" marR="8889" indent="-90488">
              <a:spcBef>
                <a:spcPts val="450"/>
              </a:spcBef>
              <a:buAutoNum type="arabicPeriod" startAt="13"/>
              <a:tabLst>
                <a:tab pos="92075" algn="l"/>
              </a:tabLst>
            </a:pPr>
            <a:r>
              <a:rPr lang="en-US" sz="600" spc="-20" dirty="0">
                <a:solidFill>
                  <a:srgbClr val="757982"/>
                </a:solidFill>
                <a:latin typeface="Neue Frutiger World" panose="020B0603040304020203" pitchFamily="34" charset="0"/>
                <a:cs typeface="Neue Frutiger World" panose="020B0603040304020203" pitchFamily="34" charset="0"/>
              </a:rPr>
              <a:t>Fozia Zahir Ahmed et al. Cardiac implantable electronic device (CIED) infections are expensive and associated with prolonged hospitalisation: UK Retrospective Observational Study. PLoS ONE 14(1): e0206611. </a:t>
            </a:r>
            <a:r>
              <a:rPr lang="en-US" sz="600" u="sng" spc="-20" dirty="0">
                <a:solidFill>
                  <a:srgbClr val="757982"/>
                </a:solidFill>
                <a:latin typeface="Neue Frutiger World" panose="020B0603040304020203" pitchFamily="34" charset="0"/>
                <a:cs typeface="Neue Frutiger World" panose="020B0603040304020203" pitchFamily="34" charset="0"/>
                <a:hlinkClick r:id="rId2">
                  <a:extLst>
                    <a:ext uri="{A12FA001-AC4F-418D-AE19-62706E023703}">
                      <ahyp:hlinkClr xmlns:ahyp="http://schemas.microsoft.com/office/drawing/2018/hyperlinkcolor" val="tx"/>
                    </a:ext>
                  </a:extLst>
                </a:hlinkClick>
              </a:rPr>
              <a:t>https://doi.org/10.1371/journal.pone.0206611</a:t>
            </a:r>
            <a:br>
              <a:rPr lang="en-US" sz="600" spc="-20" dirty="0">
                <a:solidFill>
                  <a:srgbClr val="757982"/>
                </a:solidFill>
                <a:latin typeface="Neue Frutiger World" panose="020B0603040304020203" pitchFamily="34" charset="0"/>
                <a:cs typeface="Neue Frutiger World" panose="020B0603040304020203" pitchFamily="34" charset="0"/>
              </a:rPr>
            </a:br>
            <a:endParaRPr lang="en-US" sz="600" spc="-20" dirty="0">
              <a:solidFill>
                <a:srgbClr val="757982"/>
              </a:solidFill>
              <a:latin typeface="Neue Frutiger World" panose="020B0603040304020203" pitchFamily="34" charset="0"/>
              <a:cs typeface="Neue Frutiger World" panose="020B0603040304020203" pitchFamily="34" charset="0"/>
            </a:endParaRPr>
          </a:p>
          <a:p>
            <a:pPr marL="92075" marR="170801" indent="-90488">
              <a:spcBef>
                <a:spcPts val="70"/>
              </a:spcBef>
              <a:buAutoNum type="arabicPeriod" startAt="13"/>
              <a:tabLst>
                <a:tab pos="92075" algn="l"/>
              </a:tabLst>
            </a:pPr>
            <a:r>
              <a:rPr lang="en-US" sz="600" spc="-20" dirty="0">
                <a:solidFill>
                  <a:srgbClr val="757982"/>
                </a:solidFill>
                <a:latin typeface="Neue Frutiger World" panose="020B0603040304020203" pitchFamily="34" charset="0"/>
                <a:cs typeface="Neue Frutiger World" panose="020B0603040304020203" pitchFamily="34" charset="0"/>
              </a:rPr>
              <a:t>Maytin M, Jones SO, Epstein LM. Long-Term Mortality After Transvenous Lead Extraction. Circ </a:t>
            </a:r>
            <a:r>
              <a:rPr lang="en-US" sz="600" spc="-20" dirty="0" err="1">
                <a:solidFill>
                  <a:srgbClr val="757982"/>
                </a:solidFill>
                <a:latin typeface="Neue Frutiger World" panose="020B0603040304020203" pitchFamily="34" charset="0"/>
                <a:cs typeface="Neue Frutiger World" panose="020B0603040304020203" pitchFamily="34" charset="0"/>
              </a:rPr>
              <a:t>Arrhythm</a:t>
            </a:r>
            <a:r>
              <a:rPr lang="en-US" sz="600" spc="-20" dirty="0">
                <a:solidFill>
                  <a:srgbClr val="757982"/>
                </a:solidFill>
                <a:latin typeface="Neue Frutiger World" panose="020B0603040304020203" pitchFamily="34" charset="0"/>
                <a:cs typeface="Neue Frutiger World" panose="020B0603040304020203" pitchFamily="34" charset="0"/>
              </a:rPr>
              <a:t> Electrophysiol. 2012;5:252-257.</a:t>
            </a:r>
          </a:p>
          <a:p>
            <a:pPr marL="92075" marR="184135" indent="-90488">
              <a:spcBef>
                <a:spcPts val="450"/>
              </a:spcBef>
              <a:buAutoNum type="arabicPeriod" startAt="13"/>
              <a:tabLst>
                <a:tab pos="92075" algn="l"/>
              </a:tabLst>
            </a:pPr>
            <a:r>
              <a:rPr lang="en-US" sz="600" spc="-20" dirty="0">
                <a:solidFill>
                  <a:srgbClr val="757982"/>
                </a:solidFill>
                <a:latin typeface="Neue Frutiger World" panose="020B0603040304020203" pitchFamily="34" charset="0"/>
                <a:cs typeface="Neue Frutiger World" panose="020B0603040304020203" pitchFamily="34" charset="0"/>
              </a:rPr>
              <a:t>Peacock Jr, James E., et al. “Attempted salvage of infected cardiovascular implantable electronic devices: Are there clinical factors that predict success?.” Pacing and Clinical Electrophysiology 41.5 (2018): 524-531.</a:t>
            </a:r>
          </a:p>
          <a:p>
            <a:pPr marL="92075" marR="95877" indent="-90488">
              <a:spcBef>
                <a:spcPts val="445"/>
              </a:spcBef>
              <a:buFont typeface="+mj-lt"/>
              <a:buAutoNum type="arabicPeriod" startAt="22"/>
              <a:tabLst>
                <a:tab pos="92075" algn="l"/>
              </a:tabLst>
            </a:pPr>
            <a:r>
              <a:rPr lang="en-US" sz="600" spc="-10" dirty="0">
                <a:solidFill>
                  <a:srgbClr val="757982"/>
                </a:solidFill>
                <a:latin typeface="Neue Frutiger World" panose="020B0603040304020203" pitchFamily="34" charset="0"/>
                <a:cs typeface="Neue Frutiger World" panose="020B0603040304020203" pitchFamily="34" charset="0"/>
              </a:rPr>
              <a:t>Lin, </a:t>
            </a:r>
            <a:r>
              <a:rPr lang="en-US" sz="600" spc="-20" dirty="0">
                <a:solidFill>
                  <a:srgbClr val="757982"/>
                </a:solidFill>
                <a:latin typeface="Neue Frutiger World" panose="020B0603040304020203" pitchFamily="34" charset="0"/>
                <a:cs typeface="Neue Frutiger World" panose="020B0603040304020203" pitchFamily="34" charset="0"/>
              </a:rPr>
              <a:t>Andrew, et </a:t>
            </a:r>
            <a:r>
              <a:rPr lang="en-US" sz="600" spc="-10" dirty="0">
                <a:solidFill>
                  <a:srgbClr val="757982"/>
                </a:solidFill>
                <a:latin typeface="Neue Frutiger World" panose="020B0603040304020203" pitchFamily="34" charset="0"/>
                <a:cs typeface="Neue Frutiger World" panose="020B0603040304020203" pitchFamily="34" charset="0"/>
              </a:rPr>
              <a:t>al. “Early </a:t>
            </a:r>
            <a:r>
              <a:rPr lang="en-US" sz="600" spc="-25" dirty="0">
                <a:solidFill>
                  <a:srgbClr val="757982"/>
                </a:solidFill>
                <a:latin typeface="Neue Frutiger World" panose="020B0603040304020203" pitchFamily="34" charset="0"/>
                <a:cs typeface="Neue Frutiger World" panose="020B0603040304020203" pitchFamily="34" charset="0"/>
              </a:rPr>
              <a:t>Versus </a:t>
            </a:r>
            <a:r>
              <a:rPr lang="en-US" sz="600" spc="-15" dirty="0">
                <a:solidFill>
                  <a:srgbClr val="757982"/>
                </a:solidFill>
                <a:latin typeface="Neue Frutiger World" panose="020B0603040304020203" pitchFamily="34" charset="0"/>
                <a:cs typeface="Neue Frutiger World" panose="020B0603040304020203" pitchFamily="34" charset="0"/>
              </a:rPr>
              <a:t>Delayed </a:t>
            </a:r>
            <a:r>
              <a:rPr lang="en-US" sz="600" spc="-20" dirty="0">
                <a:solidFill>
                  <a:srgbClr val="757982"/>
                </a:solidFill>
                <a:latin typeface="Neue Frutiger World" panose="020B0603040304020203" pitchFamily="34" charset="0"/>
                <a:cs typeface="Neue Frutiger World" panose="020B0603040304020203" pitchFamily="34" charset="0"/>
              </a:rPr>
              <a:t>Lead Extraction</a:t>
            </a:r>
            <a:r>
              <a:rPr lang="en-US" sz="600" spc="-15" dirty="0">
                <a:solidFill>
                  <a:srgbClr val="757982"/>
                </a:solidFill>
                <a:latin typeface="Neue Frutiger World" panose="020B0603040304020203" pitchFamily="34" charset="0"/>
                <a:cs typeface="Neue Frutiger World" panose="020B0603040304020203" pitchFamily="34" charset="0"/>
              </a:rPr>
              <a:t> in </a:t>
            </a:r>
            <a:r>
              <a:rPr lang="en-US" sz="600" spc="-20" dirty="0">
                <a:solidFill>
                  <a:srgbClr val="757982"/>
                </a:solidFill>
                <a:latin typeface="Neue Frutiger World" panose="020B0603040304020203" pitchFamily="34" charset="0"/>
                <a:cs typeface="Neue Frutiger World" panose="020B0603040304020203" pitchFamily="34" charset="0"/>
              </a:rPr>
              <a:t>Patients</a:t>
            </a:r>
            <a:r>
              <a:rPr lang="en-US" sz="600" spc="-3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with</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Infected</a:t>
            </a:r>
            <a:r>
              <a:rPr lang="en-US" sz="600" spc="-1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Cardiovascular Implantable</a:t>
            </a:r>
            <a:r>
              <a:rPr lang="en-US" sz="600" spc="-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Electronic</a:t>
            </a:r>
            <a:r>
              <a:rPr lang="en-US" sz="600" spc="-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Device.” Moderated</a:t>
            </a:r>
            <a:r>
              <a:rPr lang="en-US" sz="600" spc="-5" dirty="0">
                <a:solidFill>
                  <a:srgbClr val="757982"/>
                </a:solidFill>
                <a:latin typeface="Neue Frutiger World" panose="020B0603040304020203" pitchFamily="34" charset="0"/>
                <a:cs typeface="Neue Frutiger World" panose="020B0603040304020203" pitchFamily="34" charset="0"/>
              </a:rPr>
              <a:t> </a:t>
            </a:r>
            <a:r>
              <a:rPr lang="en-US" sz="600" spc="-25" dirty="0" err="1">
                <a:solidFill>
                  <a:srgbClr val="757982"/>
                </a:solidFill>
                <a:latin typeface="Neue Frutiger World" panose="020B0603040304020203" pitchFamily="34" charset="0"/>
                <a:cs typeface="Neue Frutiger World" panose="020B0603040304020203" pitchFamily="34" charset="0"/>
              </a:rPr>
              <a:t>ePoster</a:t>
            </a:r>
            <a:r>
              <a:rPr lang="en-US" sz="600" spc="-2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P</a:t>
            </a:r>
            <a:r>
              <a:rPr lang="en-US" sz="600" spc="-35" dirty="0">
                <a:solidFill>
                  <a:srgbClr val="757982"/>
                </a:solidFill>
                <a:latin typeface="Neue Frutiger World" panose="020B0603040304020203" pitchFamily="34" charset="0"/>
                <a:cs typeface="Neue Frutiger World" panose="020B0603040304020203" pitchFamily="34" charset="0"/>
              </a:rPr>
              <a:t>r</a:t>
            </a:r>
            <a:r>
              <a:rPr lang="en-US" sz="600" spc="-20" dirty="0">
                <a:solidFill>
                  <a:srgbClr val="757982"/>
                </a:solidFill>
                <a:latin typeface="Neue Frutiger World" panose="020B0603040304020203" pitchFamily="34" charset="0"/>
                <a:cs typeface="Neue Frutiger World" panose="020B0603040304020203" pitchFamily="34" charset="0"/>
              </a:rPr>
              <a:t>esen</a:t>
            </a:r>
            <a:r>
              <a:rPr lang="en-US" sz="600" spc="-30" dirty="0">
                <a:solidFill>
                  <a:srgbClr val="757982"/>
                </a:solidFill>
                <a:latin typeface="Neue Frutiger World" panose="020B0603040304020203" pitchFamily="34" charset="0"/>
                <a:cs typeface="Neue Frutiger World" panose="020B0603040304020203" pitchFamily="34" charset="0"/>
              </a:rPr>
              <a:t>t</a:t>
            </a:r>
            <a:r>
              <a:rPr lang="en-US" sz="600" spc="-20" dirty="0">
                <a:solidFill>
                  <a:srgbClr val="757982"/>
                </a:solidFill>
                <a:latin typeface="Neue Frutiger World" panose="020B0603040304020203" pitchFamily="34" charset="0"/>
                <a:cs typeface="Neue Frutiger World" panose="020B0603040304020203" pitchFamily="34" charset="0"/>
              </a:rPr>
              <a:t>ation</a:t>
            </a:r>
            <a:r>
              <a:rPr lang="en-US" sz="600" spc="-5" dirty="0">
                <a:solidFill>
                  <a:srgbClr val="757982"/>
                </a:solidFill>
                <a:latin typeface="Neue Frutiger World" panose="020B0603040304020203" pitchFamily="34" charset="0"/>
                <a:cs typeface="Neue Frutiger World" panose="020B0603040304020203" pitchFamily="34" charset="0"/>
              </a:rPr>
              <a:t>.</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2</a:t>
            </a:r>
            <a:r>
              <a:rPr lang="en-US" sz="600" spc="-25" dirty="0">
                <a:solidFill>
                  <a:srgbClr val="757982"/>
                </a:solidFill>
                <a:latin typeface="Neue Frutiger World" panose="020B0603040304020203" pitchFamily="34" charset="0"/>
                <a:cs typeface="Neue Frutiger World" panose="020B0603040304020203" pitchFamily="34" charset="0"/>
              </a:rPr>
              <a:t>0</a:t>
            </a:r>
            <a:r>
              <a:rPr lang="en-US" sz="600" spc="-20" dirty="0">
                <a:solidFill>
                  <a:srgbClr val="757982"/>
                </a:solidFill>
                <a:latin typeface="Neue Frutiger World" panose="020B0603040304020203" pitchFamily="34" charset="0"/>
                <a:cs typeface="Neue Frutiger World" panose="020B0603040304020203" pitchFamily="34" charset="0"/>
              </a:rPr>
              <a:t>2</a:t>
            </a:r>
            <a:r>
              <a:rPr lang="en-US" sz="600" dirty="0">
                <a:solidFill>
                  <a:srgbClr val="757982"/>
                </a:solidFill>
                <a:latin typeface="Neue Frutiger World" panose="020B0603040304020203" pitchFamily="34" charset="0"/>
                <a:cs typeface="Neue Frutiger World" panose="020B0603040304020203" pitchFamily="34" charset="0"/>
              </a:rPr>
              <a:t>0</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Hea</a:t>
            </a:r>
            <a:r>
              <a:rPr lang="en-US" sz="600" spc="-15" dirty="0">
                <a:solidFill>
                  <a:srgbClr val="757982"/>
                </a:solidFill>
                <a:latin typeface="Neue Frutiger World" panose="020B0603040304020203" pitchFamily="34" charset="0"/>
                <a:cs typeface="Neue Frutiger World" panose="020B0603040304020203" pitchFamily="34" charset="0"/>
              </a:rPr>
              <a:t>r</a:t>
            </a:r>
            <a:r>
              <a:rPr lang="en-US" sz="600" spc="-25" dirty="0">
                <a:solidFill>
                  <a:srgbClr val="757982"/>
                </a:solidFill>
                <a:latin typeface="Neue Frutiger World" panose="020B0603040304020203" pitchFamily="34" charset="0"/>
                <a:cs typeface="Neue Frutiger World" panose="020B0603040304020203" pitchFamily="34" charset="0"/>
              </a:rPr>
              <a:t>t</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R</a:t>
            </a:r>
            <a:r>
              <a:rPr lang="en-US" sz="600" spc="-30" dirty="0">
                <a:solidFill>
                  <a:srgbClr val="757982"/>
                </a:solidFill>
                <a:latin typeface="Neue Frutiger World" panose="020B0603040304020203" pitchFamily="34" charset="0"/>
                <a:cs typeface="Neue Frutiger World" panose="020B0603040304020203" pitchFamily="34" charset="0"/>
              </a:rPr>
              <a:t>h</a:t>
            </a:r>
            <a:r>
              <a:rPr lang="en-US" sz="600" spc="-15" dirty="0">
                <a:solidFill>
                  <a:srgbClr val="757982"/>
                </a:solidFill>
                <a:latin typeface="Neue Frutiger World" panose="020B0603040304020203" pitchFamily="34" charset="0"/>
                <a:cs typeface="Neue Frutiger World" panose="020B0603040304020203" pitchFamily="34" charset="0"/>
              </a:rPr>
              <a:t>yth</a:t>
            </a:r>
            <a:r>
              <a:rPr lang="en-US" sz="600" spc="-5" dirty="0">
                <a:solidFill>
                  <a:srgbClr val="757982"/>
                </a:solidFill>
                <a:latin typeface="Neue Frutiger World" panose="020B0603040304020203" pitchFamily="34" charset="0"/>
                <a:cs typeface="Neue Frutiger World" panose="020B0603040304020203" pitchFamily="34" charset="0"/>
              </a:rPr>
              <a:t>m</a:t>
            </a:r>
            <a:r>
              <a:rPr lang="en-US" sz="600" spc="-15" dirty="0">
                <a:solidFill>
                  <a:srgbClr val="757982"/>
                </a:solidFill>
                <a:latin typeface="Neue Frutiger World" panose="020B0603040304020203" pitchFamily="34" charset="0"/>
                <a:cs typeface="Neue Frutiger World" panose="020B0603040304020203" pitchFamily="34" charset="0"/>
              </a:rPr>
              <a:t> Societ</a:t>
            </a:r>
            <a:r>
              <a:rPr lang="en-US" sz="600" spc="-5" dirty="0">
                <a:solidFill>
                  <a:srgbClr val="757982"/>
                </a:solidFill>
                <a:latin typeface="Neue Frutiger World" panose="020B0603040304020203" pitchFamily="34" charset="0"/>
                <a:cs typeface="Neue Frutiger World" panose="020B0603040304020203" pitchFamily="34" charset="0"/>
              </a:rPr>
              <a:t>y</a:t>
            </a:r>
            <a:r>
              <a:rPr lang="en-US" sz="600" spc="-5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Annua</a:t>
            </a:r>
            <a:r>
              <a:rPr lang="en-US" sz="600" spc="-5" dirty="0">
                <a:solidFill>
                  <a:srgbClr val="757982"/>
                </a:solidFill>
                <a:latin typeface="Neue Frutiger World" panose="020B0603040304020203" pitchFamily="34" charset="0"/>
                <a:cs typeface="Neue Frutiger World" panose="020B0603040304020203" pitchFamily="34" charset="0"/>
              </a:rPr>
              <a:t>l </a:t>
            </a:r>
            <a:r>
              <a:rPr lang="en-US" sz="600" spc="-25" dirty="0">
                <a:solidFill>
                  <a:srgbClr val="757982"/>
                </a:solidFill>
                <a:latin typeface="Neue Frutiger World" panose="020B0603040304020203" pitchFamily="34" charset="0"/>
                <a:cs typeface="Neue Frutiger World" panose="020B0603040304020203" pitchFamily="34" charset="0"/>
              </a:rPr>
              <a:t>Abstract</a:t>
            </a:r>
            <a:r>
              <a:rPr lang="en-US" sz="600" spc="-20" dirty="0">
                <a:solidFill>
                  <a:srgbClr val="757982"/>
                </a:solidFill>
                <a:latin typeface="Neue Frutiger World" panose="020B0603040304020203" pitchFamily="34" charset="0"/>
                <a:cs typeface="Neue Frutiger World" panose="020B0603040304020203" pitchFamily="34" charset="0"/>
              </a:rPr>
              <a:t> Presentations</a:t>
            </a:r>
            <a:r>
              <a:rPr lang="en-US" sz="600" spc="-15" dirty="0">
                <a:solidFill>
                  <a:srgbClr val="757982"/>
                </a:solidFill>
                <a:latin typeface="Neue Frutiger World" panose="020B0603040304020203" pitchFamily="34" charset="0"/>
                <a:cs typeface="Neue Frutiger World" panose="020B0603040304020203" pitchFamily="34" charset="0"/>
              </a:rPr>
              <a:t> Online.</a:t>
            </a:r>
            <a:endParaRPr lang="en-US" sz="600" dirty="0">
              <a:latin typeface="Neue Frutiger World" panose="020B0603040304020203" pitchFamily="34" charset="0"/>
              <a:cs typeface="Neue Frutiger World" panose="020B0603040304020203" pitchFamily="34" charset="0"/>
            </a:endParaRPr>
          </a:p>
          <a:p>
            <a:pPr marL="92075" marR="95877" indent="-90488">
              <a:spcBef>
                <a:spcPts val="445"/>
              </a:spcBef>
              <a:buFont typeface="+mj-lt"/>
              <a:buAutoNum type="arabicPeriod" startAt="22"/>
              <a:tabLst>
                <a:tab pos="92075" algn="l"/>
              </a:tabLst>
            </a:pPr>
            <a:r>
              <a:rPr lang="en-US" sz="600" spc="-25" dirty="0">
                <a:solidFill>
                  <a:srgbClr val="757982"/>
                </a:solidFill>
                <a:latin typeface="Neue Frutiger World" panose="020B0603040304020203" pitchFamily="34" charset="0"/>
                <a:cs typeface="Neue Frutiger World" panose="020B0603040304020203" pitchFamily="34" charset="0"/>
              </a:rPr>
              <a:t>Difference</a:t>
            </a:r>
            <a:r>
              <a:rPr lang="en-US" sz="600" spc="-20" dirty="0">
                <a:solidFill>
                  <a:srgbClr val="757982"/>
                </a:solidFill>
                <a:latin typeface="Neue Frutiger World" panose="020B0603040304020203" pitchFamily="34" charset="0"/>
                <a:cs typeface="Neue Frutiger World" panose="020B0603040304020203" pitchFamily="34" charset="0"/>
              </a:rPr>
              <a:t> between</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average</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hospital</a:t>
            </a:r>
            <a:r>
              <a:rPr lang="en-US" sz="600" spc="-15" dirty="0">
                <a:solidFill>
                  <a:srgbClr val="757982"/>
                </a:solidFill>
                <a:latin typeface="Neue Frutiger World" panose="020B0603040304020203" pitchFamily="34" charset="0"/>
                <a:cs typeface="Neue Frutiger World" panose="020B0603040304020203" pitchFamily="34" charset="0"/>
              </a:rPr>
              <a:t> days </a:t>
            </a:r>
            <a:r>
              <a:rPr lang="en-US" sz="600" spc="-20" dirty="0">
                <a:solidFill>
                  <a:srgbClr val="757982"/>
                </a:solidFill>
                <a:latin typeface="Neue Frutiger World" panose="020B0603040304020203" pitchFamily="34" charset="0"/>
                <a:cs typeface="Neue Frutiger World" panose="020B0603040304020203" pitchFamily="34" charset="0"/>
              </a:rPr>
              <a:t>from </a:t>
            </a:r>
            <a:r>
              <a:rPr lang="en-US" sz="600" spc="-35" dirty="0">
                <a:solidFill>
                  <a:srgbClr val="757982"/>
                </a:solidFill>
                <a:latin typeface="Neue Frutiger World" panose="020B0603040304020203" pitchFamily="34" charset="0"/>
                <a:cs typeface="Neue Frutiger World" panose="020B0603040304020203" pitchFamily="34" charset="0"/>
              </a:rPr>
              <a:t>r</a:t>
            </a:r>
            <a:r>
              <a:rPr lang="en-US" sz="600" spc="-15" dirty="0">
                <a:solidFill>
                  <a:srgbClr val="757982"/>
                </a:solidFill>
                <a:latin typeface="Neue Frutiger World" panose="020B0603040304020203" pitchFamily="34" charset="0"/>
                <a:cs typeface="Neue Frutiger World" panose="020B0603040304020203" pitchFamily="34" charset="0"/>
              </a:rPr>
              <a:t>e</a:t>
            </a:r>
            <a:r>
              <a:rPr lang="en-US" sz="600" spc="-25" dirty="0">
                <a:solidFill>
                  <a:srgbClr val="757982"/>
                </a:solidFill>
                <a:latin typeface="Neue Frutiger World" panose="020B0603040304020203" pitchFamily="34" charset="0"/>
                <a:cs typeface="Neue Frutiger World" panose="020B0603040304020203" pitchFamily="34" charset="0"/>
              </a:rPr>
              <a:t>f</a:t>
            </a:r>
            <a:r>
              <a:rPr lang="en-US" sz="600" spc="-20" dirty="0">
                <a:solidFill>
                  <a:srgbClr val="757982"/>
                </a:solidFill>
                <a:latin typeface="Neue Frutiger World" panose="020B0603040304020203" pitchFamily="34" charset="0"/>
                <a:cs typeface="Neue Frutiger World" panose="020B0603040304020203" pitchFamily="34" charset="0"/>
              </a:rPr>
              <a:t>e</a:t>
            </a:r>
            <a:r>
              <a:rPr lang="en-US" sz="600" spc="-30" dirty="0">
                <a:solidFill>
                  <a:srgbClr val="757982"/>
                </a:solidFill>
                <a:latin typeface="Neue Frutiger World" panose="020B0603040304020203" pitchFamily="34" charset="0"/>
                <a:cs typeface="Neue Frutiger World" panose="020B0603040304020203" pitchFamily="34" charset="0"/>
              </a:rPr>
              <a:t>r</a:t>
            </a:r>
            <a:r>
              <a:rPr lang="en-US" sz="600" spc="-15" dirty="0">
                <a:solidFill>
                  <a:srgbClr val="757982"/>
                </a:solidFill>
                <a:latin typeface="Neue Frutiger World" panose="020B0603040304020203" pitchFamily="34" charset="0"/>
                <a:cs typeface="Neue Frutiger World" panose="020B0603040304020203" pitchFamily="34" charset="0"/>
              </a:rPr>
              <a:t>en</a:t>
            </a:r>
            <a:r>
              <a:rPr lang="en-US" sz="600" spc="-20" dirty="0">
                <a:solidFill>
                  <a:srgbClr val="757982"/>
                </a:solidFill>
                <a:latin typeface="Neue Frutiger World" panose="020B0603040304020203" pitchFamily="34" charset="0"/>
                <a:cs typeface="Neue Frutiger World" panose="020B0603040304020203" pitchFamily="34" charset="0"/>
              </a:rPr>
              <a:t>c</a:t>
            </a:r>
            <a:r>
              <a:rPr lang="en-US" sz="600" spc="-5" dirty="0">
                <a:solidFill>
                  <a:srgbClr val="757982"/>
                </a:solidFill>
                <a:latin typeface="Neue Frutiger World" panose="020B0603040304020203" pitchFamily="34" charset="0"/>
                <a:cs typeface="Neue Frutiger World" panose="020B0603040304020203" pitchFamily="34" charset="0"/>
              </a:rPr>
              <a:t>e</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dirty="0">
                <a:solidFill>
                  <a:srgbClr val="757982"/>
                </a:solidFill>
                <a:latin typeface="Neue Frutiger World" panose="020B0603040304020203" pitchFamily="34" charset="0"/>
                <a:cs typeface="Neue Frutiger World" panose="020B0603040304020203" pitchFamily="34" charset="0"/>
              </a:rPr>
              <a:t>#20</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5" dirty="0">
                <a:solidFill>
                  <a:srgbClr val="757982"/>
                </a:solidFill>
                <a:latin typeface="Neue Frutiger World" panose="020B0603040304020203" pitchFamily="34" charset="0"/>
                <a:cs typeface="Neue Frutiger World" panose="020B0603040304020203" pitchFamily="34" charset="0"/>
              </a:rPr>
              <a:t>(x</a:t>
            </a:r>
            <a:r>
              <a:rPr lang="en-US" sz="600" spc="5" dirty="0">
                <a:solidFill>
                  <a:srgbClr val="757982"/>
                </a:solidFill>
                <a:latin typeface="Neue Frutiger World" panose="020B0603040304020203" pitchFamily="34" charset="0"/>
                <a:cs typeface="Neue Frutiger World" panose="020B0603040304020203" pitchFamily="34" charset="0"/>
              </a:rPr>
              <a:t>)</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10" dirty="0">
                <a:solidFill>
                  <a:srgbClr val="757982"/>
                </a:solidFill>
                <a:latin typeface="Neue Frutiger World" panose="020B0603040304020203" pitchFamily="34" charset="0"/>
                <a:cs typeface="Neue Frutiger World" panose="020B0603040304020203" pitchFamily="34" charset="0"/>
              </a:rPr>
              <a:t>$2</a:t>
            </a:r>
            <a:r>
              <a:rPr lang="en-US" sz="600" spc="-40" dirty="0">
                <a:solidFill>
                  <a:srgbClr val="757982"/>
                </a:solidFill>
                <a:latin typeface="Neue Frutiger World" panose="020B0603040304020203" pitchFamily="34" charset="0"/>
                <a:cs typeface="Neue Frutiger World" panose="020B0603040304020203" pitchFamily="34" charset="0"/>
              </a:rPr>
              <a:t>,</a:t>
            </a:r>
            <a:r>
              <a:rPr lang="en-US" sz="600" spc="-15" dirty="0">
                <a:solidFill>
                  <a:srgbClr val="757982"/>
                </a:solidFill>
                <a:latin typeface="Neue Frutiger World" panose="020B0603040304020203" pitchFamily="34" charset="0"/>
                <a:cs typeface="Neue Frutiger World" panose="020B0603040304020203" pitchFamily="34" charset="0"/>
              </a:rPr>
              <a:t>15</a:t>
            </a:r>
            <a:r>
              <a:rPr lang="en-US" sz="600" spc="-5" dirty="0">
                <a:solidFill>
                  <a:srgbClr val="757982"/>
                </a:solidFill>
                <a:latin typeface="Neue Frutiger World" panose="020B0603040304020203" pitchFamily="34" charset="0"/>
                <a:cs typeface="Neue Frutiger World" panose="020B0603040304020203" pitchFamily="34" charset="0"/>
              </a:rPr>
              <a:t>7</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35" dirty="0">
                <a:solidFill>
                  <a:srgbClr val="757982"/>
                </a:solidFill>
                <a:latin typeface="Neue Frutiger World" panose="020B0603040304020203" pitchFamily="34" charset="0"/>
                <a:cs typeface="Neue Frutiger World" panose="020B0603040304020203" pitchFamily="34" charset="0"/>
              </a:rPr>
              <a:t>a</a:t>
            </a:r>
            <a:r>
              <a:rPr lang="en-US" sz="600" spc="-25" dirty="0">
                <a:solidFill>
                  <a:srgbClr val="757982"/>
                </a:solidFill>
                <a:latin typeface="Neue Frutiger World" panose="020B0603040304020203" pitchFamily="34" charset="0"/>
                <a:cs typeface="Neue Frutiger World" panose="020B0603040304020203" pitchFamily="34" charset="0"/>
              </a:rPr>
              <a:t>v</a:t>
            </a:r>
            <a:r>
              <a:rPr lang="en-US" sz="600" spc="-20" dirty="0">
                <a:solidFill>
                  <a:srgbClr val="757982"/>
                </a:solidFill>
                <a:latin typeface="Neue Frutiger World" panose="020B0603040304020203" pitchFamily="34" charset="0"/>
                <a:cs typeface="Neue Frutiger World" panose="020B0603040304020203" pitchFamily="34" charset="0"/>
              </a:rPr>
              <a:t>e</a:t>
            </a:r>
            <a:r>
              <a:rPr lang="en-US" sz="600" spc="-25" dirty="0">
                <a:solidFill>
                  <a:srgbClr val="757982"/>
                </a:solidFill>
                <a:latin typeface="Neue Frutiger World" panose="020B0603040304020203" pitchFamily="34" charset="0"/>
                <a:cs typeface="Neue Frutiger World" panose="020B0603040304020203" pitchFamily="34" charset="0"/>
              </a:rPr>
              <a:t>r</a:t>
            </a:r>
            <a:r>
              <a:rPr lang="en-US" sz="600" spc="-20" dirty="0">
                <a:solidFill>
                  <a:srgbClr val="757982"/>
                </a:solidFill>
                <a:latin typeface="Neue Frutiger World" panose="020B0603040304020203" pitchFamily="34" charset="0"/>
                <a:cs typeface="Neue Frutiger World" panose="020B0603040304020203" pitchFamily="34" charset="0"/>
              </a:rPr>
              <a:t>a</a:t>
            </a:r>
            <a:r>
              <a:rPr lang="en-US" sz="600" spc="-25" dirty="0">
                <a:solidFill>
                  <a:srgbClr val="757982"/>
                </a:solidFill>
                <a:latin typeface="Neue Frutiger World" panose="020B0603040304020203" pitchFamily="34" charset="0"/>
                <a:cs typeface="Neue Frutiger World" panose="020B0603040304020203" pitchFamily="34" charset="0"/>
              </a:rPr>
              <a:t>g</a:t>
            </a:r>
            <a:r>
              <a:rPr lang="en-US" sz="600" spc="-5" dirty="0">
                <a:solidFill>
                  <a:srgbClr val="757982"/>
                </a:solidFill>
                <a:latin typeface="Neue Frutiger World" panose="020B0603040304020203" pitchFamily="34" charset="0"/>
                <a:cs typeface="Neue Frutiger World" panose="020B0603040304020203" pitchFamily="34" charset="0"/>
              </a:rPr>
              <a:t>e</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inpatien</a:t>
            </a:r>
            <a:r>
              <a:rPr lang="en-US" sz="600" spc="-25" dirty="0">
                <a:solidFill>
                  <a:srgbClr val="757982"/>
                </a:solidFill>
                <a:latin typeface="Neue Frutiger World" panose="020B0603040304020203" pitchFamily="34" charset="0"/>
                <a:cs typeface="Neue Frutiger World" panose="020B0603040304020203" pitchFamily="34" charset="0"/>
              </a:rPr>
              <a:t>t</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pe</a:t>
            </a:r>
            <a:r>
              <a:rPr lang="en-US" sz="600" spc="-5" dirty="0">
                <a:solidFill>
                  <a:srgbClr val="757982"/>
                </a:solidFill>
                <a:latin typeface="Neue Frutiger World" panose="020B0603040304020203" pitchFamily="34" charset="0"/>
                <a:cs typeface="Neue Frutiger World" panose="020B0603040304020203" pitchFamily="34" charset="0"/>
              </a:rPr>
              <a:t>r</a:t>
            </a:r>
            <a:r>
              <a:rPr lang="en-US" sz="600" spc="-2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d</a:t>
            </a:r>
            <a:r>
              <a:rPr lang="en-US" sz="600" spc="-40" dirty="0">
                <a:solidFill>
                  <a:srgbClr val="757982"/>
                </a:solidFill>
                <a:latin typeface="Neue Frutiger World" panose="020B0603040304020203" pitchFamily="34" charset="0"/>
                <a:cs typeface="Neue Frutiger World" panose="020B0603040304020203" pitchFamily="34" charset="0"/>
              </a:rPr>
              <a:t>a</a:t>
            </a:r>
            <a:r>
              <a:rPr lang="en-US" sz="600" spc="10" dirty="0">
                <a:solidFill>
                  <a:srgbClr val="757982"/>
                </a:solidFill>
                <a:latin typeface="Neue Frutiger World" panose="020B0603040304020203" pitchFamily="34" charset="0"/>
                <a:cs typeface="Neue Frutiger World" panose="020B0603040304020203" pitchFamily="34" charset="0"/>
              </a:rPr>
              <a:t>y </a:t>
            </a:r>
            <a:r>
              <a:rPr lang="en-US" sz="600" spc="-20" dirty="0">
                <a:solidFill>
                  <a:srgbClr val="757982"/>
                </a:solidFill>
                <a:latin typeface="Neue Frutiger World" panose="020B0603040304020203" pitchFamily="34" charset="0"/>
                <a:cs typeface="Neue Frutiger World" panose="020B0603040304020203" pitchFamily="34" charset="0"/>
              </a:rPr>
              <a:t>hospital cost </a:t>
            </a:r>
            <a:r>
              <a:rPr lang="en-US" sz="600" spc="-10" dirty="0">
                <a:solidFill>
                  <a:srgbClr val="757982"/>
                </a:solidFill>
                <a:latin typeface="Neue Frutiger World" panose="020B0603040304020203" pitchFamily="34" charset="0"/>
                <a:cs typeface="Neue Frutiger World" panose="020B0603040304020203" pitchFamily="34" charset="0"/>
              </a:rPr>
              <a:t>(U.S.), </a:t>
            </a:r>
            <a:r>
              <a:rPr lang="en-US" sz="600" spc="-15" dirty="0">
                <a:solidFill>
                  <a:srgbClr val="757982"/>
                </a:solidFill>
                <a:latin typeface="Neue Frutiger World" panose="020B0603040304020203" pitchFamily="34" charset="0"/>
                <a:cs typeface="Neue Frutiger World" panose="020B0603040304020203" pitchFamily="34" charset="0"/>
              </a:rPr>
              <a:t>which is </a:t>
            </a:r>
            <a:r>
              <a:rPr lang="en-US" sz="600" spc="-20" dirty="0">
                <a:solidFill>
                  <a:srgbClr val="757982"/>
                </a:solidFill>
                <a:latin typeface="Neue Frutiger World" panose="020B0603040304020203" pitchFamily="34" charset="0"/>
                <a:cs typeface="Neue Frutiger World" panose="020B0603040304020203" pitchFamily="34" charset="0"/>
              </a:rPr>
              <a:t>from </a:t>
            </a:r>
            <a:r>
              <a:rPr lang="en-US" sz="600" spc="-10" dirty="0">
                <a:solidFill>
                  <a:srgbClr val="757982"/>
                </a:solidFill>
                <a:latin typeface="Neue Frutiger World" panose="020B0603040304020203" pitchFamily="34" charset="0"/>
                <a:cs typeface="Neue Frutiger World" panose="020B0603040304020203" pitchFamily="34" charset="0"/>
              </a:rPr>
              <a:t>1999 </a:t>
            </a:r>
            <a:r>
              <a:rPr lang="en-US" sz="600" spc="-15" dirty="0">
                <a:solidFill>
                  <a:srgbClr val="757982"/>
                </a:solidFill>
                <a:latin typeface="Neue Frutiger World" panose="020B0603040304020203" pitchFamily="34" charset="0"/>
                <a:cs typeface="Neue Frutiger World" panose="020B0603040304020203" pitchFamily="34" charset="0"/>
              </a:rPr>
              <a:t>-2013 AHA Annual</a:t>
            </a:r>
            <a:r>
              <a:rPr lang="en-US" sz="600" spc="-1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Survey,</a:t>
            </a:r>
            <a:r>
              <a:rPr lang="en-US" sz="600" spc="-15"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Copyright</a:t>
            </a:r>
            <a:r>
              <a:rPr lang="en-US" sz="600" spc="125" dirty="0">
                <a:solidFill>
                  <a:srgbClr val="757982"/>
                </a:solidFill>
                <a:latin typeface="Neue Frutiger World" panose="020B0603040304020203" pitchFamily="34" charset="0"/>
                <a:cs typeface="Neue Frutiger World" panose="020B0603040304020203" pitchFamily="34" charset="0"/>
              </a:rPr>
              <a:t> </a:t>
            </a:r>
            <a:r>
              <a:rPr lang="en-US" sz="600" spc="-15" dirty="0">
                <a:solidFill>
                  <a:srgbClr val="757982"/>
                </a:solidFill>
                <a:latin typeface="Neue Frutiger World" panose="020B0603040304020203" pitchFamily="34" charset="0"/>
                <a:cs typeface="Neue Frutiger World" panose="020B0603040304020203" pitchFamily="34" charset="0"/>
              </a:rPr>
              <a:t>2015</a:t>
            </a:r>
            <a:r>
              <a:rPr lang="en-US" sz="600" spc="135" dirty="0">
                <a:solidFill>
                  <a:srgbClr val="757982"/>
                </a:solidFill>
                <a:latin typeface="Neue Frutiger World" panose="020B0603040304020203" pitchFamily="34" charset="0"/>
                <a:cs typeface="Neue Frutiger World" panose="020B0603040304020203" pitchFamily="34" charset="0"/>
              </a:rPr>
              <a:t> </a:t>
            </a:r>
            <a:r>
              <a:rPr lang="en-US" sz="600" spc="-10" dirty="0">
                <a:solidFill>
                  <a:srgbClr val="757982"/>
                </a:solidFill>
                <a:latin typeface="Neue Frutiger World" panose="020B0603040304020203" pitchFamily="34" charset="0"/>
                <a:cs typeface="Neue Frutiger World" panose="020B0603040304020203" pitchFamily="34" charset="0"/>
              </a:rPr>
              <a:t>by </a:t>
            </a:r>
            <a:r>
              <a:rPr lang="en-US" sz="600" spc="-20" dirty="0">
                <a:solidFill>
                  <a:srgbClr val="757982"/>
                </a:solidFill>
                <a:latin typeface="Neue Frutiger World" panose="020B0603040304020203" pitchFamily="34" charset="0"/>
                <a:cs typeface="Neue Frutiger World" panose="020B0603040304020203" pitchFamily="34" charset="0"/>
              </a:rPr>
              <a:t>Health</a:t>
            </a:r>
            <a:r>
              <a:rPr lang="en-US" sz="600" spc="130" dirty="0">
                <a:solidFill>
                  <a:srgbClr val="757982"/>
                </a:solidFill>
                <a:latin typeface="Neue Frutiger World" panose="020B0603040304020203" pitchFamily="34" charset="0"/>
                <a:cs typeface="Neue Frutiger World" panose="020B0603040304020203" pitchFamily="34" charset="0"/>
              </a:rPr>
              <a:t> </a:t>
            </a:r>
            <a:r>
              <a:rPr lang="en-US" sz="600" spc="-20" dirty="0">
                <a:solidFill>
                  <a:srgbClr val="757982"/>
                </a:solidFill>
                <a:latin typeface="Neue Frutiger World" panose="020B0603040304020203" pitchFamily="34" charset="0"/>
                <a:cs typeface="Neue Frutiger World" panose="020B0603040304020203" pitchFamily="34" charset="0"/>
              </a:rPr>
              <a:t>Forum, LLC, an affiliate of the American Hospital Association. Special data request, 2015. Available at http://www. ahaonlinestore.com.</a:t>
            </a:r>
          </a:p>
          <a:p>
            <a:pPr marL="92075" marR="184135" indent="-90488">
              <a:spcBef>
                <a:spcPts val="450"/>
              </a:spcBef>
              <a:buAutoNum type="arabicPeriod" startAt="13"/>
              <a:tabLst>
                <a:tab pos="92075" algn="l"/>
              </a:tabLst>
            </a:pPr>
            <a:endParaRPr lang="en-US" sz="600" spc="-20" dirty="0">
              <a:solidFill>
                <a:srgbClr val="757982"/>
              </a:solidFill>
              <a:latin typeface="Neue Frutiger World" panose="020B0603040304020203" pitchFamily="34" charset="0"/>
              <a:cs typeface="Neue Frutiger World" panose="020B0603040304020203" pitchFamily="34" charset="0"/>
            </a:endParaRPr>
          </a:p>
          <a:p>
            <a:pPr marL="92075" marR="8889" indent="-90488">
              <a:spcBef>
                <a:spcPts val="450"/>
              </a:spcBef>
              <a:buAutoNum type="arabicPeriod" startAt="13"/>
              <a:tabLst>
                <a:tab pos="92075" algn="l"/>
              </a:tabLst>
            </a:pPr>
            <a:endParaRPr sz="600" dirty="0">
              <a:solidFill>
                <a:srgbClr val="FF0000"/>
              </a:solidFill>
              <a:latin typeface="Neue Frutiger World" panose="020B0603040304020203" pitchFamily="34" charset="0"/>
              <a:cs typeface="Neue Frutiger World" panose="020B0603040304020203" pitchFamily="34" charset="0"/>
            </a:endParaRPr>
          </a:p>
        </p:txBody>
      </p:sp>
      <p:sp>
        <p:nvSpPr>
          <p:cNvPr id="7" name="object 5">
            <a:extLst>
              <a:ext uri="{FF2B5EF4-FFF2-40B4-BE49-F238E27FC236}">
                <a16:creationId xmlns:a16="http://schemas.microsoft.com/office/drawing/2014/main" id="{33579BE2-C718-4FC2-9FF6-2D3C5537E308}"/>
              </a:ext>
            </a:extLst>
          </p:cNvPr>
          <p:cNvSpPr txBox="1"/>
          <p:nvPr/>
        </p:nvSpPr>
        <p:spPr>
          <a:xfrm>
            <a:off x="4701540" y="411512"/>
            <a:ext cx="2181034" cy="4654608"/>
          </a:xfrm>
          <a:prstGeom prst="rect">
            <a:avLst/>
          </a:prstGeom>
        </p:spPr>
        <p:txBody>
          <a:bodyPr vert="horz" wrap="square" lIns="0" tIns="8890" rIns="0" bIns="0" rtlCol="0">
            <a:spAutoFit/>
          </a:bodyPr>
          <a:lstStyle/>
          <a:p>
            <a:pPr marL="92075" marR="95877" indent="-92075">
              <a:spcBef>
                <a:spcPts val="445"/>
              </a:spcBef>
              <a:buFont typeface="+mj-lt"/>
              <a:buAutoNum type="arabicPeriod" startAt="24"/>
              <a:tabLst>
                <a:tab pos="266700" algn="l"/>
              </a:tabLst>
            </a:pPr>
            <a:r>
              <a:rPr lang="en-US" sz="600" spc="-20" dirty="0">
                <a:solidFill>
                  <a:srgbClr val="757982"/>
                </a:solidFill>
                <a:latin typeface="Neue Frutiger World" panose="020B0603040304020203" pitchFamily="34" charset="0"/>
                <a:cs typeface="Neue Frutiger World" panose="020B0603040304020203" pitchFamily="34" charset="0"/>
              </a:rPr>
              <a:t>Viganego et al. Effect of early diagnosis and treatment with percutaneous lead extraction on survival in patients with cardiac device infections. 10.1016/j.amjcard.2012.01.360</a:t>
            </a:r>
          </a:p>
          <a:p>
            <a:pPr marL="92075" marR="95877" indent="-92075">
              <a:spcBef>
                <a:spcPts val="445"/>
              </a:spcBef>
              <a:buFont typeface="+mj-lt"/>
              <a:buAutoNum type="arabicPeriod" startAt="24"/>
              <a:tabLst>
                <a:tab pos="266700" algn="l"/>
              </a:tabLst>
            </a:pPr>
            <a:r>
              <a:rPr lang="en-US" sz="600" spc="-20" dirty="0">
                <a:solidFill>
                  <a:srgbClr val="757982"/>
                </a:solidFill>
                <a:latin typeface="Neue Frutiger World" panose="020B0603040304020203" pitchFamily="34" charset="0"/>
                <a:cs typeface="Neue Frutiger World" panose="020B0603040304020203" pitchFamily="34" charset="0"/>
              </a:rPr>
              <a:t>Paz Rios, Luis, et al. “Effect Of An Electronic Medical Alerts For Patients With Positive Cultures And Cardiovascular Implantable Electronic Devices.” Moderated ePoster Presentation. 2020 Heart Rhythm Society Annual Abstract Presentations Online.</a:t>
            </a:r>
          </a:p>
          <a:p>
            <a:pPr marL="92075" marR="95877" indent="-92075">
              <a:spcBef>
                <a:spcPts val="445"/>
              </a:spcBef>
              <a:buFont typeface="+mj-lt"/>
              <a:buAutoNum type="arabicPeriod" startAt="24"/>
              <a:tabLst>
                <a:tab pos="266700" algn="l"/>
              </a:tabLst>
            </a:pPr>
            <a:r>
              <a:rPr lang="en-US" sz="600" spc="-20" dirty="0">
                <a:solidFill>
                  <a:srgbClr val="757982"/>
                </a:solidFill>
                <a:latin typeface="Neue Frutiger World" panose="020B0603040304020203" pitchFamily="34" charset="0"/>
                <a:cs typeface="Neue Frutiger World" panose="020B0603040304020203" pitchFamily="34" charset="0"/>
              </a:rPr>
              <a:t>Sohail, M Rizwan, et al. Incidence, Treatment Intensity, and Incremental Annual Expenditures for Patients Experiencing a Cardiac Implantable Electronic Device Infection: Evidence From a Large US Payer Database 1-Year Post Implantation. Circ </a:t>
            </a:r>
            <a:r>
              <a:rPr lang="en-US" sz="600" spc="-20" dirty="0" err="1">
                <a:solidFill>
                  <a:srgbClr val="757982"/>
                </a:solidFill>
                <a:latin typeface="Neue Frutiger World" panose="020B0603040304020203" pitchFamily="34" charset="0"/>
                <a:cs typeface="Neue Frutiger World" panose="020B0603040304020203" pitchFamily="34" charset="0"/>
              </a:rPr>
              <a:t>Arrhythm</a:t>
            </a:r>
            <a:r>
              <a:rPr lang="en-US" sz="600" spc="-20" dirty="0">
                <a:solidFill>
                  <a:srgbClr val="757982"/>
                </a:solidFill>
                <a:latin typeface="Neue Frutiger World" panose="020B0603040304020203" pitchFamily="34" charset="0"/>
                <a:cs typeface="Neue Frutiger World" panose="020B0603040304020203" pitchFamily="34" charset="0"/>
              </a:rPr>
              <a:t> Electrophysiol. 2016; 9(8).</a:t>
            </a:r>
          </a:p>
          <a:p>
            <a:pPr marL="92075" marR="95877" indent="-92075">
              <a:spcBef>
                <a:spcPts val="445"/>
              </a:spcBef>
              <a:buFont typeface="+mj-lt"/>
              <a:buAutoNum type="arabicPeriod" startAt="24"/>
              <a:tabLst>
                <a:tab pos="266700" algn="l"/>
              </a:tabLst>
            </a:pPr>
            <a:r>
              <a:rPr lang="en-US" sz="600" spc="-20" dirty="0">
                <a:solidFill>
                  <a:srgbClr val="757982"/>
                </a:solidFill>
                <a:latin typeface="Neue Frutiger World" panose="020B0603040304020203" pitchFamily="34" charset="0"/>
                <a:cs typeface="Neue Frutiger World" panose="020B0603040304020203" pitchFamily="34" charset="0"/>
              </a:rPr>
              <a:t>Le et al. Impact of timing of device removal on mortality in patients with cardiovascular implantable electronic device infections. 1547-5271/ © 2011 Heart Rhythm Society. All rights reserved. doi:10.1016/j.hrthm.2011.05.015</a:t>
            </a:r>
          </a:p>
          <a:p>
            <a:pPr marL="92075" marR="95877" indent="-92075">
              <a:spcBef>
                <a:spcPts val="445"/>
              </a:spcBef>
              <a:buFont typeface="+mj-lt"/>
              <a:buAutoNum type="arabicPeriod" startAt="24"/>
              <a:tabLst>
                <a:tab pos="266700" algn="l"/>
              </a:tabLst>
            </a:pPr>
            <a:r>
              <a:rPr lang="en-US" sz="600" spc="-20" dirty="0">
                <a:solidFill>
                  <a:srgbClr val="757982"/>
                </a:solidFill>
                <a:latin typeface="Neue Frutiger World" panose="020B0603040304020203" pitchFamily="34" charset="0"/>
                <a:cs typeface="Neue Frutiger World" panose="020B0603040304020203" pitchFamily="34" charset="0"/>
              </a:rPr>
              <a:t>Blomström-Lundqvist et al. European Heart Rhythm Association (EHRA) international consensus document on how to prevent, diagnose, and treat cardiac implantable electronic device infections—endorsed by the Heart Rhythm Society (HRS), the Asia Pacific Heart RhythmSociety (APHRS), the LatinAmerican Heart Rhythm Society (LAHRS), International Society for Cardiovascular Infectious Diseases (ISCVID) and the European Society of Clinical Microbiology and Infectious Diseases (ESCMID) in collaboration with the European Association for Cardio-Thoracic Surgery (EACTS). Europace (2019) 0, 1–35 doi:10.1093/europace/ euz246</a:t>
            </a:r>
          </a:p>
          <a:p>
            <a:pPr marL="92075" marR="95877" indent="-92075">
              <a:spcBef>
                <a:spcPts val="445"/>
              </a:spcBef>
              <a:buFont typeface="+mj-lt"/>
              <a:buAutoNum type="arabicPeriod" startAt="24"/>
              <a:tabLst>
                <a:tab pos="266700" algn="l"/>
              </a:tabLst>
            </a:pPr>
            <a:r>
              <a:rPr lang="en-US" sz="600" spc="-20" dirty="0">
                <a:solidFill>
                  <a:srgbClr val="757982"/>
                </a:solidFill>
                <a:latin typeface="Neue Frutiger World" panose="020B0603040304020203" pitchFamily="34" charset="0"/>
                <a:cs typeface="Neue Frutiger World" panose="020B0603040304020203" pitchFamily="34" charset="0"/>
              </a:rPr>
              <a:t>Sidhu et al. The role of transvenous lead extraction in the management of redundant or malfunctioning pacemaker and defibrillator leads post ELECTRa. Europace (2018) 20, 1733–1740 doi:10.1093/europace/euy018</a:t>
            </a:r>
          </a:p>
          <a:p>
            <a:pPr marL="92075" marR="140323" indent="-92075">
              <a:spcBef>
                <a:spcPts val="445"/>
              </a:spcBef>
              <a:buFont typeface="+mj-lt"/>
              <a:buAutoNum type="arabicPeriod" startAt="30"/>
              <a:tabLst>
                <a:tab pos="266700" algn="l"/>
              </a:tabLst>
            </a:pPr>
            <a:r>
              <a:rPr lang="en-US" sz="600" spc="-20" dirty="0">
                <a:solidFill>
                  <a:srgbClr val="757982"/>
                </a:solidFill>
                <a:latin typeface="Neue Frutiger World" panose="020B0603040304020203" pitchFamily="34" charset="0"/>
                <a:cs typeface="Neue Frutiger World" panose="020B0603040304020203" pitchFamily="34" charset="0"/>
              </a:rPr>
              <a:t>Hussein et al. Cardiac Implantable Electronic Device Infections. JACC: Clinical Electrophysiology, http://dx.doi.org/10.1016/j.jacep.2016.06.009</a:t>
            </a:r>
          </a:p>
          <a:p>
            <a:pPr marL="92075" marR="140323" indent="-92075">
              <a:spcBef>
                <a:spcPts val="445"/>
              </a:spcBef>
              <a:buAutoNum type="arabicPeriod" startAt="30"/>
              <a:tabLst>
                <a:tab pos="266700" algn="l"/>
              </a:tabLst>
            </a:pPr>
            <a:r>
              <a:rPr lang="en-US" sz="600" spc="-20" dirty="0">
                <a:solidFill>
                  <a:srgbClr val="757982"/>
                </a:solidFill>
                <a:latin typeface="Neue Frutiger World" panose="020B0603040304020203" pitchFamily="34" charset="0"/>
                <a:cs typeface="Neue Frutiger World" panose="020B0603040304020203" pitchFamily="34" charset="0"/>
              </a:rPr>
              <a:t>Jacheć et al. To abandon or not to abandon: Late consequences of pacing and ICD lead abandonment. </a:t>
            </a:r>
            <a:r>
              <a:rPr lang="en-US" sz="600" spc="-20" dirty="0">
                <a:solidFill>
                  <a:srgbClr val="757982"/>
                </a:solidFill>
                <a:latin typeface="Neue Frutiger World" panose="020B0603040304020203" pitchFamily="34" charset="0"/>
                <a:cs typeface="Neue Frutiger World" panose="020B0603040304020203" pitchFamily="34" charset="0"/>
                <a:hlinkClick r:id="rId3">
                  <a:extLst>
                    <a:ext uri="{A12FA001-AC4F-418D-AE19-62706E023703}">
                      <ahyp:hlinkClr xmlns:ahyp="http://schemas.microsoft.com/office/drawing/2018/hyperlinkcolor" val="tx"/>
                    </a:ext>
                  </a:extLst>
                </a:hlinkClick>
              </a:rPr>
              <a:t>https://pubmed.ncbi.nlm.nih.gov/31046136/</a:t>
            </a:r>
            <a:endParaRPr lang="en-US" sz="600" spc="-20" dirty="0">
              <a:solidFill>
                <a:srgbClr val="757982"/>
              </a:solidFill>
              <a:latin typeface="Neue Frutiger World" panose="020B0603040304020203" pitchFamily="34" charset="0"/>
              <a:cs typeface="Neue Frutiger World" panose="020B0603040304020203" pitchFamily="34" charset="0"/>
            </a:endParaRPr>
          </a:p>
          <a:p>
            <a:pPr marL="92075" marR="140323" indent="-92075">
              <a:spcBef>
                <a:spcPts val="445"/>
              </a:spcBef>
              <a:buFontTx/>
              <a:buAutoNum type="arabicPeriod" startAt="30"/>
              <a:tabLst>
                <a:tab pos="266700" algn="l"/>
              </a:tabLst>
            </a:pPr>
            <a:r>
              <a:rPr lang="en-US" sz="600" spc="-20" dirty="0">
                <a:solidFill>
                  <a:srgbClr val="757982"/>
                </a:solidFill>
                <a:latin typeface="Neue Frutiger World" panose="020B0603040304020203" pitchFamily="34" charset="0"/>
                <a:cs typeface="Neue Frutiger World" panose="020B0603040304020203" pitchFamily="34" charset="0"/>
              </a:rPr>
              <a:t>Hui-Chen Han et al. Epidemiology of cardiac implantable electronic device infections: incidence and risk factors. </a:t>
            </a:r>
            <a:r>
              <a:rPr lang="en-US" sz="600" spc="-20" dirty="0" err="1">
                <a:solidFill>
                  <a:srgbClr val="757982"/>
                </a:solidFill>
                <a:latin typeface="Neue Frutiger World" panose="020B0603040304020203" pitchFamily="34" charset="0"/>
                <a:cs typeface="Neue Frutiger World" panose="020B0603040304020203" pitchFamily="34" charset="0"/>
              </a:rPr>
              <a:t>Europace</a:t>
            </a:r>
            <a:r>
              <a:rPr lang="en-US" sz="600" spc="-20" dirty="0">
                <a:solidFill>
                  <a:srgbClr val="757982"/>
                </a:solidFill>
                <a:latin typeface="Neue Frutiger World" panose="020B0603040304020203" pitchFamily="34" charset="0"/>
                <a:cs typeface="Neue Frutiger World" panose="020B0603040304020203" pitchFamily="34" charset="0"/>
              </a:rPr>
              <a:t> (2021) 23, iv3–iv10 doi:10.1093/</a:t>
            </a:r>
            <a:r>
              <a:rPr lang="en-US" sz="600" spc="-20" dirty="0" err="1">
                <a:solidFill>
                  <a:srgbClr val="757982"/>
                </a:solidFill>
                <a:latin typeface="Neue Frutiger World" panose="020B0603040304020203" pitchFamily="34" charset="0"/>
                <a:cs typeface="Neue Frutiger World" panose="020B0603040304020203" pitchFamily="34" charset="0"/>
              </a:rPr>
              <a:t>europace</a:t>
            </a:r>
            <a:r>
              <a:rPr lang="en-US" sz="600" spc="-20" dirty="0">
                <a:solidFill>
                  <a:srgbClr val="757982"/>
                </a:solidFill>
                <a:latin typeface="Neue Frutiger World" panose="020B0603040304020203" pitchFamily="34" charset="0"/>
                <a:cs typeface="Neue Frutiger World" panose="020B0603040304020203" pitchFamily="34" charset="0"/>
              </a:rPr>
              <a:t>/euab042 </a:t>
            </a:r>
          </a:p>
          <a:p>
            <a:pPr marL="92075" marR="140323" indent="-92075">
              <a:spcBef>
                <a:spcPts val="445"/>
              </a:spcBef>
              <a:buAutoNum type="arabicPeriod" startAt="30"/>
              <a:tabLst>
                <a:tab pos="266700" algn="l"/>
              </a:tabLst>
            </a:pPr>
            <a:endParaRPr lang="en-US" sz="600" spc="-20" dirty="0">
              <a:solidFill>
                <a:srgbClr val="757982"/>
              </a:solidFill>
              <a:latin typeface="Neue Frutiger World" panose="020B0603040304020203" pitchFamily="34" charset="0"/>
              <a:cs typeface="Neue Frutiger World" panose="020B0603040304020203" pitchFamily="34" charset="0"/>
            </a:endParaRPr>
          </a:p>
        </p:txBody>
      </p:sp>
      <p:sp>
        <p:nvSpPr>
          <p:cNvPr id="8" name="object 6">
            <a:extLst>
              <a:ext uri="{FF2B5EF4-FFF2-40B4-BE49-F238E27FC236}">
                <a16:creationId xmlns:a16="http://schemas.microsoft.com/office/drawing/2014/main" id="{30C5C230-6415-4688-A4C0-E41145901541}"/>
              </a:ext>
            </a:extLst>
          </p:cNvPr>
          <p:cNvSpPr txBox="1"/>
          <p:nvPr/>
        </p:nvSpPr>
        <p:spPr>
          <a:xfrm>
            <a:off x="6961126" y="850797"/>
            <a:ext cx="2182874" cy="4084067"/>
          </a:xfrm>
          <a:prstGeom prst="rect">
            <a:avLst/>
          </a:prstGeom>
        </p:spPr>
        <p:txBody>
          <a:bodyPr vert="horz" wrap="square" lIns="0" tIns="8890" rIns="0" bIns="0" rtlCol="0">
            <a:spAutoFit/>
          </a:bodyPr>
          <a:lstStyle/>
          <a:p>
            <a:pPr marL="92075" marR="140323" indent="-92075">
              <a:spcBef>
                <a:spcPts val="445"/>
              </a:spcBef>
              <a:buFont typeface="+mj-lt"/>
              <a:buAutoNum type="arabicPeriod" startAt="33"/>
              <a:tabLst>
                <a:tab pos="182563" algn="l"/>
              </a:tabLst>
            </a:pPr>
            <a:r>
              <a:rPr lang="en-US" sz="600" spc="-20" dirty="0" err="1">
                <a:solidFill>
                  <a:srgbClr val="757982"/>
                </a:solidFill>
                <a:latin typeface="Neue Frutiger World" panose="020B0603040304020203" pitchFamily="34" charset="0"/>
                <a:cs typeface="Neue Frutiger World" panose="020B0603040304020203" pitchFamily="34" charset="0"/>
              </a:rPr>
              <a:t>Bongiorni</a:t>
            </a:r>
            <a:r>
              <a:rPr lang="en-US" sz="600" spc="-20" dirty="0">
                <a:solidFill>
                  <a:srgbClr val="757982"/>
                </a:solidFill>
                <a:latin typeface="Neue Frutiger World" panose="020B0603040304020203" pitchFamily="34" charset="0"/>
                <a:cs typeface="Neue Frutiger World" panose="020B0603040304020203" pitchFamily="34" charset="0"/>
              </a:rPr>
              <a:t> et al. The European Lead Extraction </a:t>
            </a:r>
            <a:r>
              <a:rPr lang="en-US" sz="600" spc="-20" dirty="0" err="1">
                <a:solidFill>
                  <a:srgbClr val="757982"/>
                </a:solidFill>
                <a:latin typeface="Neue Frutiger World" panose="020B0603040304020203" pitchFamily="34" charset="0"/>
                <a:cs typeface="Neue Frutiger World" panose="020B0603040304020203" pitchFamily="34" charset="0"/>
              </a:rPr>
              <a:t>ConTRolled</a:t>
            </a:r>
            <a:r>
              <a:rPr lang="en-US" sz="600" spc="-20" dirty="0">
                <a:solidFill>
                  <a:srgbClr val="757982"/>
                </a:solidFill>
                <a:latin typeface="Neue Frutiger World" panose="020B0603040304020203" pitchFamily="34" charset="0"/>
                <a:cs typeface="Neue Frutiger World" panose="020B0603040304020203" pitchFamily="34" charset="0"/>
              </a:rPr>
              <a:t> (</a:t>
            </a:r>
            <a:r>
              <a:rPr lang="en-US" sz="600" spc="-20" dirty="0" err="1">
                <a:solidFill>
                  <a:srgbClr val="757982"/>
                </a:solidFill>
                <a:latin typeface="Neue Frutiger World" panose="020B0603040304020203" pitchFamily="34" charset="0"/>
                <a:cs typeface="Neue Frutiger World" panose="020B0603040304020203" pitchFamily="34" charset="0"/>
              </a:rPr>
              <a:t>ELECTRa</a:t>
            </a:r>
            <a:r>
              <a:rPr lang="en-US" sz="600" spc="-20" dirty="0">
                <a:solidFill>
                  <a:srgbClr val="757982"/>
                </a:solidFill>
                <a:latin typeface="Neue Frutiger World" panose="020B0603040304020203" pitchFamily="34" charset="0"/>
                <a:cs typeface="Neue Frutiger World" panose="020B0603040304020203" pitchFamily="34" charset="0"/>
              </a:rPr>
              <a:t>) study: a European Heart Rhythm Association (EHRA) Registry of Transvenous Lead Extraction Outcomes. European Heart Journal (2017) 38, 2995–3005 doi:10.1093/</a:t>
            </a:r>
            <a:r>
              <a:rPr lang="en-US" sz="600" spc="-20" dirty="0" err="1">
                <a:solidFill>
                  <a:srgbClr val="757982"/>
                </a:solidFill>
                <a:latin typeface="Neue Frutiger World" panose="020B0603040304020203" pitchFamily="34" charset="0"/>
                <a:cs typeface="Neue Frutiger World" panose="020B0603040304020203" pitchFamily="34" charset="0"/>
              </a:rPr>
              <a:t>eurheartj</a:t>
            </a:r>
            <a:r>
              <a:rPr lang="en-US" sz="600" spc="-20" dirty="0">
                <a:solidFill>
                  <a:srgbClr val="757982"/>
                </a:solidFill>
                <a:latin typeface="Neue Frutiger World" panose="020B0603040304020203" pitchFamily="34" charset="0"/>
                <a:cs typeface="Neue Frutiger World" panose="020B0603040304020203" pitchFamily="34" charset="0"/>
              </a:rPr>
              <a:t>/ehx080</a:t>
            </a:r>
          </a:p>
          <a:p>
            <a:pPr marL="92075" marR="140323" indent="-92075">
              <a:spcBef>
                <a:spcPts val="445"/>
              </a:spcBef>
              <a:buAutoNum type="arabicPeriod" startAt="33"/>
              <a:tabLst>
                <a:tab pos="182563" algn="l"/>
              </a:tabLst>
            </a:pPr>
            <a:r>
              <a:rPr lang="en-US" sz="600" spc="-20" dirty="0" err="1">
                <a:solidFill>
                  <a:srgbClr val="757982"/>
                </a:solidFill>
                <a:latin typeface="Neue Frutiger World" panose="020B0603040304020203" pitchFamily="34" charset="0"/>
                <a:cs typeface="Neue Frutiger World" panose="020B0603040304020203" pitchFamily="34" charset="0"/>
              </a:rPr>
              <a:t>Wazni</a:t>
            </a:r>
            <a:r>
              <a:rPr lang="en-US" sz="600" spc="-20" dirty="0">
                <a:solidFill>
                  <a:srgbClr val="757982"/>
                </a:solidFill>
                <a:latin typeface="Neue Frutiger World" panose="020B0603040304020203" pitchFamily="34" charset="0"/>
                <a:cs typeface="Neue Frutiger World" panose="020B0603040304020203" pitchFamily="34" charset="0"/>
              </a:rPr>
              <a:t> et al. Lead Extraction in the Contemporary Setting: The LExICon Study: An Observational Retrospective Study of Consecutive Laser Lead Extractions. J Am Coll Cardiol. 2010 Feb, 55 (6) 579–586</a:t>
            </a:r>
          </a:p>
          <a:p>
            <a:pPr marL="92075" marR="140323" indent="-92075">
              <a:spcBef>
                <a:spcPts val="445"/>
              </a:spcBef>
              <a:buAutoNum type="arabicPeriod" startAt="33"/>
              <a:tabLst>
                <a:tab pos="182563" algn="l"/>
              </a:tabLst>
            </a:pPr>
            <a:r>
              <a:rPr lang="en-US" sz="600" spc="-20" dirty="0">
                <a:solidFill>
                  <a:srgbClr val="757982"/>
                </a:solidFill>
                <a:latin typeface="Neue Frutiger World" panose="020B0603040304020203" pitchFamily="34" charset="0"/>
                <a:cs typeface="Neue Frutiger World" panose="020B0603040304020203" pitchFamily="34" charset="0"/>
              </a:rPr>
              <a:t>Azarrify et al. Endovascular Occlusion Balloon for Treatment of Superior Vena Cava Tears During Transvenous Lead Extraction. Heart Rhythm (201&amp;, doi:10.1016/j.hrthm.2017.05.005</a:t>
            </a:r>
          </a:p>
          <a:p>
            <a:pPr marL="92075" marR="140323" indent="-92075">
              <a:spcBef>
                <a:spcPts val="445"/>
              </a:spcBef>
              <a:buAutoNum type="arabicPeriod" startAt="33"/>
              <a:tabLst>
                <a:tab pos="182563" algn="l"/>
              </a:tabLst>
            </a:pPr>
            <a:r>
              <a:rPr lang="en-US" sz="600" spc="-20" dirty="0">
                <a:solidFill>
                  <a:srgbClr val="757982"/>
                </a:solidFill>
                <a:latin typeface="Neue Frutiger World" panose="020B0603040304020203" pitchFamily="34" charset="0"/>
                <a:cs typeface="Neue Frutiger World" panose="020B0603040304020203" pitchFamily="34" charset="0"/>
              </a:rPr>
              <a:t>Giuseppe Boriani et al. Infections associated with cardiac electronic implantable devices: economic perspectives and impact of the TYRXTM antibacterial envelope. Europace (2021) 23, iv33–iv44 doi:10.1093/europace/euab126 </a:t>
            </a:r>
          </a:p>
          <a:p>
            <a:pPr marL="92075" marR="140323" indent="-92075">
              <a:spcBef>
                <a:spcPts val="445"/>
              </a:spcBef>
              <a:buAutoNum type="arabicPeriod" startAt="33"/>
              <a:tabLst>
                <a:tab pos="182563" algn="l"/>
              </a:tabLst>
            </a:pPr>
            <a:r>
              <a:rPr lang="en-US" sz="600" spc="-20" dirty="0">
                <a:solidFill>
                  <a:srgbClr val="757982"/>
                </a:solidFill>
                <a:latin typeface="Neue Frutiger World" panose="020B0603040304020203" pitchFamily="34" charset="0"/>
                <a:cs typeface="Neue Frutiger World" panose="020B0603040304020203" pitchFamily="34" charset="0"/>
              </a:rPr>
              <a:t>Burnhope et al. (2019). Retrospective cohort of HFrEF patients undergoing ICD or CRT procedures. 2019.</a:t>
            </a:r>
          </a:p>
          <a:p>
            <a:pPr marL="92075" marR="140323" indent="-92075">
              <a:spcBef>
                <a:spcPts val="445"/>
              </a:spcBef>
              <a:buAutoNum type="arabicPeriod" startAt="33"/>
              <a:tabLst>
                <a:tab pos="182563" algn="l"/>
              </a:tabLst>
            </a:pPr>
            <a:r>
              <a:rPr lang="en-US" sz="600" spc="-20" dirty="0">
                <a:solidFill>
                  <a:srgbClr val="757982"/>
                </a:solidFill>
                <a:latin typeface="Neue Frutiger World" panose="020B0603040304020203" pitchFamily="34" charset="0"/>
                <a:cs typeface="Neue Frutiger World" panose="020B0603040304020203" pitchFamily="34" charset="0"/>
              </a:rPr>
              <a:t>Saskia Ludwig et al. Incidence and costs of cardiac device infections: retrospective analysis using German health claims data. Pub Med PMID: 29132224 DOI: 10.2217/cer-2017-0080</a:t>
            </a:r>
          </a:p>
          <a:p>
            <a:pPr marL="92075" marR="140323" indent="-92075">
              <a:spcBef>
                <a:spcPts val="445"/>
              </a:spcBef>
              <a:buAutoNum type="arabicPeriod" startAt="33"/>
              <a:tabLst>
                <a:tab pos="182563" algn="l"/>
              </a:tabLst>
            </a:pPr>
            <a:r>
              <a:rPr lang="en-US" sz="600" spc="-20" dirty="0">
                <a:solidFill>
                  <a:srgbClr val="757982"/>
                </a:solidFill>
                <a:latin typeface="Neue Frutiger World" panose="020B0603040304020203" pitchFamily="34" charset="0"/>
                <a:cs typeface="Neue Frutiger World" panose="020B0603040304020203" pitchFamily="34" charset="0"/>
              </a:rPr>
              <a:t>Cle´menty et al. Retrospective analysis using medico-administrative hospital discharge database. 2018.</a:t>
            </a:r>
          </a:p>
          <a:p>
            <a:pPr marL="92075" marR="140323" indent="-92075">
              <a:spcBef>
                <a:spcPts val="445"/>
              </a:spcBef>
              <a:buAutoNum type="arabicPeriod" startAt="33"/>
              <a:tabLst>
                <a:tab pos="182563" algn="l"/>
              </a:tabLst>
            </a:pPr>
            <a:r>
              <a:rPr lang="en-US" sz="600" spc="-20" dirty="0">
                <a:solidFill>
                  <a:srgbClr val="757982"/>
                </a:solidFill>
                <a:latin typeface="Neue Frutiger World" panose="020B0603040304020203" pitchFamily="34" charset="0"/>
                <a:cs typeface="Neue Frutiger World" panose="020B0603040304020203" pitchFamily="34" charset="0"/>
              </a:rPr>
              <a:t>Egea et al. Cost analysis based on Delphi panel results on health resource utilization associated with the management of chronic pacemaker complications at the hospital level. 2018. </a:t>
            </a:r>
          </a:p>
          <a:p>
            <a:pPr marL="92075" marR="140323" indent="-92075">
              <a:spcBef>
                <a:spcPts val="445"/>
              </a:spcBef>
              <a:buAutoNum type="arabicPeriod" startAt="33"/>
              <a:tabLst>
                <a:tab pos="182563" algn="l"/>
              </a:tabLst>
            </a:pPr>
            <a:r>
              <a:rPr lang="en-US" sz="600" spc="-20" dirty="0">
                <a:solidFill>
                  <a:srgbClr val="757982"/>
                </a:solidFill>
                <a:latin typeface="Neue Frutiger World" panose="020B0603040304020203" pitchFamily="34" charset="0"/>
                <a:cs typeface="Neue Frutiger World" panose="020B0603040304020203" pitchFamily="34" charset="0"/>
              </a:rPr>
              <a:t>Brough et al. Retrospective, patient level service line analysis of a single UK extraction centre, during a complete financial year. 2018.</a:t>
            </a:r>
          </a:p>
          <a:p>
            <a:pPr marL="92075" marR="140323" indent="-92075">
              <a:spcBef>
                <a:spcPts val="445"/>
              </a:spcBef>
              <a:buAutoNum type="arabicPeriod" startAt="33"/>
              <a:tabLst>
                <a:tab pos="182563" algn="l"/>
              </a:tabLst>
            </a:pPr>
            <a:r>
              <a:rPr lang="en-US" sz="600" spc="-20" dirty="0">
                <a:solidFill>
                  <a:srgbClr val="757982"/>
                </a:solidFill>
                <a:latin typeface="Neue Frutiger World" panose="020B0603040304020203" pitchFamily="34" charset="0"/>
                <a:cs typeface="Neue Frutiger World" panose="020B0603040304020203" pitchFamily="34" charset="0"/>
              </a:rPr>
              <a:t>Diemberger et al. The “Subtle” connection between development of cardiac implantable electrical device infection and survival after complete system removal: An observational prospective multicenter study. International Journal of Cardiology Volume 250, 1 January 2018, Pages 146-149, </a:t>
            </a:r>
            <a:r>
              <a:rPr lang="en-US" sz="600" spc="-20" dirty="0">
                <a:solidFill>
                  <a:srgbClr val="757982"/>
                </a:solidFill>
                <a:latin typeface="Neue Frutiger World" panose="020B0603040304020203" pitchFamily="34" charset="0"/>
                <a:cs typeface="Neue Frutiger World" panose="020B0603040304020203" pitchFamily="34" charset="0"/>
                <a:hlinkClick r:id="rId4">
                  <a:extLst>
                    <a:ext uri="{A12FA001-AC4F-418D-AE19-62706E023703}">
                      <ahyp:hlinkClr xmlns:ahyp="http://schemas.microsoft.com/office/drawing/2018/hyperlinkcolor" val="tx"/>
                    </a:ext>
                  </a:extLst>
                </a:hlinkClick>
              </a:rPr>
              <a:t>https://doi.org/10.1016/j.ijcard.2017.07.061</a:t>
            </a:r>
            <a:endParaRPr lang="en-US" sz="600" spc="-20" dirty="0">
              <a:solidFill>
                <a:srgbClr val="757982"/>
              </a:solidFill>
              <a:latin typeface="Neue Frutiger World" panose="020B0603040304020203" pitchFamily="34" charset="0"/>
              <a:cs typeface="Neue Frutiger World" panose="020B0603040304020203" pitchFamily="34" charset="0"/>
            </a:endParaRPr>
          </a:p>
        </p:txBody>
      </p:sp>
      <p:sp>
        <p:nvSpPr>
          <p:cNvPr id="9" name="Title 1">
            <a:extLst>
              <a:ext uri="{FF2B5EF4-FFF2-40B4-BE49-F238E27FC236}">
                <a16:creationId xmlns:a16="http://schemas.microsoft.com/office/drawing/2014/main" id="{E0152287-BC11-4F8B-967A-5D1DE4B9DB92}"/>
              </a:ext>
            </a:extLst>
          </p:cNvPr>
          <p:cNvSpPr>
            <a:spLocks noGrp="1"/>
          </p:cNvSpPr>
          <p:nvPr>
            <p:ph type="title"/>
          </p:nvPr>
        </p:nvSpPr>
        <p:spPr>
          <a:xfrm>
            <a:off x="107900" y="51470"/>
            <a:ext cx="6480324" cy="395311"/>
          </a:xfrm>
        </p:spPr>
        <p:txBody>
          <a:bodyPr/>
          <a:lstStyle/>
          <a:p>
            <a:r>
              <a:rPr lang="en-GB" noProof="0" dirty="0">
                <a:latin typeface="Neue Frutiger World" panose="020B0603040304020203" pitchFamily="34" charset="0"/>
                <a:cs typeface="Neue Frutiger World" panose="020B0603040304020203" pitchFamily="34" charset="0"/>
              </a:rPr>
              <a:t>References</a:t>
            </a:r>
          </a:p>
        </p:txBody>
      </p:sp>
    </p:spTree>
    <p:extLst>
      <p:ext uri="{BB962C8B-B14F-4D97-AF65-F5344CB8AC3E}">
        <p14:creationId xmlns:p14="http://schemas.microsoft.com/office/powerpoint/2010/main" val="373053155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custData r:id="rId1"/>
      <p:custData r:id="rId2"/>
    </p:custDataLst>
    <p:extLst>
      <p:ext uri="{BB962C8B-B14F-4D97-AF65-F5344CB8AC3E}">
        <p14:creationId xmlns:p14="http://schemas.microsoft.com/office/powerpoint/2010/main" val="265054127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E8BC0-61E9-489B-A3CF-988E75536E1C}"/>
              </a:ext>
            </a:extLst>
          </p:cNvPr>
          <p:cNvSpPr>
            <a:spLocks noGrp="1"/>
          </p:cNvSpPr>
          <p:nvPr>
            <p:ph type="title"/>
          </p:nvPr>
        </p:nvSpPr>
        <p:spPr/>
        <p:txBody>
          <a:bodyPr/>
          <a:lstStyle/>
          <a:p>
            <a:r>
              <a:rPr lang="en-GB" sz="2200" spc="15" noProof="0" dirty="0">
                <a:latin typeface="Neue Frutiger World" panose="020B0603040304020203" pitchFamily="34" charset="0"/>
                <a:cs typeface="Neue Frutiger World" panose="020B0603040304020203" pitchFamily="34" charset="0"/>
              </a:rPr>
              <a:t>Key</a:t>
            </a:r>
            <a:r>
              <a:rPr lang="en-GB" sz="2200" spc="-90" noProof="0" dirty="0">
                <a:latin typeface="Neue Frutiger World" panose="020B0603040304020203" pitchFamily="34" charset="0"/>
                <a:cs typeface="Neue Frutiger World" panose="020B0603040304020203" pitchFamily="34" charset="0"/>
              </a:rPr>
              <a:t> </a:t>
            </a:r>
            <a:r>
              <a:rPr lang="en-GB" sz="2200" noProof="0" dirty="0">
                <a:latin typeface="Neue Frutiger World" panose="020B0603040304020203" pitchFamily="34" charset="0"/>
                <a:cs typeface="Neue Frutiger World" panose="020B0603040304020203" pitchFamily="34" charset="0"/>
              </a:rPr>
              <a:t>messages</a:t>
            </a:r>
          </a:p>
        </p:txBody>
      </p:sp>
      <p:sp>
        <p:nvSpPr>
          <p:cNvPr id="4" name="Slide Number Placeholder 3">
            <a:extLst>
              <a:ext uri="{FF2B5EF4-FFF2-40B4-BE49-F238E27FC236}">
                <a16:creationId xmlns:a16="http://schemas.microsoft.com/office/drawing/2014/main" id="{D3C07BC8-B51C-43FB-9474-9CD5196BD3B1}"/>
              </a:ext>
            </a:extLst>
          </p:cNvPr>
          <p:cNvSpPr>
            <a:spLocks noGrp="1"/>
          </p:cNvSpPr>
          <p:nvPr>
            <p:ph type="sldNum" sz="quarter" idx="18"/>
          </p:nvPr>
        </p:nvSpPr>
        <p:spPr>
          <a:xfrm>
            <a:off x="7971510" y="4861235"/>
            <a:ext cx="199973" cy="150200"/>
          </a:xfrm>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3</a:t>
            </a:fld>
            <a:endParaRPr lang="en-US" noProof="0" dirty="0">
              <a:latin typeface="Neue Frutiger World" panose="020B0603040304020203" pitchFamily="34" charset="0"/>
              <a:cs typeface="Neue Frutiger World" panose="020B0603040304020203" pitchFamily="34" charset="0"/>
            </a:endParaRPr>
          </a:p>
        </p:txBody>
      </p:sp>
      <p:sp>
        <p:nvSpPr>
          <p:cNvPr id="5" name="Text Placeholder 4">
            <a:extLst>
              <a:ext uri="{FF2B5EF4-FFF2-40B4-BE49-F238E27FC236}">
                <a16:creationId xmlns:a16="http://schemas.microsoft.com/office/drawing/2014/main" id="{55607261-0B6B-466A-A64B-E140F4EEB8AF}"/>
              </a:ext>
            </a:extLst>
          </p:cNvPr>
          <p:cNvSpPr>
            <a:spLocks noGrp="1"/>
          </p:cNvSpPr>
          <p:nvPr>
            <p:ph type="body" sz="quarter" idx="14"/>
          </p:nvPr>
        </p:nvSpPr>
        <p:spPr>
          <a:xfrm>
            <a:off x="1358748" y="771550"/>
            <a:ext cx="4428099" cy="1728192"/>
          </a:xfrm>
        </p:spPr>
        <p:txBody>
          <a:bodyPr/>
          <a:lstStyle/>
          <a:p>
            <a:pPr marL="139688" marR="112386" indent="-101592">
              <a:spcBef>
                <a:spcPts val="60"/>
              </a:spcBef>
              <a:buFont typeface="CentraleSans Book"/>
              <a:buChar char="•"/>
              <a:tabLst>
                <a:tab pos="139688" algn="l"/>
              </a:tabLst>
            </a:pPr>
            <a:r>
              <a:rPr lang="en-GB" sz="800" b="1" spc="10" noProof="0" dirty="0">
                <a:solidFill>
                  <a:srgbClr val="231F20"/>
                </a:solidFill>
                <a:latin typeface="Neue Frutiger World" panose="020B0603040304020203" pitchFamily="34" charset="0"/>
                <a:cs typeface="Neue Frutiger World" panose="020B0603040304020203" pitchFamily="34" charset="0"/>
              </a:rPr>
              <a:t>CIED</a:t>
            </a:r>
            <a:r>
              <a:rPr lang="en-GB" sz="800" b="1" spc="20"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infection</a:t>
            </a:r>
            <a:r>
              <a:rPr lang="en-GB" sz="800" b="1" spc="20"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is</a:t>
            </a:r>
            <a:r>
              <a:rPr lang="en-GB" sz="800" b="1" spc="25" noProof="0" dirty="0">
                <a:solidFill>
                  <a:srgbClr val="231F20"/>
                </a:solidFill>
                <a:latin typeface="Neue Frutiger World" panose="020B0603040304020203" pitchFamily="34" charset="0"/>
                <a:cs typeface="Neue Frutiger World" panose="020B0603040304020203" pitchFamily="34" charset="0"/>
              </a:rPr>
              <a:t> </a:t>
            </a:r>
            <a:r>
              <a:rPr lang="en-GB" sz="800" b="1" noProof="0" dirty="0">
                <a:solidFill>
                  <a:srgbClr val="231F20"/>
                </a:solidFill>
                <a:latin typeface="Neue Frutiger World" panose="020B0603040304020203" pitchFamily="34" charset="0"/>
                <a:cs typeface="Neue Frutiger World" panose="020B0603040304020203" pitchFamily="34" charset="0"/>
              </a:rPr>
              <a:t>a</a:t>
            </a:r>
            <a:r>
              <a:rPr lang="en-GB" sz="800" b="1" spc="20" noProof="0" dirty="0">
                <a:solidFill>
                  <a:srgbClr val="231F20"/>
                </a:solidFill>
                <a:latin typeface="Neue Frutiger World" panose="020B0603040304020203" pitchFamily="34" charset="0"/>
                <a:cs typeface="Neue Frutiger World" panose="020B0603040304020203" pitchFamily="34" charset="0"/>
              </a:rPr>
              <a:t> </a:t>
            </a:r>
            <a:r>
              <a:rPr lang="en-GB" sz="800" b="1" noProof="0" dirty="0">
                <a:solidFill>
                  <a:srgbClr val="231F20"/>
                </a:solidFill>
                <a:latin typeface="Neue Frutiger World" panose="020B0603040304020203" pitchFamily="34" charset="0"/>
                <a:cs typeface="Neue Frutiger World" panose="020B0603040304020203" pitchFamily="34" charset="0"/>
              </a:rPr>
              <a:t>Class</a:t>
            </a:r>
            <a:r>
              <a:rPr lang="en-GB" sz="800" b="1" spc="20" noProof="0" dirty="0">
                <a:solidFill>
                  <a:srgbClr val="231F20"/>
                </a:solidFill>
                <a:latin typeface="Neue Frutiger World" panose="020B0603040304020203" pitchFamily="34" charset="0"/>
                <a:cs typeface="Neue Frutiger World" panose="020B0603040304020203" pitchFamily="34" charset="0"/>
              </a:rPr>
              <a:t> </a:t>
            </a:r>
            <a:r>
              <a:rPr lang="en-GB" sz="800" b="1" spc="10" noProof="0" dirty="0">
                <a:solidFill>
                  <a:srgbClr val="231F20"/>
                </a:solidFill>
                <a:latin typeface="Neue Frutiger World" panose="020B0603040304020203" pitchFamily="34" charset="0"/>
                <a:cs typeface="Neue Frutiger World" panose="020B0603040304020203" pitchFamily="34" charset="0"/>
              </a:rPr>
              <a:t>I</a:t>
            </a:r>
            <a:r>
              <a:rPr lang="en-GB" sz="800" b="1" spc="25"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indication</a:t>
            </a:r>
            <a:r>
              <a:rPr lang="en-GB" sz="800" b="1" spc="10"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for</a:t>
            </a:r>
            <a:r>
              <a:rPr lang="en-GB" sz="800" b="1" spc="5" noProof="0" dirty="0">
                <a:solidFill>
                  <a:srgbClr val="231F20"/>
                </a:solidFill>
                <a:latin typeface="Neue Frutiger World" panose="020B0603040304020203" pitchFamily="34" charset="0"/>
                <a:cs typeface="Neue Frutiger World" panose="020B0603040304020203" pitchFamily="34" charset="0"/>
              </a:rPr>
              <a:t> </a:t>
            </a:r>
            <a:r>
              <a:rPr lang="en-GB" sz="800" b="1" spc="-10" noProof="0" dirty="0">
                <a:solidFill>
                  <a:srgbClr val="231F20"/>
                </a:solidFill>
                <a:latin typeface="Neue Frutiger World" panose="020B0603040304020203" pitchFamily="34" charset="0"/>
                <a:cs typeface="Neue Frutiger World" panose="020B0603040304020203" pitchFamily="34" charset="0"/>
              </a:rPr>
              <a:t>complete</a:t>
            </a:r>
            <a:r>
              <a:rPr lang="en-GB" sz="800" b="1" spc="25"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system</a:t>
            </a:r>
            <a:r>
              <a:rPr lang="en-GB" sz="800" b="1" spc="20"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removal</a:t>
            </a:r>
            <a:r>
              <a:rPr lang="en-GB" sz="800" b="1" spc="20" noProof="0" dirty="0">
                <a:solidFill>
                  <a:srgbClr val="231F20"/>
                </a:solidFill>
                <a:latin typeface="Neue Frutiger World" panose="020B0603040304020203" pitchFamily="34" charset="0"/>
                <a:cs typeface="Neue Frutiger World" panose="020B0603040304020203" pitchFamily="34" charset="0"/>
              </a:rPr>
              <a:t>. Despite publications of several consensus papers, major gaps in knowledge and insufficient adherence to guidelines remain a serious challenge</a:t>
            </a:r>
            <a:r>
              <a:rPr lang="en-GB" sz="800" b="1" spc="20" baseline="30000" noProof="0" dirty="0">
                <a:solidFill>
                  <a:srgbClr val="231F20"/>
                </a:solidFill>
                <a:latin typeface="Neue Frutiger World" panose="020B0603040304020203" pitchFamily="34" charset="0"/>
                <a:cs typeface="Neue Frutiger World" panose="020B0603040304020203" pitchFamily="34" charset="0"/>
              </a:rPr>
              <a:t>16</a:t>
            </a:r>
            <a:endParaRPr lang="en-GB" sz="800" b="1" spc="20" noProof="0" dirty="0">
              <a:solidFill>
                <a:srgbClr val="FF0000"/>
              </a:solidFill>
              <a:latin typeface="Neue Frutiger World" panose="020B0603040304020203" pitchFamily="34" charset="0"/>
              <a:cs typeface="Neue Frutiger World" panose="020B0603040304020203" pitchFamily="34" charset="0"/>
            </a:endParaRPr>
          </a:p>
          <a:p>
            <a:pPr marL="139688" marR="434304" indent="-101592">
              <a:spcBef>
                <a:spcPts val="450"/>
              </a:spcBef>
              <a:buFont typeface="CentraleSans Book"/>
              <a:buChar char="•"/>
              <a:tabLst>
                <a:tab pos="139688" algn="l"/>
              </a:tabLst>
            </a:pPr>
            <a:r>
              <a:rPr lang="en-GB" sz="800" b="1" spc="-10" noProof="0" dirty="0">
                <a:solidFill>
                  <a:srgbClr val="231F20"/>
                </a:solidFill>
                <a:latin typeface="Neue Frutiger World" panose="020B0603040304020203" pitchFamily="34" charset="0"/>
                <a:cs typeface="Neue Frutiger World" panose="020B0603040304020203" pitchFamily="34" charset="0"/>
              </a:rPr>
              <a:t>Mortality and Major Adverse Events (MAE’s) are at significantly higher risk for device infection patients.</a:t>
            </a:r>
            <a:r>
              <a:rPr lang="en-GB" sz="800" b="1" spc="-10" baseline="30000" noProof="0" dirty="0">
                <a:solidFill>
                  <a:srgbClr val="231F20"/>
                </a:solidFill>
                <a:latin typeface="Neue Frutiger World" panose="020B0603040304020203" pitchFamily="34" charset="0"/>
                <a:cs typeface="Neue Frutiger World" panose="020B0603040304020203" pitchFamily="34" charset="0"/>
              </a:rPr>
              <a:t>12, 18, 28, 42</a:t>
            </a:r>
            <a:r>
              <a:rPr lang="en-GB" sz="800" b="1" spc="-10" noProof="0" dirty="0">
                <a:solidFill>
                  <a:srgbClr val="231F20"/>
                </a:solidFill>
                <a:latin typeface="Neue Frutiger World" panose="020B0603040304020203" pitchFamily="34" charset="0"/>
                <a:cs typeface="Neue Frutiger World" panose="020B0603040304020203" pitchFamily="34" charset="0"/>
              </a:rPr>
              <a:t> </a:t>
            </a:r>
            <a:endParaRPr lang="en-GB" sz="800" b="1" baseline="30864" noProof="0" dirty="0">
              <a:solidFill>
                <a:srgbClr val="FF0000"/>
              </a:solidFill>
              <a:latin typeface="Neue Frutiger World" panose="020B0603040304020203" pitchFamily="34" charset="0"/>
              <a:cs typeface="Neue Frutiger World" panose="020B0603040304020203" pitchFamily="34" charset="0"/>
            </a:endParaRPr>
          </a:p>
          <a:p>
            <a:pPr marL="266700" marR="73019" lvl="1" indent="-125413">
              <a:spcBef>
                <a:spcPts val="229"/>
              </a:spcBef>
              <a:buFont typeface="Trebuchet MS"/>
              <a:buChar char="–"/>
              <a:tabLst>
                <a:tab pos="266700" algn="l"/>
              </a:tabLst>
            </a:pPr>
            <a:r>
              <a:rPr lang="en-GB" sz="800" spc="-5" noProof="0" dirty="0">
                <a:solidFill>
                  <a:srgbClr val="231F20"/>
                </a:solidFill>
                <a:latin typeface="Neue Frutiger World" panose="020B0603040304020203" pitchFamily="34" charset="0"/>
                <a:cs typeface="Neue Frutiger World" panose="020B0603040304020203" pitchFamily="34" charset="0"/>
              </a:rPr>
              <a:t>Infection in extraction patients leads to higher MAE’s and higher mortality, in one study 30-day mortality was 4.0% vs 0.2% for non-infected patients</a:t>
            </a:r>
            <a:r>
              <a:rPr lang="en-GB" sz="800" spc="-5" baseline="30000" noProof="0" dirty="0">
                <a:solidFill>
                  <a:srgbClr val="231F20"/>
                </a:solidFill>
                <a:latin typeface="Neue Frutiger World" panose="020B0603040304020203" pitchFamily="34" charset="0"/>
                <a:cs typeface="Neue Frutiger World" panose="020B0603040304020203" pitchFamily="34" charset="0"/>
              </a:rPr>
              <a:t>12</a:t>
            </a:r>
            <a:endParaRPr lang="en-GB" sz="800" spc="-5" noProof="0" dirty="0">
              <a:solidFill>
                <a:srgbClr val="FF0000"/>
              </a:solidFill>
              <a:latin typeface="Neue Frutiger World" panose="020B0603040304020203" pitchFamily="34" charset="0"/>
              <a:cs typeface="Neue Frutiger World" panose="020B0603040304020203" pitchFamily="34" charset="0"/>
            </a:endParaRPr>
          </a:p>
          <a:p>
            <a:pPr marL="266700" marR="73019" lvl="1" indent="-125413">
              <a:spcBef>
                <a:spcPts val="229"/>
              </a:spcBef>
              <a:buFont typeface="Trebuchet MS"/>
              <a:buChar char="–"/>
              <a:tabLst>
                <a:tab pos="266700" algn="l"/>
              </a:tabLst>
            </a:pPr>
            <a:r>
              <a:rPr lang="en-GB" sz="800" spc="-5" noProof="0" dirty="0">
                <a:solidFill>
                  <a:srgbClr val="231F20"/>
                </a:solidFill>
                <a:latin typeface="Neue Frutiger World" panose="020B0603040304020203" pitchFamily="34" charset="0"/>
                <a:cs typeface="Neue Frutiger World" panose="020B0603040304020203" pitchFamily="34" charset="0"/>
              </a:rPr>
              <a:t>The cost associated with extraction will increase over time and increases significantly with more complex devices</a:t>
            </a:r>
            <a:r>
              <a:rPr lang="en-GB" sz="800" spc="-5" baseline="30000" noProof="0" dirty="0">
                <a:solidFill>
                  <a:srgbClr val="231F20"/>
                </a:solidFill>
                <a:latin typeface="Neue Frutiger World" panose="020B0603040304020203" pitchFamily="34" charset="0"/>
                <a:cs typeface="Neue Frutiger World" panose="020B0603040304020203" pitchFamily="34" charset="0"/>
              </a:rPr>
              <a:t>7, 19, 32, 37, 38, 39, 32</a:t>
            </a:r>
            <a:endParaRPr lang="en-GB" sz="800" spc="-5" noProof="0" dirty="0">
              <a:solidFill>
                <a:srgbClr val="FF0000"/>
              </a:solidFill>
              <a:latin typeface="Neue Frutiger World" panose="020B0603040304020203" pitchFamily="34" charset="0"/>
              <a:cs typeface="Neue Frutiger World" panose="020B0603040304020203" pitchFamily="34" charset="0"/>
            </a:endParaRPr>
          </a:p>
          <a:p>
            <a:pPr marL="266700" marR="73019" lvl="1" indent="-125413">
              <a:spcBef>
                <a:spcPts val="229"/>
              </a:spcBef>
              <a:buFont typeface="Trebuchet MS"/>
              <a:buChar char="–"/>
              <a:tabLst>
                <a:tab pos="266700" algn="l"/>
              </a:tabLst>
            </a:pPr>
            <a:r>
              <a:rPr lang="en-GB" sz="800" spc="-5" noProof="0" dirty="0">
                <a:solidFill>
                  <a:srgbClr val="231F20"/>
                </a:solidFill>
                <a:latin typeface="Neue Frutiger World" panose="020B0603040304020203" pitchFamily="34" charset="0"/>
                <a:cs typeface="Neue Frutiger World" panose="020B0603040304020203" pitchFamily="34" charset="0"/>
              </a:rPr>
              <a:t>With every reintervention device replacement carries higher risk, in one study mortality rates were 2.1% (30 days), 4.2% (3 months), 8.4% (1 year) and 46.8% (10 years).</a:t>
            </a:r>
            <a:r>
              <a:rPr lang="en-GB" sz="800" spc="-5" baseline="30000" noProof="0" dirty="0">
                <a:solidFill>
                  <a:srgbClr val="231F20"/>
                </a:solidFill>
                <a:latin typeface="Neue Frutiger World" panose="020B0603040304020203" pitchFamily="34" charset="0"/>
                <a:cs typeface="Neue Frutiger World" panose="020B0603040304020203" pitchFamily="34" charset="0"/>
              </a:rPr>
              <a:t>3, 20 </a:t>
            </a:r>
          </a:p>
          <a:p>
            <a:pPr marL="266700" marR="73019" lvl="1" indent="-125413">
              <a:spcBef>
                <a:spcPts val="229"/>
              </a:spcBef>
              <a:buFont typeface="Trebuchet MS"/>
              <a:buChar char="–"/>
              <a:tabLst>
                <a:tab pos="266700" algn="l"/>
              </a:tabLst>
            </a:pPr>
            <a:r>
              <a:rPr lang="en-GB" sz="800" spc="-5" noProof="0" dirty="0">
                <a:solidFill>
                  <a:srgbClr val="231F20"/>
                </a:solidFill>
                <a:latin typeface="Neue Frutiger World" panose="020B0603040304020203" pitchFamily="34" charset="0"/>
                <a:cs typeface="Neue Frutiger World" panose="020B0603040304020203" pitchFamily="34" charset="0"/>
              </a:rPr>
              <a:t>Delayed extraction is a significant cause of complications and mortality. </a:t>
            </a:r>
            <a:r>
              <a:rPr lang="en-GB" sz="800" spc="-5" baseline="30000" noProof="0" dirty="0">
                <a:solidFill>
                  <a:srgbClr val="231F20"/>
                </a:solidFill>
                <a:latin typeface="Neue Frutiger World" panose="020B0603040304020203" pitchFamily="34" charset="0"/>
                <a:cs typeface="Neue Frutiger World" panose="020B0603040304020203" pitchFamily="34" charset="0"/>
              </a:rPr>
              <a:t>19, 22, 24, 27 </a:t>
            </a:r>
            <a:endParaRPr lang="en-GB" sz="800" spc="-5" noProof="0" dirty="0">
              <a:solidFill>
                <a:srgbClr val="FF0000"/>
              </a:solidFill>
              <a:latin typeface="Neue Frutiger World" panose="020B0603040304020203" pitchFamily="34" charset="0"/>
              <a:cs typeface="Neue Frutiger World" panose="020B0603040304020203" pitchFamily="34" charset="0"/>
            </a:endParaRPr>
          </a:p>
          <a:p>
            <a:pPr marL="139688" indent="-101592">
              <a:spcBef>
                <a:spcPts val="490"/>
              </a:spcBef>
              <a:buFont typeface="CentraleSans Book"/>
              <a:buChar char="•"/>
              <a:tabLst>
                <a:tab pos="266700" algn="l"/>
              </a:tabLst>
            </a:pPr>
            <a:r>
              <a:rPr lang="en-GB" sz="800" b="1" spc="5" noProof="0" dirty="0">
                <a:solidFill>
                  <a:srgbClr val="231F20"/>
                </a:solidFill>
                <a:latin typeface="Neue Frutiger World" panose="020B0603040304020203" pitchFamily="34" charset="0"/>
                <a:cs typeface="Neue Frutiger World" panose="020B0603040304020203" pitchFamily="34" charset="0"/>
              </a:rPr>
              <a:t>Many</a:t>
            </a:r>
            <a:r>
              <a:rPr lang="en-GB" sz="800" b="1" spc="-15" noProof="0" dirty="0">
                <a:solidFill>
                  <a:srgbClr val="231F20"/>
                </a:solidFill>
                <a:latin typeface="Neue Frutiger World" panose="020B0603040304020203" pitchFamily="34" charset="0"/>
                <a:cs typeface="Neue Frutiger World" panose="020B0603040304020203" pitchFamily="34" charset="0"/>
              </a:rPr>
              <a:t> </a:t>
            </a:r>
            <a:r>
              <a:rPr lang="en-GB" sz="800" b="1" spc="-10" noProof="0" dirty="0">
                <a:solidFill>
                  <a:srgbClr val="231F20"/>
                </a:solidFill>
                <a:latin typeface="Neue Frutiger World" panose="020B0603040304020203" pitchFamily="34" charset="0"/>
                <a:cs typeface="Neue Frutiger World" panose="020B0603040304020203" pitchFamily="34" charset="0"/>
              </a:rPr>
              <a:t>patients</a:t>
            </a:r>
            <a:r>
              <a:rPr lang="en-GB" sz="800" b="1" spc="15"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are</a:t>
            </a:r>
            <a:r>
              <a:rPr lang="en-GB" sz="800" b="1" spc="10" noProof="0" dirty="0">
                <a:solidFill>
                  <a:srgbClr val="231F20"/>
                </a:solidFill>
                <a:latin typeface="Neue Frutiger World" panose="020B0603040304020203" pitchFamily="34" charset="0"/>
                <a:cs typeface="Neue Frutiger World" panose="020B0603040304020203" pitchFamily="34" charset="0"/>
              </a:rPr>
              <a:t> </a:t>
            </a:r>
            <a:r>
              <a:rPr lang="en-GB" sz="800" b="1" spc="-10" noProof="0" dirty="0">
                <a:solidFill>
                  <a:srgbClr val="231F20"/>
                </a:solidFill>
                <a:latin typeface="Neue Frutiger World" panose="020B0603040304020203" pitchFamily="34" charset="0"/>
                <a:cs typeface="Neue Frutiger World" panose="020B0603040304020203" pitchFamily="34" charset="0"/>
              </a:rPr>
              <a:t>not</a:t>
            </a:r>
            <a:r>
              <a:rPr lang="en-GB" sz="800" b="1" spc="15" noProof="0" dirty="0">
                <a:solidFill>
                  <a:srgbClr val="231F20"/>
                </a:solidFill>
                <a:latin typeface="Neue Frutiger World" panose="020B0603040304020203" pitchFamily="34" charset="0"/>
                <a:cs typeface="Neue Frutiger World" panose="020B0603040304020203" pitchFamily="34" charset="0"/>
              </a:rPr>
              <a:t> </a:t>
            </a:r>
            <a:r>
              <a:rPr lang="en-GB" sz="800" b="1" spc="-10" noProof="0" dirty="0">
                <a:solidFill>
                  <a:srgbClr val="231F20"/>
                </a:solidFill>
                <a:latin typeface="Neue Frutiger World" panose="020B0603040304020203" pitchFamily="34" charset="0"/>
                <a:cs typeface="Neue Frutiger World" panose="020B0603040304020203" pitchFamily="34" charset="0"/>
              </a:rPr>
              <a:t>treated</a:t>
            </a:r>
            <a:r>
              <a:rPr lang="en-GB" sz="800" b="1" spc="15"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appropriately.</a:t>
            </a:r>
            <a:endParaRPr lang="en-GB" sz="800" noProof="0" dirty="0">
              <a:latin typeface="Neue Frutiger World" panose="020B0603040304020203" pitchFamily="34" charset="0"/>
              <a:cs typeface="Neue Frutiger World" panose="020B0603040304020203" pitchFamily="34" charset="0"/>
            </a:endParaRPr>
          </a:p>
          <a:p>
            <a:pPr marL="266700" marR="298425" lvl="1" indent="-125413">
              <a:spcBef>
                <a:spcPts val="235"/>
              </a:spcBef>
              <a:buFont typeface="Trebuchet MS"/>
              <a:buChar char="–"/>
              <a:tabLst>
                <a:tab pos="266700" algn="l"/>
              </a:tabLst>
            </a:pPr>
            <a:r>
              <a:rPr lang="en-GB" sz="800" spc="-10" noProof="0" dirty="0">
                <a:solidFill>
                  <a:srgbClr val="231F20"/>
                </a:solidFill>
                <a:latin typeface="Neue Frutiger World" panose="020B0603040304020203" pitchFamily="34" charset="0"/>
                <a:cs typeface="Neue Frutiger World" panose="020B0603040304020203" pitchFamily="34" charset="0"/>
              </a:rPr>
              <a:t>Mor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an</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6</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in</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10</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patients</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5" noProof="0" dirty="0">
                <a:solidFill>
                  <a:srgbClr val="231F20"/>
                </a:solidFill>
                <a:latin typeface="Neue Frutiger World" panose="020B0603040304020203" pitchFamily="34" charset="0"/>
                <a:cs typeface="Neue Frutiger World" panose="020B0603040304020203" pitchFamily="34" charset="0"/>
              </a:rPr>
              <a:t>suffering</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from</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cardiac</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device</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nfections</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ar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5" noProof="0" dirty="0">
                <a:solidFill>
                  <a:srgbClr val="231F20"/>
                </a:solidFill>
                <a:latin typeface="Neue Frutiger World" panose="020B0603040304020203" pitchFamily="34" charset="0"/>
                <a:cs typeface="Neue Frutiger World" panose="020B0603040304020203" pitchFamily="34" charset="0"/>
              </a:rPr>
              <a:t>treated</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with </a:t>
            </a:r>
            <a:r>
              <a:rPr lang="en-GB" sz="800" spc="-10" noProof="0" dirty="0">
                <a:solidFill>
                  <a:srgbClr val="231F20"/>
                </a:solidFill>
                <a:latin typeface="Neue Frutiger World" panose="020B0603040304020203" pitchFamily="34" charset="0"/>
                <a:cs typeface="Neue Frutiger World" panose="020B0603040304020203" pitchFamily="34" charset="0"/>
              </a:rPr>
              <a:t>antibiotics</a:t>
            </a:r>
            <a:r>
              <a:rPr lang="en-GB" sz="80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only</a:t>
            </a:r>
            <a:r>
              <a:rPr lang="en-GB" sz="800" spc="-2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or</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not</a:t>
            </a:r>
            <a:r>
              <a:rPr lang="en-GB" sz="800" noProof="0" dirty="0">
                <a:solidFill>
                  <a:srgbClr val="231F20"/>
                </a:solidFill>
                <a:latin typeface="Neue Frutiger World" panose="020B0603040304020203" pitchFamily="34" charset="0"/>
                <a:cs typeface="Neue Frutiger World" panose="020B0603040304020203" pitchFamily="34" charset="0"/>
              </a:rPr>
              <a:t> </a:t>
            </a:r>
            <a:r>
              <a:rPr lang="en-GB" sz="800" spc="-15" noProof="0" dirty="0">
                <a:solidFill>
                  <a:srgbClr val="231F20"/>
                </a:solidFill>
                <a:latin typeface="Neue Frutiger World" panose="020B0603040304020203" pitchFamily="34" charset="0"/>
                <a:cs typeface="Neue Frutiger World" panose="020B0603040304020203" pitchFamily="34" charset="0"/>
              </a:rPr>
              <a:t>treated</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5" noProof="0" dirty="0">
                <a:solidFill>
                  <a:srgbClr val="231F20"/>
                </a:solidFill>
                <a:latin typeface="Neue Frutiger World" panose="020B0603040304020203" pitchFamily="34" charset="0"/>
                <a:cs typeface="Neue Frutiger World" panose="020B0603040304020203" pitchFamily="34" charset="0"/>
              </a:rPr>
              <a:t>at</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all.</a:t>
            </a:r>
            <a:r>
              <a:rPr lang="en-GB" sz="800" baseline="30864" noProof="0" dirty="0">
                <a:solidFill>
                  <a:srgbClr val="231F20"/>
                </a:solidFill>
                <a:latin typeface="Neue Frutiger World" panose="020B0603040304020203" pitchFamily="34" charset="0"/>
                <a:cs typeface="Neue Frutiger World" panose="020B0603040304020203" pitchFamily="34" charset="0"/>
              </a:rPr>
              <a:t>26</a:t>
            </a:r>
            <a:endParaRPr lang="en-GB" sz="800" baseline="30864" noProof="0" dirty="0">
              <a:latin typeface="Neue Frutiger World" panose="020B0603040304020203" pitchFamily="34" charset="0"/>
              <a:cs typeface="Neue Frutiger World" panose="020B0603040304020203" pitchFamily="34" charset="0"/>
            </a:endParaRPr>
          </a:p>
          <a:p>
            <a:endParaRPr lang="en-GB" sz="800" noProof="0" dirty="0">
              <a:latin typeface="Neue Frutiger World" panose="020B0603040304020203" pitchFamily="34" charset="0"/>
              <a:cs typeface="Neue Frutiger World" panose="020B0603040304020203" pitchFamily="34" charset="0"/>
            </a:endParaRPr>
          </a:p>
        </p:txBody>
      </p:sp>
      <p:sp>
        <p:nvSpPr>
          <p:cNvPr id="31" name="TextBox 30">
            <a:extLst>
              <a:ext uri="{FF2B5EF4-FFF2-40B4-BE49-F238E27FC236}">
                <a16:creationId xmlns:a16="http://schemas.microsoft.com/office/drawing/2014/main" id="{39E50832-7365-4EAF-A2CE-83434801066B}"/>
              </a:ext>
            </a:extLst>
          </p:cNvPr>
          <p:cNvSpPr txBox="1"/>
          <p:nvPr/>
        </p:nvSpPr>
        <p:spPr>
          <a:xfrm>
            <a:off x="1264002" y="2906360"/>
            <a:ext cx="7663992" cy="2192908"/>
          </a:xfrm>
          <a:prstGeom prst="rect">
            <a:avLst/>
          </a:prstGeom>
          <a:noFill/>
        </p:spPr>
        <p:txBody>
          <a:bodyPr wrap="square" rtlCol="0">
            <a:spAutoFit/>
          </a:bodyPr>
          <a:lstStyle/>
          <a:p>
            <a:pPr marL="139688" indent="-101592">
              <a:spcBef>
                <a:spcPts val="490"/>
              </a:spcBef>
              <a:buFont typeface="CentraleSans Book"/>
              <a:buChar char="•"/>
              <a:tabLst>
                <a:tab pos="266700" algn="l"/>
              </a:tabLst>
            </a:pPr>
            <a:r>
              <a:rPr lang="en-US" sz="800" b="1" spc="-5" dirty="0">
                <a:solidFill>
                  <a:srgbClr val="231F20"/>
                </a:solidFill>
                <a:latin typeface="Neue Frutiger World" panose="020B0603040304020203" pitchFamily="34" charset="0"/>
                <a:cs typeface="Neue Frutiger World" panose="020B0603040304020203" pitchFamily="34" charset="0"/>
              </a:rPr>
              <a:t>Antibiotics</a:t>
            </a:r>
            <a:r>
              <a:rPr lang="en-US" sz="800" b="1" spc="10" dirty="0">
                <a:solidFill>
                  <a:srgbClr val="231F20"/>
                </a:solidFill>
                <a:latin typeface="Neue Frutiger World" panose="020B0603040304020203" pitchFamily="34" charset="0"/>
                <a:cs typeface="Neue Frutiger World" panose="020B0603040304020203" pitchFamily="34" charset="0"/>
              </a:rPr>
              <a:t> </a:t>
            </a:r>
            <a:r>
              <a:rPr lang="en-US" sz="800" b="1" spc="-5" dirty="0">
                <a:solidFill>
                  <a:srgbClr val="231F20"/>
                </a:solidFill>
                <a:latin typeface="Neue Frutiger World" panose="020B0603040304020203" pitchFamily="34" charset="0"/>
                <a:cs typeface="Neue Frutiger World" panose="020B0603040304020203" pitchFamily="34" charset="0"/>
              </a:rPr>
              <a:t>alone</a:t>
            </a:r>
            <a:r>
              <a:rPr lang="en-US" sz="800" b="1" spc="15" dirty="0">
                <a:solidFill>
                  <a:srgbClr val="231F20"/>
                </a:solidFill>
                <a:latin typeface="Neue Frutiger World" panose="020B0603040304020203" pitchFamily="34" charset="0"/>
                <a:cs typeface="Neue Frutiger World" panose="020B0603040304020203" pitchFamily="34" charset="0"/>
              </a:rPr>
              <a:t> </a:t>
            </a:r>
            <a:r>
              <a:rPr lang="en-US" sz="800" b="1" dirty="0">
                <a:solidFill>
                  <a:srgbClr val="231F20"/>
                </a:solidFill>
                <a:latin typeface="Neue Frutiger World" panose="020B0603040304020203" pitchFamily="34" charset="0"/>
                <a:cs typeface="Neue Frutiger World" panose="020B0603040304020203" pitchFamily="34" charset="0"/>
              </a:rPr>
              <a:t>may</a:t>
            </a:r>
            <a:r>
              <a:rPr lang="en-US" sz="800" b="1" spc="-10" dirty="0">
                <a:solidFill>
                  <a:srgbClr val="231F20"/>
                </a:solidFill>
                <a:latin typeface="Neue Frutiger World" panose="020B0603040304020203" pitchFamily="34" charset="0"/>
                <a:cs typeface="Neue Frutiger World" panose="020B0603040304020203" pitchFamily="34" charset="0"/>
              </a:rPr>
              <a:t> </a:t>
            </a:r>
            <a:r>
              <a:rPr lang="en-US" sz="800" b="1" dirty="0">
                <a:solidFill>
                  <a:srgbClr val="231F20"/>
                </a:solidFill>
                <a:latin typeface="Neue Frutiger World" panose="020B0603040304020203" pitchFamily="34" charset="0"/>
                <a:cs typeface="Neue Frutiger World" panose="020B0603040304020203" pitchFamily="34" charset="0"/>
              </a:rPr>
              <a:t>be</a:t>
            </a:r>
            <a:r>
              <a:rPr lang="en-US" sz="800" b="1" spc="10" dirty="0">
                <a:solidFill>
                  <a:srgbClr val="231F20"/>
                </a:solidFill>
                <a:latin typeface="Neue Frutiger World" panose="020B0603040304020203" pitchFamily="34" charset="0"/>
                <a:cs typeface="Neue Frutiger World" panose="020B0603040304020203" pitchFamily="34" charset="0"/>
              </a:rPr>
              <a:t> </a:t>
            </a:r>
            <a:r>
              <a:rPr lang="en-US" sz="800" b="1" spc="-10" dirty="0">
                <a:solidFill>
                  <a:srgbClr val="231F20"/>
                </a:solidFill>
                <a:latin typeface="Neue Frutiger World" panose="020B0603040304020203" pitchFamily="34" charset="0"/>
                <a:cs typeface="Neue Frutiger World" panose="020B0603040304020203" pitchFamily="34" charset="0"/>
              </a:rPr>
              <a:t>ineffective</a:t>
            </a:r>
            <a:r>
              <a:rPr lang="en-US" sz="800" b="1" spc="15" dirty="0">
                <a:solidFill>
                  <a:srgbClr val="231F20"/>
                </a:solidFill>
                <a:latin typeface="Neue Frutiger World" panose="020B0603040304020203" pitchFamily="34" charset="0"/>
                <a:cs typeface="Neue Frutiger World" panose="020B0603040304020203" pitchFamily="34" charset="0"/>
              </a:rPr>
              <a:t> </a:t>
            </a:r>
            <a:r>
              <a:rPr lang="en-US" sz="800" b="1" dirty="0">
                <a:solidFill>
                  <a:srgbClr val="231F20"/>
                </a:solidFill>
                <a:latin typeface="Neue Frutiger World" panose="020B0603040304020203" pitchFamily="34" charset="0"/>
                <a:cs typeface="Neue Frutiger World" panose="020B0603040304020203" pitchFamily="34" charset="0"/>
              </a:rPr>
              <a:t>and</a:t>
            </a:r>
            <a:r>
              <a:rPr lang="en-US" sz="800" b="1" spc="15" dirty="0">
                <a:solidFill>
                  <a:srgbClr val="231F20"/>
                </a:solidFill>
                <a:latin typeface="Neue Frutiger World" panose="020B0603040304020203" pitchFamily="34" charset="0"/>
                <a:cs typeface="Neue Frutiger World" panose="020B0603040304020203" pitchFamily="34" charset="0"/>
              </a:rPr>
              <a:t> </a:t>
            </a:r>
            <a:r>
              <a:rPr lang="en-US" sz="800" b="1" dirty="0">
                <a:solidFill>
                  <a:srgbClr val="231F20"/>
                </a:solidFill>
                <a:latin typeface="Neue Frutiger World" panose="020B0603040304020203" pitchFamily="34" charset="0"/>
                <a:cs typeface="Neue Frutiger World" panose="020B0603040304020203" pitchFamily="34" charset="0"/>
              </a:rPr>
              <a:t>may</a:t>
            </a:r>
            <a:r>
              <a:rPr lang="en-US" sz="800" b="1" spc="-15" dirty="0">
                <a:solidFill>
                  <a:srgbClr val="231F20"/>
                </a:solidFill>
                <a:latin typeface="Neue Frutiger World" panose="020B0603040304020203" pitchFamily="34" charset="0"/>
                <a:cs typeface="Neue Frutiger World" panose="020B0603040304020203" pitchFamily="34" charset="0"/>
              </a:rPr>
              <a:t> </a:t>
            </a:r>
            <a:r>
              <a:rPr lang="en-US" sz="800" b="1" dirty="0">
                <a:solidFill>
                  <a:srgbClr val="231F20"/>
                </a:solidFill>
                <a:latin typeface="Neue Frutiger World" panose="020B0603040304020203" pitchFamily="34" charset="0"/>
                <a:cs typeface="Neue Frutiger World" panose="020B0603040304020203" pitchFamily="34" charset="0"/>
              </a:rPr>
              <a:t>increase</a:t>
            </a:r>
            <a:r>
              <a:rPr lang="en-US" sz="800" b="1" spc="15" dirty="0">
                <a:solidFill>
                  <a:srgbClr val="231F20"/>
                </a:solidFill>
                <a:latin typeface="Neue Frutiger World" panose="020B0603040304020203" pitchFamily="34" charset="0"/>
                <a:cs typeface="Neue Frutiger World" panose="020B0603040304020203" pitchFamily="34" charset="0"/>
              </a:rPr>
              <a:t> </a:t>
            </a:r>
            <a:r>
              <a:rPr lang="en-US" sz="800" b="1" dirty="0">
                <a:solidFill>
                  <a:srgbClr val="231F20"/>
                </a:solidFill>
                <a:latin typeface="Neue Frutiger World" panose="020B0603040304020203" pitchFamily="34" charset="0"/>
                <a:cs typeface="Neue Frutiger World" panose="020B0603040304020203" pitchFamily="34" charset="0"/>
              </a:rPr>
              <a:t>risk.</a:t>
            </a:r>
            <a:endParaRPr lang="en-US" sz="800" dirty="0">
              <a:latin typeface="Neue Frutiger World" panose="020B0603040304020203" pitchFamily="34" charset="0"/>
              <a:cs typeface="Neue Frutiger World" panose="020B0603040304020203" pitchFamily="34" charset="0"/>
            </a:endParaRPr>
          </a:p>
          <a:p>
            <a:pPr marL="266700" marR="124450" lvl="1" indent="-125413">
              <a:spcBef>
                <a:spcPts val="234"/>
              </a:spcBef>
              <a:buFont typeface="Trebuchet MS"/>
              <a:buChar char="–"/>
              <a:tabLst>
                <a:tab pos="266700" algn="l"/>
              </a:tabLst>
            </a:pPr>
            <a:r>
              <a:rPr lang="en-US" sz="800" spc="-5" dirty="0">
                <a:solidFill>
                  <a:srgbClr val="231F20"/>
                </a:solidFill>
                <a:latin typeface="Neue Frutiger World" panose="020B0603040304020203" pitchFamily="34" charset="0"/>
                <a:cs typeface="Neue Frutiger World" panose="020B0603040304020203" pitchFamily="34" charset="0"/>
              </a:rPr>
              <a:t>Infection</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relapse</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occurs</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in</a:t>
            </a:r>
            <a:r>
              <a:rPr lang="en-US" sz="800" spc="5" dirty="0">
                <a:solidFill>
                  <a:srgbClr val="231F20"/>
                </a:solidFill>
                <a:latin typeface="Neue Frutiger World" panose="020B0603040304020203" pitchFamily="34" charset="0"/>
                <a:cs typeface="Neue Frutiger World" panose="020B0603040304020203" pitchFamily="34" charset="0"/>
              </a:rPr>
              <a:t> 50%</a:t>
            </a:r>
            <a:r>
              <a:rPr lang="en-US" sz="800" dirty="0">
                <a:solidFill>
                  <a:srgbClr val="231F20"/>
                </a:solidFill>
                <a:latin typeface="Neue Frutiger World" panose="020B0603040304020203" pitchFamily="34" charset="0"/>
                <a:cs typeface="Neue Frutiger World" panose="020B0603040304020203" pitchFamily="34" charset="0"/>
              </a:rPr>
              <a:t> </a:t>
            </a:r>
            <a:r>
              <a:rPr lang="en-US" sz="800" spc="-20" dirty="0">
                <a:solidFill>
                  <a:srgbClr val="231F20"/>
                </a:solidFill>
                <a:latin typeface="Neue Frutiger World" panose="020B0603040304020203" pitchFamily="34" charset="0"/>
                <a:cs typeface="Neue Frutiger World" panose="020B0603040304020203" pitchFamily="34" charset="0"/>
              </a:rPr>
              <a:t>to</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100% </a:t>
            </a:r>
            <a:r>
              <a:rPr lang="en-US" sz="800" dirty="0">
                <a:solidFill>
                  <a:srgbClr val="231F20"/>
                </a:solidFill>
                <a:latin typeface="Neue Frutiger World" panose="020B0603040304020203" pitchFamily="34" charset="0"/>
                <a:cs typeface="Neue Frutiger World" panose="020B0603040304020203" pitchFamily="34" charset="0"/>
              </a:rPr>
              <a:t>of</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cases</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with</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partial</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removal</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or</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antibiotic </a:t>
            </a:r>
            <a:r>
              <a:rPr lang="en-US" sz="800" spc="-15" dirty="0">
                <a:solidFill>
                  <a:srgbClr val="231F20"/>
                </a:solidFill>
                <a:latin typeface="Neue Frutiger World" panose="020B0603040304020203" pitchFamily="34" charset="0"/>
                <a:cs typeface="Neue Frutiger World" panose="020B0603040304020203" pitchFamily="34" charset="0"/>
              </a:rPr>
              <a:t>treatment</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alone,</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compared</a:t>
            </a:r>
            <a:r>
              <a:rPr lang="en-US" sz="800" dirty="0">
                <a:solidFill>
                  <a:srgbClr val="231F20"/>
                </a:solidFill>
                <a:latin typeface="Neue Frutiger World" panose="020B0603040304020203" pitchFamily="34" charset="0"/>
                <a:cs typeface="Neue Frutiger World" panose="020B0603040304020203" pitchFamily="34" charset="0"/>
              </a:rPr>
              <a:t> </a:t>
            </a:r>
            <a:r>
              <a:rPr lang="en-US" sz="800" spc="-20" dirty="0">
                <a:solidFill>
                  <a:srgbClr val="231F20"/>
                </a:solidFill>
                <a:latin typeface="Neue Frutiger World" panose="020B0603040304020203" pitchFamily="34" charset="0"/>
                <a:cs typeface="Neue Frutiger World" panose="020B0603040304020203" pitchFamily="34" charset="0"/>
              </a:rPr>
              <a:t>to</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relapse</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of</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0%</a:t>
            </a:r>
            <a:r>
              <a:rPr lang="en-US" sz="800" dirty="0">
                <a:solidFill>
                  <a:srgbClr val="231F20"/>
                </a:solidFill>
                <a:latin typeface="Neue Frutiger World" panose="020B0603040304020203" pitchFamily="34" charset="0"/>
                <a:cs typeface="Neue Frutiger World" panose="020B0603040304020203" pitchFamily="34" charset="0"/>
              </a:rPr>
              <a:t> </a:t>
            </a:r>
            <a:r>
              <a:rPr lang="en-US" sz="800" spc="-20" dirty="0">
                <a:solidFill>
                  <a:srgbClr val="231F20"/>
                </a:solidFill>
                <a:latin typeface="Neue Frutiger World" panose="020B0603040304020203" pitchFamily="34" charset="0"/>
                <a:cs typeface="Neue Frutiger World" panose="020B0603040304020203" pitchFamily="34" charset="0"/>
              </a:rPr>
              <a:t>to</a:t>
            </a:r>
            <a:r>
              <a:rPr lang="en-US" sz="800" spc="5" dirty="0">
                <a:solidFill>
                  <a:srgbClr val="231F20"/>
                </a:solidFill>
                <a:latin typeface="Neue Frutiger World" panose="020B0603040304020203" pitchFamily="34" charset="0"/>
                <a:cs typeface="Neue Frutiger World" panose="020B0603040304020203" pitchFamily="34" charset="0"/>
              </a:rPr>
              <a:t> 4.2%</a:t>
            </a:r>
            <a:r>
              <a:rPr lang="en-US" sz="800" spc="-2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with</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complete</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system</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removal.</a:t>
            </a:r>
            <a:r>
              <a:rPr lang="en-US" sz="800" baseline="30864" dirty="0">
                <a:solidFill>
                  <a:srgbClr val="231F20"/>
                </a:solidFill>
                <a:latin typeface="Neue Frutiger World" panose="020B0603040304020203" pitchFamily="34" charset="0"/>
                <a:cs typeface="Neue Frutiger World" panose="020B0603040304020203" pitchFamily="34" charset="0"/>
              </a:rPr>
              <a:t>5-9</a:t>
            </a:r>
            <a:endParaRPr lang="en-US" sz="800" baseline="30864" dirty="0">
              <a:latin typeface="Neue Frutiger World" panose="020B0603040304020203" pitchFamily="34" charset="0"/>
              <a:cs typeface="Neue Frutiger World" panose="020B0603040304020203" pitchFamily="34" charset="0"/>
            </a:endParaRPr>
          </a:p>
          <a:p>
            <a:pPr marL="266700" marR="30477" lvl="1" indent="-125413">
              <a:spcBef>
                <a:spcPts val="229"/>
              </a:spcBef>
              <a:buFont typeface="Trebuchet MS"/>
              <a:buChar char="–"/>
              <a:tabLst>
                <a:tab pos="266700" algn="l"/>
              </a:tabLst>
            </a:pPr>
            <a:r>
              <a:rPr lang="en-US" sz="800" spc="-10" dirty="0">
                <a:solidFill>
                  <a:srgbClr val="231F20"/>
                </a:solidFill>
                <a:latin typeface="Neue Frutiger World" panose="020B0603040304020203" pitchFamily="34" charset="0"/>
                <a:cs typeface="Neue Frutiger World" panose="020B0603040304020203" pitchFamily="34" charset="0"/>
              </a:rPr>
              <a:t>Antibiotic</a:t>
            </a:r>
            <a:r>
              <a:rPr lang="en-US" sz="80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therapy</a:t>
            </a:r>
            <a:r>
              <a:rPr lang="en-US" sz="800" spc="-3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without</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device</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removal</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is</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associated</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with</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a</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7-fold</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increase</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in</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30-day </a:t>
            </a:r>
            <a:r>
              <a:rPr lang="en-US" sz="800" spc="-10" dirty="0">
                <a:solidFill>
                  <a:srgbClr val="231F20"/>
                </a:solidFill>
                <a:latin typeface="Neue Frutiger World" panose="020B0603040304020203" pitchFamily="34" charset="0"/>
                <a:cs typeface="Neue Frutiger World" panose="020B0603040304020203" pitchFamily="34" charset="0"/>
              </a:rPr>
              <a:t>mortality.</a:t>
            </a:r>
            <a:r>
              <a:rPr lang="en-US" sz="800" spc="-15" baseline="30864" dirty="0">
                <a:solidFill>
                  <a:srgbClr val="231F20"/>
                </a:solidFill>
                <a:latin typeface="Neue Frutiger World" panose="020B0603040304020203" pitchFamily="34" charset="0"/>
                <a:cs typeface="Neue Frutiger World" panose="020B0603040304020203" pitchFamily="34" charset="0"/>
              </a:rPr>
              <a:t>10</a:t>
            </a:r>
            <a:endParaRPr lang="en-US" sz="800" baseline="30864" dirty="0">
              <a:latin typeface="Neue Frutiger World" panose="020B0603040304020203" pitchFamily="34" charset="0"/>
              <a:cs typeface="Neue Frutiger World" panose="020B0603040304020203" pitchFamily="34" charset="0"/>
            </a:endParaRPr>
          </a:p>
          <a:p>
            <a:pPr marL="266700" marR="159372" lvl="1" indent="-125413">
              <a:spcBef>
                <a:spcPts val="235"/>
              </a:spcBef>
              <a:buFont typeface="Trebuchet MS"/>
              <a:buChar char="–"/>
              <a:tabLst>
                <a:tab pos="266700" algn="l"/>
              </a:tabLst>
            </a:pPr>
            <a:r>
              <a:rPr lang="en-US" sz="800" spc="-5" dirty="0">
                <a:solidFill>
                  <a:srgbClr val="231F20"/>
                </a:solidFill>
                <a:latin typeface="Neue Frutiger World" panose="020B0603040304020203" pitchFamily="34" charset="0"/>
                <a:cs typeface="Neue Frutiger World" panose="020B0603040304020203" pitchFamily="34" charset="0"/>
              </a:rPr>
              <a:t>Immediate</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system</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removal</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is</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associated</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with</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a</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3-fold</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decrease</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in</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1-year</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mortality</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as compared</a:t>
            </a:r>
            <a:r>
              <a:rPr lang="en-US" sz="800" dirty="0">
                <a:solidFill>
                  <a:srgbClr val="231F20"/>
                </a:solidFill>
                <a:latin typeface="Neue Frutiger World" panose="020B0603040304020203" pitchFamily="34" charset="0"/>
                <a:cs typeface="Neue Frutiger World" panose="020B0603040304020203" pitchFamily="34" charset="0"/>
              </a:rPr>
              <a:t> </a:t>
            </a:r>
            <a:r>
              <a:rPr lang="en-US" sz="800" spc="-20" dirty="0">
                <a:solidFill>
                  <a:srgbClr val="231F20"/>
                </a:solidFill>
                <a:latin typeface="Neue Frutiger World" panose="020B0603040304020203" pitchFamily="34" charset="0"/>
                <a:cs typeface="Neue Frutiger World" panose="020B0603040304020203" pitchFamily="34" charset="0"/>
              </a:rPr>
              <a:t>to</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preliminary</a:t>
            </a:r>
            <a:r>
              <a:rPr lang="en-US" sz="800" spc="-2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antibiotic</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5" dirty="0">
                <a:solidFill>
                  <a:srgbClr val="231F20"/>
                </a:solidFill>
                <a:latin typeface="Neue Frutiger World" panose="020B0603040304020203" pitchFamily="34" charset="0"/>
                <a:cs typeface="Neue Frutiger World" panose="020B0603040304020203" pitchFamily="34" charset="0"/>
              </a:rPr>
              <a:t>treatment</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and</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delayed</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system</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removal.</a:t>
            </a:r>
            <a:r>
              <a:rPr lang="en-US" sz="800" spc="-15" baseline="30864" dirty="0">
                <a:solidFill>
                  <a:srgbClr val="231F20"/>
                </a:solidFill>
                <a:latin typeface="Neue Frutiger World" panose="020B0603040304020203" pitchFamily="34" charset="0"/>
                <a:cs typeface="Neue Frutiger World" panose="020B0603040304020203" pitchFamily="34" charset="0"/>
              </a:rPr>
              <a:t>10</a:t>
            </a:r>
            <a:endParaRPr lang="en-US" sz="800" baseline="30864" dirty="0">
              <a:latin typeface="Neue Frutiger World" panose="020B0603040304020203" pitchFamily="34" charset="0"/>
              <a:cs typeface="Neue Frutiger World" panose="020B0603040304020203" pitchFamily="34" charset="0"/>
            </a:endParaRPr>
          </a:p>
          <a:p>
            <a:pPr marL="266700" marR="211436" lvl="1" indent="-125413">
              <a:spcBef>
                <a:spcPts val="235"/>
              </a:spcBef>
              <a:buFont typeface="Trebuchet MS"/>
              <a:buChar char="–"/>
              <a:tabLst>
                <a:tab pos="266700" algn="l"/>
              </a:tabLst>
            </a:pPr>
            <a:r>
              <a:rPr lang="en-US" sz="800" spc="-5" dirty="0">
                <a:solidFill>
                  <a:srgbClr val="231F20"/>
                </a:solidFill>
                <a:latin typeface="Neue Frutiger World" panose="020B0603040304020203" pitchFamily="34" charset="0"/>
                <a:cs typeface="Neue Frutiger World" panose="020B0603040304020203" pitchFamily="34" charset="0"/>
              </a:rPr>
              <a:t>In one study the attempted ‘salvage’ of CIED devices with antibiotics resulted in 58% patients experiencing early infections and extraction. 51% of the remaining group developed late infections.</a:t>
            </a:r>
            <a:r>
              <a:rPr lang="en-US" sz="800" spc="-5" baseline="30000" dirty="0">
                <a:solidFill>
                  <a:srgbClr val="231F20"/>
                </a:solidFill>
                <a:latin typeface="Neue Frutiger World" panose="020B0603040304020203" pitchFamily="34" charset="0"/>
                <a:cs typeface="Neue Frutiger World" panose="020B0603040304020203" pitchFamily="34" charset="0"/>
              </a:rPr>
              <a:t>21 </a:t>
            </a:r>
            <a:r>
              <a:rPr lang="en-US" sz="800" spc="-5" dirty="0">
                <a:solidFill>
                  <a:srgbClr val="231F20"/>
                </a:solidFill>
                <a:latin typeface="Neue Frutiger World" panose="020B0603040304020203" pitchFamily="34" charset="0"/>
                <a:cs typeface="Neue Frutiger World" panose="020B0603040304020203" pitchFamily="34" charset="0"/>
              </a:rPr>
              <a:t>Identifying latent infections is a serious problem. </a:t>
            </a:r>
          </a:p>
          <a:p>
            <a:pPr marR="211436">
              <a:spcBef>
                <a:spcPts val="235"/>
              </a:spcBef>
              <a:tabLst>
                <a:tab pos="266700" algn="l"/>
              </a:tabLst>
            </a:pPr>
            <a:endParaRPr lang="en-US" sz="800" spc="-5" baseline="30864" dirty="0">
              <a:latin typeface="Neue Frutiger World" panose="020B0603040304020203" pitchFamily="34" charset="0"/>
              <a:cs typeface="Neue Frutiger World" panose="020B0603040304020203" pitchFamily="34" charset="0"/>
            </a:endParaRPr>
          </a:p>
          <a:p>
            <a:pPr marL="139688" marR="0" lvl="0" indent="-101592" defTabSz="914400" rtl="0" eaLnBrk="1" fontAlgn="auto" latinLnBrk="0" hangingPunct="1">
              <a:lnSpc>
                <a:spcPct val="100000"/>
              </a:lnSpc>
              <a:spcBef>
                <a:spcPts val="490"/>
              </a:spcBef>
              <a:spcAft>
                <a:spcPts val="0"/>
              </a:spcAft>
              <a:buClrTx/>
              <a:buSzTx/>
              <a:buFont typeface="CentraleSans Book"/>
              <a:buChar char="•"/>
              <a:tabLst>
                <a:tab pos="266700" algn="l"/>
              </a:tabLst>
              <a:defRPr/>
            </a:pPr>
            <a:r>
              <a:rPr lang="en-US" sz="800" b="1" spc="-5" dirty="0">
                <a:solidFill>
                  <a:srgbClr val="231F20"/>
                </a:solidFill>
                <a:latin typeface="Neue Frutiger World" panose="020B0603040304020203" pitchFamily="34" charset="0"/>
                <a:cs typeface="Neue Frutiger World" panose="020B0603040304020203" pitchFamily="34" charset="0"/>
              </a:rPr>
              <a:t>Under-diagnosis may occur for several reasons:</a:t>
            </a:r>
          </a:p>
          <a:p>
            <a:pPr marL="266700" marR="149848" lvl="1" indent="-125413">
              <a:spcBef>
                <a:spcPts val="229"/>
              </a:spcBef>
              <a:buAutoNum type="arabicPeriod"/>
              <a:tabLst>
                <a:tab pos="266700" algn="l"/>
              </a:tabLst>
            </a:pPr>
            <a:r>
              <a:rPr lang="en-US" sz="800" spc="-5" dirty="0">
                <a:solidFill>
                  <a:srgbClr val="231F20"/>
                </a:solidFill>
                <a:latin typeface="Neue Frutiger World" panose="020B0603040304020203" pitchFamily="34" charset="0"/>
                <a:cs typeface="Neue Frutiger World" panose="020B0603040304020203" pitchFamily="34" charset="0"/>
              </a:rPr>
              <a:t>Infections</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can</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occur </a:t>
            </a:r>
            <a:r>
              <a:rPr lang="en-US" sz="800" spc="-10" dirty="0">
                <a:solidFill>
                  <a:srgbClr val="231F20"/>
                </a:solidFill>
                <a:latin typeface="Neue Frutiger World" panose="020B0603040304020203" pitchFamily="34" charset="0"/>
                <a:cs typeface="Neue Frutiger World" panose="020B0603040304020203" pitchFamily="34" charset="0"/>
              </a:rPr>
              <a:t>months</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20" dirty="0">
                <a:solidFill>
                  <a:srgbClr val="231F20"/>
                </a:solidFill>
                <a:latin typeface="Neue Frutiger World" panose="020B0603040304020203" pitchFamily="34" charset="0"/>
                <a:cs typeface="Neue Frutiger World" panose="020B0603040304020203" pitchFamily="34" charset="0"/>
              </a:rPr>
              <a:t>to</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years</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after</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implantation</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of</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the</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CIED</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making</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diagnosis </a:t>
            </a:r>
            <a:r>
              <a:rPr lang="en-US" sz="800" spc="-15" dirty="0">
                <a:solidFill>
                  <a:srgbClr val="231F20"/>
                </a:solidFill>
                <a:latin typeface="Neue Frutiger World" panose="020B0603040304020203" pitchFamily="34" charset="0"/>
                <a:cs typeface="Neue Frutiger World" panose="020B0603040304020203" pitchFamily="34" charset="0"/>
              </a:rPr>
              <a:t>difficult.</a:t>
            </a:r>
            <a:r>
              <a:rPr lang="en-US" sz="800" spc="-22" baseline="30864" dirty="0">
                <a:solidFill>
                  <a:srgbClr val="231F20"/>
                </a:solidFill>
                <a:latin typeface="Neue Frutiger World" panose="020B0603040304020203" pitchFamily="34" charset="0"/>
                <a:cs typeface="Neue Frutiger World" panose="020B0603040304020203" pitchFamily="34" charset="0"/>
              </a:rPr>
              <a:t>11, 28</a:t>
            </a:r>
          </a:p>
          <a:p>
            <a:pPr marL="266700" marR="149848" lvl="1" indent="-125413">
              <a:spcBef>
                <a:spcPts val="229"/>
              </a:spcBef>
              <a:buAutoNum type="arabicPeriod"/>
              <a:tabLst>
                <a:tab pos="266700" algn="l"/>
              </a:tabLst>
            </a:pPr>
            <a:r>
              <a:rPr lang="en-US" sz="800" spc="5" dirty="0">
                <a:solidFill>
                  <a:srgbClr val="231F20"/>
                </a:solidFill>
                <a:latin typeface="Neue Frutiger World" panose="020B0603040304020203" pitchFamily="34" charset="0"/>
                <a:cs typeface="Neue Frutiger World" panose="020B0603040304020203" pitchFamily="34" charset="0"/>
              </a:rPr>
              <a:t>CIED</a:t>
            </a:r>
            <a:r>
              <a:rPr lang="en-US" sz="800" spc="2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infection</a:t>
            </a:r>
            <a:r>
              <a:rPr lang="en-US" sz="800" spc="2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symptoms,</a:t>
            </a:r>
            <a:r>
              <a:rPr lang="en-US" sz="800" spc="2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particularly system</a:t>
            </a:r>
            <a:r>
              <a:rPr lang="en-US" sz="800" spc="2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infection,</a:t>
            </a:r>
            <a:r>
              <a:rPr lang="en-US" sz="800" spc="2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overlap</a:t>
            </a:r>
            <a:r>
              <a:rPr lang="en-US" sz="800" spc="-5" dirty="0">
                <a:solidFill>
                  <a:srgbClr val="231F20"/>
                </a:solidFill>
                <a:latin typeface="Neue Frutiger World" panose="020B0603040304020203" pitchFamily="34" charset="0"/>
                <a:cs typeface="Neue Frutiger World" panose="020B0603040304020203" pitchFamily="34" charset="0"/>
              </a:rPr>
              <a:t> with</a:t>
            </a:r>
            <a:r>
              <a:rPr lang="en-US" sz="800" spc="2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other</a:t>
            </a:r>
            <a:r>
              <a:rPr lang="en-US" sz="80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infections </a:t>
            </a:r>
            <a:r>
              <a:rPr lang="en-US" sz="800" spc="-5" dirty="0">
                <a:solidFill>
                  <a:srgbClr val="231F20"/>
                </a:solidFill>
                <a:latin typeface="Neue Frutiger World" panose="020B0603040304020203" pitchFamily="34" charset="0"/>
                <a:cs typeface="Neue Frutiger World" panose="020B0603040304020203" pitchFamily="34" charset="0"/>
              </a:rPr>
              <a:t>and</a:t>
            </a:r>
            <a:r>
              <a:rPr lang="en-US" sz="80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illnesses.</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7" baseline="30864" dirty="0">
                <a:solidFill>
                  <a:srgbClr val="231F20"/>
                </a:solidFill>
                <a:latin typeface="Neue Frutiger World" panose="020B0603040304020203" pitchFamily="34" charset="0"/>
                <a:cs typeface="Neue Frutiger World" panose="020B0603040304020203" pitchFamily="34" charset="0"/>
              </a:rPr>
              <a:t>11, 12</a:t>
            </a:r>
            <a:endParaRPr lang="en-US" sz="800" baseline="30864" dirty="0">
              <a:latin typeface="Neue Frutiger World" panose="020B0603040304020203" pitchFamily="34" charset="0"/>
              <a:cs typeface="Neue Frutiger World" panose="020B0603040304020203" pitchFamily="34" charset="0"/>
            </a:endParaRPr>
          </a:p>
          <a:p>
            <a:pPr marL="266700" marR="468591" lvl="1" indent="-125413">
              <a:spcBef>
                <a:spcPts val="235"/>
              </a:spcBef>
              <a:buAutoNum type="arabicPeriod"/>
              <a:tabLst>
                <a:tab pos="266700" algn="l"/>
              </a:tabLst>
            </a:pPr>
            <a:r>
              <a:rPr lang="en-US" sz="800" spc="-10" dirty="0">
                <a:solidFill>
                  <a:srgbClr val="231F20"/>
                </a:solidFill>
                <a:latin typeface="Neue Frutiger World" panose="020B0603040304020203" pitchFamily="34" charset="0"/>
                <a:cs typeface="Neue Frutiger World" panose="020B0603040304020203" pitchFamily="34" charset="0"/>
              </a:rPr>
              <a:t>Positive</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blood</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cultures</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are</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only</a:t>
            </a:r>
            <a:r>
              <a:rPr lang="en-US" sz="800" spc="-2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present</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in</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20-67% </a:t>
            </a:r>
            <a:r>
              <a:rPr lang="en-US" sz="800" dirty="0">
                <a:solidFill>
                  <a:srgbClr val="231F20"/>
                </a:solidFill>
                <a:latin typeface="Neue Frutiger World" panose="020B0603040304020203" pitchFamily="34" charset="0"/>
                <a:cs typeface="Neue Frutiger World" panose="020B0603040304020203" pitchFamily="34" charset="0"/>
              </a:rPr>
              <a:t>of</a:t>
            </a:r>
            <a:r>
              <a:rPr lang="en-US" sz="800" spc="-1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patients</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presenting</a:t>
            </a:r>
            <a:r>
              <a:rPr lang="en-US" sz="800" spc="5" dirty="0">
                <a:solidFill>
                  <a:srgbClr val="231F20"/>
                </a:solidFill>
                <a:latin typeface="Neue Frutiger World" panose="020B0603040304020203" pitchFamily="34" charset="0"/>
                <a:cs typeface="Neue Frutiger World" panose="020B0603040304020203" pitchFamily="34" charset="0"/>
              </a:rPr>
              <a:t> CIED </a:t>
            </a:r>
            <a:r>
              <a:rPr lang="en-US" sz="800" spc="-5" dirty="0">
                <a:solidFill>
                  <a:srgbClr val="231F20"/>
                </a:solidFill>
                <a:latin typeface="Neue Frutiger World" panose="020B0603040304020203" pitchFamily="34" charset="0"/>
                <a:cs typeface="Neue Frutiger World" panose="020B0603040304020203" pitchFamily="34" charset="0"/>
              </a:rPr>
              <a:t>infections.</a:t>
            </a:r>
            <a:r>
              <a:rPr lang="en-US" sz="800" spc="-7" baseline="30864" dirty="0">
                <a:solidFill>
                  <a:srgbClr val="231F20"/>
                </a:solidFill>
                <a:latin typeface="Neue Frutiger World" panose="020B0603040304020203" pitchFamily="34" charset="0"/>
                <a:cs typeface="Neue Frutiger World" panose="020B0603040304020203" pitchFamily="34" charset="0"/>
              </a:rPr>
              <a:t>11,</a:t>
            </a:r>
            <a:r>
              <a:rPr lang="en-US" sz="800" baseline="30864" dirty="0">
                <a:solidFill>
                  <a:srgbClr val="231F20"/>
                </a:solidFill>
                <a:latin typeface="Neue Frutiger World" panose="020B0603040304020203" pitchFamily="34" charset="0"/>
                <a:cs typeface="Neue Frutiger World" panose="020B0603040304020203" pitchFamily="34" charset="0"/>
              </a:rPr>
              <a:t> </a:t>
            </a:r>
            <a:r>
              <a:rPr lang="en-US" sz="800" spc="7" baseline="30864" dirty="0">
                <a:solidFill>
                  <a:srgbClr val="231F20"/>
                </a:solidFill>
                <a:latin typeface="Neue Frutiger World" panose="020B0603040304020203" pitchFamily="34" charset="0"/>
                <a:cs typeface="Neue Frutiger World" panose="020B0603040304020203" pitchFamily="34" charset="0"/>
              </a:rPr>
              <a:t>12</a:t>
            </a:r>
            <a:endParaRPr lang="en-US" sz="800" baseline="30864" dirty="0">
              <a:latin typeface="Neue Frutiger World" panose="020B0603040304020203" pitchFamily="34" charset="0"/>
              <a:cs typeface="Neue Frutiger World" panose="020B0603040304020203" pitchFamily="34" charset="0"/>
            </a:endParaRPr>
          </a:p>
          <a:p>
            <a:pPr marL="266700" marR="282551" lvl="1" indent="-125413">
              <a:spcBef>
                <a:spcPts val="234"/>
              </a:spcBef>
              <a:buAutoNum type="arabicPeriod"/>
              <a:tabLst>
                <a:tab pos="266700" algn="l"/>
              </a:tabLst>
            </a:pPr>
            <a:r>
              <a:rPr lang="en-US" sz="800" spc="-10" dirty="0">
                <a:solidFill>
                  <a:srgbClr val="231F20"/>
                </a:solidFill>
                <a:latin typeface="Neue Frutiger World" panose="020B0603040304020203" pitchFamily="34" charset="0"/>
                <a:cs typeface="Neue Frutiger World" panose="020B0603040304020203" pitchFamily="34" charset="0"/>
              </a:rPr>
              <a:t>More</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than</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60%</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of</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non-extracting</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physicians</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10" dirty="0">
                <a:solidFill>
                  <a:srgbClr val="231F20"/>
                </a:solidFill>
                <a:latin typeface="Neue Frutiger World" panose="020B0603040304020203" pitchFamily="34" charset="0"/>
                <a:cs typeface="Neue Frutiger World" panose="020B0603040304020203" pitchFamily="34" charset="0"/>
              </a:rPr>
              <a:t>reported</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lack</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dirty="0">
                <a:solidFill>
                  <a:srgbClr val="231F20"/>
                </a:solidFill>
                <a:latin typeface="Neue Frutiger World" panose="020B0603040304020203" pitchFamily="34" charset="0"/>
                <a:cs typeface="Neue Frutiger World" panose="020B0603040304020203" pitchFamily="34" charset="0"/>
              </a:rPr>
              <a:t>of</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knowledge</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and</a:t>
            </a:r>
            <a:r>
              <a:rPr lang="en-US" sz="800" spc="10"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skills </a:t>
            </a:r>
            <a:r>
              <a:rPr lang="en-US" sz="800" spc="-10" dirty="0">
                <a:solidFill>
                  <a:srgbClr val="231F20"/>
                </a:solidFill>
                <a:latin typeface="Neue Frutiger World" panose="020B0603040304020203" pitchFamily="34" charset="0"/>
                <a:cs typeface="Neue Frutiger World" panose="020B0603040304020203" pitchFamily="34" charset="0"/>
              </a:rPr>
              <a:t>regarding</a:t>
            </a:r>
            <a:r>
              <a:rPr lang="en-US" sz="800" spc="5" dirty="0">
                <a:solidFill>
                  <a:srgbClr val="231F20"/>
                </a:solidFill>
                <a:latin typeface="Neue Frutiger World" panose="020B0603040304020203" pitchFamily="34" charset="0"/>
                <a:cs typeface="Neue Frutiger World" panose="020B0603040304020203" pitchFamily="34" charset="0"/>
              </a:rPr>
              <a:t> CIED </a:t>
            </a:r>
            <a:r>
              <a:rPr lang="en-US" sz="800" spc="-10" dirty="0">
                <a:solidFill>
                  <a:srgbClr val="231F20"/>
                </a:solidFill>
                <a:latin typeface="Neue Frutiger World" panose="020B0603040304020203" pitchFamily="34" charset="0"/>
                <a:cs typeface="Neue Frutiger World" panose="020B0603040304020203" pitchFamily="34" charset="0"/>
              </a:rPr>
              <a:t>infection</a:t>
            </a:r>
            <a:r>
              <a:rPr lang="en-US" sz="800" spc="5" dirty="0">
                <a:solidFill>
                  <a:srgbClr val="231F20"/>
                </a:solidFill>
                <a:latin typeface="Neue Frutiger World" panose="020B0603040304020203" pitchFamily="34" charset="0"/>
                <a:cs typeface="Neue Frutiger World" panose="020B0603040304020203" pitchFamily="34" charset="0"/>
              </a:rPr>
              <a:t> </a:t>
            </a:r>
            <a:r>
              <a:rPr lang="en-US" sz="800" spc="-5" dirty="0">
                <a:solidFill>
                  <a:srgbClr val="231F20"/>
                </a:solidFill>
                <a:latin typeface="Neue Frutiger World" panose="020B0603040304020203" pitchFamily="34" charset="0"/>
                <a:cs typeface="Neue Frutiger World" panose="020B0603040304020203" pitchFamily="34" charset="0"/>
              </a:rPr>
              <a:t>management.</a:t>
            </a:r>
            <a:r>
              <a:rPr lang="en-US" sz="800" spc="-7" baseline="30864" dirty="0">
                <a:solidFill>
                  <a:srgbClr val="231F20"/>
                </a:solidFill>
                <a:latin typeface="Neue Frutiger World" panose="020B0603040304020203" pitchFamily="34" charset="0"/>
                <a:cs typeface="Neue Frutiger World" panose="020B0603040304020203" pitchFamily="34" charset="0"/>
              </a:rPr>
              <a:t>13</a:t>
            </a:r>
            <a:endParaRPr lang="en-US" sz="800" baseline="30864" dirty="0">
              <a:latin typeface="Neue Frutiger World" panose="020B0603040304020203" pitchFamily="34" charset="0"/>
              <a:cs typeface="Neue Frutiger World" panose="020B0603040304020203" pitchFamily="34" charset="0"/>
            </a:endParaRPr>
          </a:p>
          <a:p>
            <a:endParaRPr lang="en-US" sz="800" dirty="0">
              <a:latin typeface="Neue Frutiger World" panose="020B0603040304020203" pitchFamily="34" charset="0"/>
              <a:cs typeface="Neue Frutiger World" panose="020B0603040304020203" pitchFamily="34" charset="0"/>
            </a:endParaRPr>
          </a:p>
        </p:txBody>
      </p:sp>
      <p:sp>
        <p:nvSpPr>
          <p:cNvPr id="32" name="object 2">
            <a:extLst>
              <a:ext uri="{FF2B5EF4-FFF2-40B4-BE49-F238E27FC236}">
                <a16:creationId xmlns:a16="http://schemas.microsoft.com/office/drawing/2014/main" id="{0EB40628-0F7F-4C9B-9367-DF5C5C75DD8F}"/>
              </a:ext>
            </a:extLst>
          </p:cNvPr>
          <p:cNvSpPr>
            <a:spLocks noChangeAspect="1"/>
          </p:cNvSpPr>
          <p:nvPr/>
        </p:nvSpPr>
        <p:spPr>
          <a:xfrm>
            <a:off x="6687385" y="2113190"/>
            <a:ext cx="632683" cy="255550"/>
          </a:xfrm>
          <a:custGeom>
            <a:avLst/>
            <a:gdLst/>
            <a:ahLst/>
            <a:cxnLst/>
            <a:rect l="l" t="t" r="r" b="b"/>
            <a:pathLst>
              <a:path w="713740" h="288290">
                <a:moveTo>
                  <a:pt x="713231" y="0"/>
                </a:moveTo>
                <a:lnTo>
                  <a:pt x="0" y="0"/>
                </a:lnTo>
                <a:lnTo>
                  <a:pt x="0" y="288035"/>
                </a:lnTo>
                <a:lnTo>
                  <a:pt x="713231" y="288035"/>
                </a:lnTo>
                <a:lnTo>
                  <a:pt x="713231" y="0"/>
                </a:lnTo>
                <a:close/>
              </a:path>
            </a:pathLst>
          </a:custGeom>
          <a:solidFill>
            <a:srgbClr val="00A9EB"/>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nvGrpSpPr>
          <p:cNvPr id="33" name="object 3">
            <a:extLst>
              <a:ext uri="{FF2B5EF4-FFF2-40B4-BE49-F238E27FC236}">
                <a16:creationId xmlns:a16="http://schemas.microsoft.com/office/drawing/2014/main" id="{30274495-7BFE-44A8-BD96-1851F0F4971E}"/>
              </a:ext>
            </a:extLst>
          </p:cNvPr>
          <p:cNvGrpSpPr>
            <a:grpSpLocks noChangeAspect="1"/>
          </p:cNvGrpSpPr>
          <p:nvPr/>
        </p:nvGrpSpPr>
        <p:grpSpPr>
          <a:xfrm>
            <a:off x="6328053" y="1353729"/>
            <a:ext cx="2195254" cy="1022763"/>
            <a:chOff x="6410987" y="5401309"/>
            <a:chExt cx="2476500" cy="1153795"/>
          </a:xfrm>
        </p:grpSpPr>
        <p:sp>
          <p:nvSpPr>
            <p:cNvPr id="34" name="object 4">
              <a:extLst>
                <a:ext uri="{FF2B5EF4-FFF2-40B4-BE49-F238E27FC236}">
                  <a16:creationId xmlns:a16="http://schemas.microsoft.com/office/drawing/2014/main" id="{E479135C-4CAA-4353-98DE-115CA7F09C3E}"/>
                </a:ext>
              </a:extLst>
            </p:cNvPr>
            <p:cNvSpPr/>
            <p:nvPr/>
          </p:nvSpPr>
          <p:spPr>
            <a:xfrm>
              <a:off x="7828483" y="5678169"/>
              <a:ext cx="713740" cy="869315"/>
            </a:xfrm>
            <a:custGeom>
              <a:avLst/>
              <a:gdLst/>
              <a:ahLst/>
              <a:cxnLst/>
              <a:rect l="l" t="t" r="r" b="b"/>
              <a:pathLst>
                <a:path w="713740" h="869315">
                  <a:moveTo>
                    <a:pt x="713231" y="0"/>
                  </a:moveTo>
                  <a:lnTo>
                    <a:pt x="0" y="0"/>
                  </a:lnTo>
                  <a:lnTo>
                    <a:pt x="0" y="868933"/>
                  </a:lnTo>
                  <a:lnTo>
                    <a:pt x="713231" y="868933"/>
                  </a:lnTo>
                  <a:lnTo>
                    <a:pt x="713231" y="0"/>
                  </a:lnTo>
                  <a:close/>
                </a:path>
              </a:pathLst>
            </a:custGeom>
            <a:solidFill>
              <a:srgbClr val="BBBDC7"/>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35" name="object 5">
              <a:extLst>
                <a:ext uri="{FF2B5EF4-FFF2-40B4-BE49-F238E27FC236}">
                  <a16:creationId xmlns:a16="http://schemas.microsoft.com/office/drawing/2014/main" id="{9BBD98D7-7961-4319-B282-B62E34B741D8}"/>
                </a:ext>
              </a:extLst>
            </p:cNvPr>
            <p:cNvSpPr/>
            <p:nvPr/>
          </p:nvSpPr>
          <p:spPr>
            <a:xfrm>
              <a:off x="6533466" y="5401309"/>
              <a:ext cx="0" cy="1152525"/>
            </a:xfrm>
            <a:custGeom>
              <a:avLst/>
              <a:gdLst/>
              <a:ahLst/>
              <a:cxnLst/>
              <a:rect l="l" t="t" r="r" b="b"/>
              <a:pathLst>
                <a:path h="1152525">
                  <a:moveTo>
                    <a:pt x="0" y="0"/>
                  </a:moveTo>
                  <a:lnTo>
                    <a:pt x="0" y="1152144"/>
                  </a:lnTo>
                </a:path>
              </a:pathLst>
            </a:custGeom>
            <a:ln w="9525">
              <a:solidFill>
                <a:srgbClr val="989AA5"/>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36" name="object 6">
              <a:extLst>
                <a:ext uri="{FF2B5EF4-FFF2-40B4-BE49-F238E27FC236}">
                  <a16:creationId xmlns:a16="http://schemas.microsoft.com/office/drawing/2014/main" id="{0EFAA4E9-3988-470F-8C78-4C8A38FDFDCD}"/>
                </a:ext>
              </a:extLst>
            </p:cNvPr>
            <p:cNvSpPr/>
            <p:nvPr/>
          </p:nvSpPr>
          <p:spPr>
            <a:xfrm>
              <a:off x="6410987" y="6550037"/>
              <a:ext cx="2476500" cy="0"/>
            </a:xfrm>
            <a:custGeom>
              <a:avLst/>
              <a:gdLst/>
              <a:ahLst/>
              <a:cxnLst/>
              <a:rect l="l" t="t" r="r" b="b"/>
              <a:pathLst>
                <a:path w="2476499">
                  <a:moveTo>
                    <a:pt x="0" y="0"/>
                  </a:moveTo>
                  <a:lnTo>
                    <a:pt x="2476474" y="0"/>
                  </a:lnTo>
                </a:path>
              </a:pathLst>
            </a:custGeom>
            <a:ln w="9525">
              <a:solidFill>
                <a:srgbClr val="989AA5"/>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37" name="object 7">
              <a:extLst>
                <a:ext uri="{FF2B5EF4-FFF2-40B4-BE49-F238E27FC236}">
                  <a16:creationId xmlns:a16="http://schemas.microsoft.com/office/drawing/2014/main" id="{6E0990D7-0A8A-444C-AAF2-33B9D859A5CC}"/>
                </a:ext>
              </a:extLst>
            </p:cNvPr>
            <p:cNvSpPr/>
            <p:nvPr/>
          </p:nvSpPr>
          <p:spPr>
            <a:xfrm>
              <a:off x="6410987" y="5407657"/>
              <a:ext cx="119380" cy="0"/>
            </a:xfrm>
            <a:custGeom>
              <a:avLst/>
              <a:gdLst/>
              <a:ahLst/>
              <a:cxnLst/>
              <a:rect l="l" t="t" r="r" b="b"/>
              <a:pathLst>
                <a:path w="119379">
                  <a:moveTo>
                    <a:pt x="118872" y="0"/>
                  </a:moveTo>
                  <a:lnTo>
                    <a:pt x="0" y="0"/>
                  </a:lnTo>
                </a:path>
              </a:pathLst>
            </a:custGeom>
            <a:ln w="9525">
              <a:solidFill>
                <a:srgbClr val="989AA5"/>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38" name="object 8">
              <a:extLst>
                <a:ext uri="{FF2B5EF4-FFF2-40B4-BE49-F238E27FC236}">
                  <a16:creationId xmlns:a16="http://schemas.microsoft.com/office/drawing/2014/main" id="{1F140406-306D-42B7-ACF3-7C072AD71091}"/>
                </a:ext>
              </a:extLst>
            </p:cNvPr>
            <p:cNvSpPr/>
            <p:nvPr/>
          </p:nvSpPr>
          <p:spPr>
            <a:xfrm>
              <a:off x="6410987" y="5863437"/>
              <a:ext cx="119380" cy="0"/>
            </a:xfrm>
            <a:custGeom>
              <a:avLst/>
              <a:gdLst/>
              <a:ahLst/>
              <a:cxnLst/>
              <a:rect l="l" t="t" r="r" b="b"/>
              <a:pathLst>
                <a:path w="119379">
                  <a:moveTo>
                    <a:pt x="118872" y="0"/>
                  </a:moveTo>
                  <a:lnTo>
                    <a:pt x="0" y="0"/>
                  </a:lnTo>
                </a:path>
              </a:pathLst>
            </a:custGeom>
            <a:ln w="9525">
              <a:solidFill>
                <a:srgbClr val="989AA5"/>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39" name="object 9">
              <a:extLst>
                <a:ext uri="{FF2B5EF4-FFF2-40B4-BE49-F238E27FC236}">
                  <a16:creationId xmlns:a16="http://schemas.microsoft.com/office/drawing/2014/main" id="{ABF3CBE2-EA1E-4311-B442-C2217FD86162}"/>
                </a:ext>
              </a:extLst>
            </p:cNvPr>
            <p:cNvSpPr/>
            <p:nvPr/>
          </p:nvSpPr>
          <p:spPr>
            <a:xfrm>
              <a:off x="6410987" y="6091323"/>
              <a:ext cx="119380" cy="0"/>
            </a:xfrm>
            <a:custGeom>
              <a:avLst/>
              <a:gdLst/>
              <a:ahLst/>
              <a:cxnLst/>
              <a:rect l="l" t="t" r="r" b="b"/>
              <a:pathLst>
                <a:path w="119379">
                  <a:moveTo>
                    <a:pt x="118872" y="0"/>
                  </a:moveTo>
                  <a:lnTo>
                    <a:pt x="0" y="0"/>
                  </a:lnTo>
                </a:path>
              </a:pathLst>
            </a:custGeom>
            <a:ln w="9525">
              <a:solidFill>
                <a:srgbClr val="989AA5"/>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40" name="object 10">
              <a:extLst>
                <a:ext uri="{FF2B5EF4-FFF2-40B4-BE49-F238E27FC236}">
                  <a16:creationId xmlns:a16="http://schemas.microsoft.com/office/drawing/2014/main" id="{2539B1E3-5F2B-484E-8AA7-E4FA15013F28}"/>
                </a:ext>
              </a:extLst>
            </p:cNvPr>
            <p:cNvSpPr/>
            <p:nvPr/>
          </p:nvSpPr>
          <p:spPr>
            <a:xfrm>
              <a:off x="6410987" y="6319213"/>
              <a:ext cx="119380" cy="0"/>
            </a:xfrm>
            <a:custGeom>
              <a:avLst/>
              <a:gdLst/>
              <a:ahLst/>
              <a:cxnLst/>
              <a:rect l="l" t="t" r="r" b="b"/>
              <a:pathLst>
                <a:path w="119379">
                  <a:moveTo>
                    <a:pt x="118872" y="0"/>
                  </a:moveTo>
                  <a:lnTo>
                    <a:pt x="0" y="0"/>
                  </a:lnTo>
                </a:path>
              </a:pathLst>
            </a:custGeom>
            <a:ln w="9525">
              <a:solidFill>
                <a:srgbClr val="989AA5"/>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41" name="object 11">
              <a:extLst>
                <a:ext uri="{FF2B5EF4-FFF2-40B4-BE49-F238E27FC236}">
                  <a16:creationId xmlns:a16="http://schemas.microsoft.com/office/drawing/2014/main" id="{A5C0D60A-1D18-4F44-BBB0-F503E2BF6049}"/>
                </a:ext>
              </a:extLst>
            </p:cNvPr>
            <p:cNvSpPr/>
            <p:nvPr/>
          </p:nvSpPr>
          <p:spPr>
            <a:xfrm>
              <a:off x="6410987" y="5635547"/>
              <a:ext cx="119380" cy="0"/>
            </a:xfrm>
            <a:custGeom>
              <a:avLst/>
              <a:gdLst/>
              <a:ahLst/>
              <a:cxnLst/>
              <a:rect l="l" t="t" r="r" b="b"/>
              <a:pathLst>
                <a:path w="119379">
                  <a:moveTo>
                    <a:pt x="118872" y="0"/>
                  </a:moveTo>
                  <a:lnTo>
                    <a:pt x="0" y="0"/>
                  </a:lnTo>
                </a:path>
              </a:pathLst>
            </a:custGeom>
            <a:ln w="9525">
              <a:solidFill>
                <a:srgbClr val="989AA5"/>
              </a:solidFill>
            </a:ln>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sp>
        <p:nvSpPr>
          <p:cNvPr id="42" name="object 12">
            <a:extLst>
              <a:ext uri="{FF2B5EF4-FFF2-40B4-BE49-F238E27FC236}">
                <a16:creationId xmlns:a16="http://schemas.microsoft.com/office/drawing/2014/main" id="{AD148D7A-047D-4788-9CEA-F55F8EB90575}"/>
              </a:ext>
            </a:extLst>
          </p:cNvPr>
          <p:cNvSpPr txBox="1">
            <a:spLocks noChangeAspect="1"/>
          </p:cNvSpPr>
          <p:nvPr/>
        </p:nvSpPr>
        <p:spPr>
          <a:xfrm>
            <a:off x="6656701" y="2482990"/>
            <a:ext cx="686718" cy="259045"/>
          </a:xfrm>
          <a:prstGeom prst="rect">
            <a:avLst/>
          </a:prstGeom>
        </p:spPr>
        <p:txBody>
          <a:bodyPr vert="horz" wrap="square" lIns="0" tIns="12700" rIns="0" bIns="0" rtlCol="0">
            <a:spAutoFit/>
          </a:bodyPr>
          <a:lstStyle/>
          <a:p>
            <a:pPr marL="12699">
              <a:spcBef>
                <a:spcPts val="100"/>
              </a:spcBef>
            </a:pPr>
            <a:r>
              <a:rPr sz="800" spc="5" dirty="0">
                <a:solidFill>
                  <a:srgbClr val="231F20"/>
                </a:solidFill>
                <a:latin typeface="Neue Frutiger World" panose="020B0603040304020203" pitchFamily="34" charset="0"/>
                <a:cs typeface="Neue Frutiger World" panose="020B0603040304020203" pitchFamily="34" charset="0"/>
              </a:rPr>
              <a:t>CIED</a:t>
            </a:r>
            <a:r>
              <a:rPr sz="800" spc="-35"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xtraction</a:t>
            </a:r>
            <a:endParaRPr sz="800" dirty="0">
              <a:latin typeface="Neue Frutiger World" panose="020B0603040304020203" pitchFamily="34" charset="0"/>
              <a:cs typeface="Neue Frutiger World" panose="020B0603040304020203" pitchFamily="34" charset="0"/>
            </a:endParaRPr>
          </a:p>
        </p:txBody>
      </p:sp>
      <p:sp>
        <p:nvSpPr>
          <p:cNvPr id="43" name="object 13">
            <a:extLst>
              <a:ext uri="{FF2B5EF4-FFF2-40B4-BE49-F238E27FC236}">
                <a16:creationId xmlns:a16="http://schemas.microsoft.com/office/drawing/2014/main" id="{42A1885C-2B68-42B4-B0A9-BBE25CFA04F6}"/>
              </a:ext>
            </a:extLst>
          </p:cNvPr>
          <p:cNvSpPr txBox="1">
            <a:spLocks noChangeAspect="1"/>
          </p:cNvSpPr>
          <p:nvPr/>
        </p:nvSpPr>
        <p:spPr>
          <a:xfrm>
            <a:off x="6116617" y="1177570"/>
            <a:ext cx="180123" cy="212879"/>
          </a:xfrm>
          <a:prstGeom prst="rect">
            <a:avLst/>
          </a:prstGeom>
        </p:spPr>
        <p:txBody>
          <a:bodyPr vert="horz" wrap="square" lIns="0" tIns="12700" rIns="0" bIns="0" rtlCol="0">
            <a:spAutoFit/>
          </a:bodyPr>
          <a:lstStyle/>
          <a:p>
            <a:pPr marL="12699">
              <a:spcBef>
                <a:spcPts val="100"/>
              </a:spcBef>
            </a:pPr>
            <a:r>
              <a:rPr sz="650" spc="10" dirty="0">
                <a:solidFill>
                  <a:srgbClr val="757982"/>
                </a:solidFill>
                <a:latin typeface="Neue Frutiger World" panose="020B0603040304020203" pitchFamily="34" charset="0"/>
                <a:cs typeface="Neue Frutiger World" panose="020B0603040304020203" pitchFamily="34" charset="0"/>
              </a:rPr>
              <a:t>5</a:t>
            </a:r>
            <a:r>
              <a:rPr sz="650" spc="20" dirty="0">
                <a:solidFill>
                  <a:srgbClr val="757982"/>
                </a:solidFill>
                <a:latin typeface="Neue Frutiger World" panose="020B0603040304020203" pitchFamily="34" charset="0"/>
                <a:cs typeface="Neue Frutiger World" panose="020B0603040304020203" pitchFamily="34" charset="0"/>
              </a:rPr>
              <a:t>0%</a:t>
            </a:r>
            <a:endParaRPr sz="650" dirty="0">
              <a:latin typeface="Neue Frutiger World" panose="020B0603040304020203" pitchFamily="34" charset="0"/>
              <a:cs typeface="Neue Frutiger World" panose="020B0603040304020203" pitchFamily="34" charset="0"/>
            </a:endParaRPr>
          </a:p>
        </p:txBody>
      </p:sp>
      <p:sp>
        <p:nvSpPr>
          <p:cNvPr id="44" name="object 14">
            <a:extLst>
              <a:ext uri="{FF2B5EF4-FFF2-40B4-BE49-F238E27FC236}">
                <a16:creationId xmlns:a16="http://schemas.microsoft.com/office/drawing/2014/main" id="{507B3E34-ABBE-454A-870D-1177AEDB3ACF}"/>
              </a:ext>
            </a:extLst>
          </p:cNvPr>
          <p:cNvSpPr txBox="1">
            <a:spLocks noChangeAspect="1"/>
          </p:cNvSpPr>
          <p:nvPr/>
        </p:nvSpPr>
        <p:spPr>
          <a:xfrm>
            <a:off x="6114413" y="1405458"/>
            <a:ext cx="181811" cy="212879"/>
          </a:xfrm>
          <a:prstGeom prst="rect">
            <a:avLst/>
          </a:prstGeom>
        </p:spPr>
        <p:txBody>
          <a:bodyPr vert="horz" wrap="square" lIns="0" tIns="12700" rIns="0" bIns="0" rtlCol="0">
            <a:spAutoFit/>
          </a:bodyPr>
          <a:lstStyle/>
          <a:p>
            <a:pPr marL="12699">
              <a:spcBef>
                <a:spcPts val="100"/>
              </a:spcBef>
            </a:pPr>
            <a:r>
              <a:rPr sz="650" spc="20" dirty="0">
                <a:solidFill>
                  <a:srgbClr val="757982"/>
                </a:solidFill>
                <a:latin typeface="Neue Frutiger World" panose="020B0603040304020203" pitchFamily="34" charset="0"/>
                <a:cs typeface="Neue Frutiger World" panose="020B0603040304020203" pitchFamily="34" charset="0"/>
              </a:rPr>
              <a:t>40%</a:t>
            </a:r>
            <a:endParaRPr sz="650" dirty="0">
              <a:latin typeface="Neue Frutiger World" panose="020B0603040304020203" pitchFamily="34" charset="0"/>
              <a:cs typeface="Neue Frutiger World" panose="020B0603040304020203" pitchFamily="34" charset="0"/>
            </a:endParaRPr>
          </a:p>
        </p:txBody>
      </p:sp>
      <p:sp>
        <p:nvSpPr>
          <p:cNvPr id="45" name="object 15">
            <a:extLst>
              <a:ext uri="{FF2B5EF4-FFF2-40B4-BE49-F238E27FC236}">
                <a16:creationId xmlns:a16="http://schemas.microsoft.com/office/drawing/2014/main" id="{094F4217-24A3-4A01-9522-72479F59FC18}"/>
              </a:ext>
            </a:extLst>
          </p:cNvPr>
          <p:cNvSpPr txBox="1">
            <a:spLocks noChangeAspect="1"/>
          </p:cNvSpPr>
          <p:nvPr/>
        </p:nvSpPr>
        <p:spPr>
          <a:xfrm>
            <a:off x="6116819" y="1624394"/>
            <a:ext cx="179561" cy="212879"/>
          </a:xfrm>
          <a:prstGeom prst="rect">
            <a:avLst/>
          </a:prstGeom>
        </p:spPr>
        <p:txBody>
          <a:bodyPr vert="horz" wrap="square" lIns="0" tIns="12700" rIns="0" bIns="0" rtlCol="0">
            <a:spAutoFit/>
          </a:bodyPr>
          <a:lstStyle/>
          <a:p>
            <a:pPr marL="12699">
              <a:spcBef>
                <a:spcPts val="100"/>
              </a:spcBef>
            </a:pPr>
            <a:r>
              <a:rPr sz="650" spc="15" dirty="0">
                <a:solidFill>
                  <a:srgbClr val="757982"/>
                </a:solidFill>
                <a:latin typeface="Neue Frutiger World" panose="020B0603040304020203" pitchFamily="34" charset="0"/>
                <a:cs typeface="Neue Frutiger World" panose="020B0603040304020203" pitchFamily="34" charset="0"/>
              </a:rPr>
              <a:t>3</a:t>
            </a:r>
            <a:r>
              <a:rPr sz="650" spc="20" dirty="0">
                <a:solidFill>
                  <a:srgbClr val="757982"/>
                </a:solidFill>
                <a:latin typeface="Neue Frutiger World" panose="020B0603040304020203" pitchFamily="34" charset="0"/>
                <a:cs typeface="Neue Frutiger World" panose="020B0603040304020203" pitchFamily="34" charset="0"/>
              </a:rPr>
              <a:t>0%</a:t>
            </a:r>
            <a:endParaRPr sz="650" dirty="0">
              <a:latin typeface="Neue Frutiger World" panose="020B0603040304020203" pitchFamily="34" charset="0"/>
              <a:cs typeface="Neue Frutiger World" panose="020B0603040304020203" pitchFamily="34" charset="0"/>
            </a:endParaRPr>
          </a:p>
        </p:txBody>
      </p:sp>
      <p:sp>
        <p:nvSpPr>
          <p:cNvPr id="46" name="object 16">
            <a:extLst>
              <a:ext uri="{FF2B5EF4-FFF2-40B4-BE49-F238E27FC236}">
                <a16:creationId xmlns:a16="http://schemas.microsoft.com/office/drawing/2014/main" id="{E9819AFE-1C03-4F64-A29B-CFBE60A4157A}"/>
              </a:ext>
            </a:extLst>
          </p:cNvPr>
          <p:cNvSpPr txBox="1">
            <a:spLocks noChangeAspect="1"/>
          </p:cNvSpPr>
          <p:nvPr/>
        </p:nvSpPr>
        <p:spPr>
          <a:xfrm>
            <a:off x="6118388" y="1854885"/>
            <a:ext cx="178435" cy="212879"/>
          </a:xfrm>
          <a:prstGeom prst="rect">
            <a:avLst/>
          </a:prstGeom>
        </p:spPr>
        <p:txBody>
          <a:bodyPr vert="horz" wrap="square" lIns="0" tIns="12700" rIns="0" bIns="0" rtlCol="0">
            <a:spAutoFit/>
          </a:bodyPr>
          <a:lstStyle/>
          <a:p>
            <a:pPr marL="12699">
              <a:spcBef>
                <a:spcPts val="100"/>
              </a:spcBef>
            </a:pPr>
            <a:r>
              <a:rPr sz="650" dirty="0">
                <a:solidFill>
                  <a:srgbClr val="757982"/>
                </a:solidFill>
                <a:latin typeface="Neue Frutiger World" panose="020B0603040304020203" pitchFamily="34" charset="0"/>
                <a:cs typeface="Neue Frutiger World" panose="020B0603040304020203" pitchFamily="34" charset="0"/>
              </a:rPr>
              <a:t>2</a:t>
            </a:r>
            <a:r>
              <a:rPr sz="650" spc="20" dirty="0">
                <a:solidFill>
                  <a:srgbClr val="757982"/>
                </a:solidFill>
                <a:latin typeface="Neue Frutiger World" panose="020B0603040304020203" pitchFamily="34" charset="0"/>
                <a:cs typeface="Neue Frutiger World" panose="020B0603040304020203" pitchFamily="34" charset="0"/>
              </a:rPr>
              <a:t>0%</a:t>
            </a:r>
            <a:endParaRPr sz="650" dirty="0">
              <a:latin typeface="Neue Frutiger World" panose="020B0603040304020203" pitchFamily="34" charset="0"/>
              <a:cs typeface="Neue Frutiger World" panose="020B0603040304020203" pitchFamily="34" charset="0"/>
            </a:endParaRPr>
          </a:p>
        </p:txBody>
      </p:sp>
      <p:sp>
        <p:nvSpPr>
          <p:cNvPr id="47" name="object 17">
            <a:extLst>
              <a:ext uri="{FF2B5EF4-FFF2-40B4-BE49-F238E27FC236}">
                <a16:creationId xmlns:a16="http://schemas.microsoft.com/office/drawing/2014/main" id="{C85DDECA-F8F3-4093-8B63-BCBD442093B1}"/>
              </a:ext>
            </a:extLst>
          </p:cNvPr>
          <p:cNvSpPr txBox="1">
            <a:spLocks noChangeAspect="1"/>
          </p:cNvSpPr>
          <p:nvPr/>
        </p:nvSpPr>
        <p:spPr>
          <a:xfrm>
            <a:off x="6133429" y="2089124"/>
            <a:ext cx="164926" cy="212879"/>
          </a:xfrm>
          <a:prstGeom prst="rect">
            <a:avLst/>
          </a:prstGeom>
        </p:spPr>
        <p:txBody>
          <a:bodyPr vert="horz" wrap="square" lIns="0" tIns="12700" rIns="0" bIns="0" rtlCol="0">
            <a:spAutoFit/>
          </a:bodyPr>
          <a:lstStyle/>
          <a:p>
            <a:pPr marL="12699">
              <a:spcBef>
                <a:spcPts val="100"/>
              </a:spcBef>
            </a:pPr>
            <a:r>
              <a:rPr sz="650" spc="5" dirty="0">
                <a:solidFill>
                  <a:srgbClr val="757982"/>
                </a:solidFill>
                <a:latin typeface="Neue Frutiger World" panose="020B0603040304020203" pitchFamily="34" charset="0"/>
                <a:cs typeface="Neue Frutiger World" panose="020B0603040304020203" pitchFamily="34" charset="0"/>
              </a:rPr>
              <a:t>1</a:t>
            </a:r>
            <a:r>
              <a:rPr sz="650" spc="20" dirty="0">
                <a:solidFill>
                  <a:srgbClr val="757982"/>
                </a:solidFill>
                <a:latin typeface="Neue Frutiger World" panose="020B0603040304020203" pitchFamily="34" charset="0"/>
                <a:cs typeface="Neue Frutiger World" panose="020B0603040304020203" pitchFamily="34" charset="0"/>
              </a:rPr>
              <a:t>0%</a:t>
            </a:r>
            <a:endParaRPr sz="650" dirty="0">
              <a:latin typeface="Neue Frutiger World" panose="020B0603040304020203" pitchFamily="34" charset="0"/>
              <a:cs typeface="Neue Frutiger World" panose="020B0603040304020203" pitchFamily="34" charset="0"/>
            </a:endParaRPr>
          </a:p>
        </p:txBody>
      </p:sp>
      <p:sp>
        <p:nvSpPr>
          <p:cNvPr id="48" name="object 18">
            <a:extLst>
              <a:ext uri="{FF2B5EF4-FFF2-40B4-BE49-F238E27FC236}">
                <a16:creationId xmlns:a16="http://schemas.microsoft.com/office/drawing/2014/main" id="{B7B994C2-34E2-45DB-9520-7105E67663B2}"/>
              </a:ext>
            </a:extLst>
          </p:cNvPr>
          <p:cNvSpPr txBox="1">
            <a:spLocks noChangeAspect="1"/>
          </p:cNvSpPr>
          <p:nvPr/>
        </p:nvSpPr>
        <p:spPr>
          <a:xfrm>
            <a:off x="6166605" y="2310663"/>
            <a:ext cx="135655" cy="212879"/>
          </a:xfrm>
          <a:prstGeom prst="rect">
            <a:avLst/>
          </a:prstGeom>
        </p:spPr>
        <p:txBody>
          <a:bodyPr vert="horz" wrap="square" lIns="0" tIns="12700" rIns="0" bIns="0" rtlCol="0">
            <a:spAutoFit/>
          </a:bodyPr>
          <a:lstStyle/>
          <a:p>
            <a:pPr marL="12699">
              <a:spcBef>
                <a:spcPts val="100"/>
              </a:spcBef>
            </a:pPr>
            <a:r>
              <a:rPr sz="650" spc="20" dirty="0">
                <a:solidFill>
                  <a:srgbClr val="757982"/>
                </a:solidFill>
                <a:latin typeface="Neue Frutiger World" panose="020B0603040304020203" pitchFamily="34" charset="0"/>
                <a:cs typeface="Neue Frutiger World" panose="020B0603040304020203" pitchFamily="34" charset="0"/>
              </a:rPr>
              <a:t>0%</a:t>
            </a:r>
            <a:endParaRPr sz="650" dirty="0">
              <a:latin typeface="Neue Frutiger World" panose="020B0603040304020203" pitchFamily="34" charset="0"/>
              <a:cs typeface="Neue Frutiger World" panose="020B0603040304020203" pitchFamily="34" charset="0"/>
            </a:endParaRPr>
          </a:p>
        </p:txBody>
      </p:sp>
      <p:sp>
        <p:nvSpPr>
          <p:cNvPr id="49" name="object 19">
            <a:extLst>
              <a:ext uri="{FF2B5EF4-FFF2-40B4-BE49-F238E27FC236}">
                <a16:creationId xmlns:a16="http://schemas.microsoft.com/office/drawing/2014/main" id="{CEE87594-98C9-4D63-9F6A-60EA4A36056F}"/>
              </a:ext>
            </a:extLst>
          </p:cNvPr>
          <p:cNvSpPr txBox="1">
            <a:spLocks noChangeAspect="1"/>
          </p:cNvSpPr>
          <p:nvPr/>
        </p:nvSpPr>
        <p:spPr>
          <a:xfrm>
            <a:off x="7717411" y="2489085"/>
            <a:ext cx="685029" cy="259045"/>
          </a:xfrm>
          <a:prstGeom prst="rect">
            <a:avLst/>
          </a:prstGeom>
        </p:spPr>
        <p:txBody>
          <a:bodyPr vert="horz" wrap="square" lIns="0" tIns="12700" rIns="0" bIns="0" rtlCol="0">
            <a:spAutoFit/>
          </a:bodyPr>
          <a:lstStyle/>
          <a:p>
            <a:pPr marL="12699">
              <a:spcBef>
                <a:spcPts val="100"/>
              </a:spcBef>
            </a:pPr>
            <a:r>
              <a:rPr sz="800" spc="-10" dirty="0">
                <a:solidFill>
                  <a:srgbClr val="231F20"/>
                </a:solidFill>
                <a:latin typeface="Neue Frutiger World" panose="020B0603040304020203" pitchFamily="34" charset="0"/>
                <a:cs typeface="Neue Frutiger World" panose="020B0603040304020203" pitchFamily="34" charset="0"/>
              </a:rPr>
              <a:t>Antibiotics</a:t>
            </a:r>
            <a:r>
              <a:rPr sz="800" spc="-4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only</a:t>
            </a:r>
            <a:endParaRPr sz="800" dirty="0">
              <a:latin typeface="Neue Frutiger World" panose="020B0603040304020203" pitchFamily="34" charset="0"/>
              <a:cs typeface="Neue Frutiger World" panose="020B0603040304020203" pitchFamily="34" charset="0"/>
            </a:endParaRPr>
          </a:p>
        </p:txBody>
      </p:sp>
      <p:sp>
        <p:nvSpPr>
          <p:cNvPr id="50" name="object 20">
            <a:extLst>
              <a:ext uri="{FF2B5EF4-FFF2-40B4-BE49-F238E27FC236}">
                <a16:creationId xmlns:a16="http://schemas.microsoft.com/office/drawing/2014/main" id="{D310003A-9F98-4B16-9F97-38A2CA876D6A}"/>
              </a:ext>
            </a:extLst>
          </p:cNvPr>
          <p:cNvSpPr txBox="1">
            <a:spLocks noChangeAspect="1"/>
          </p:cNvSpPr>
          <p:nvPr/>
        </p:nvSpPr>
        <p:spPr>
          <a:xfrm>
            <a:off x="5866360" y="1488797"/>
            <a:ext cx="246221" cy="711488"/>
          </a:xfrm>
          <a:prstGeom prst="rect">
            <a:avLst/>
          </a:prstGeom>
        </p:spPr>
        <p:txBody>
          <a:bodyPr vert="vert270" wrap="square" lIns="0" tIns="5080" rIns="0" bIns="0" rtlCol="0">
            <a:spAutoFit/>
          </a:bodyPr>
          <a:lstStyle/>
          <a:p>
            <a:pPr marL="12699">
              <a:spcBef>
                <a:spcPts val="40"/>
              </a:spcBef>
            </a:pPr>
            <a:r>
              <a:rPr sz="800" dirty="0">
                <a:solidFill>
                  <a:srgbClr val="231F20"/>
                </a:solidFill>
                <a:latin typeface="Neue Frutiger World" panose="020B0603040304020203" pitchFamily="34" charset="0"/>
                <a:cs typeface="Neue Frutiger World" panose="020B0603040304020203" pitchFamily="34" charset="0"/>
              </a:rPr>
              <a:t>1-year</a:t>
            </a:r>
            <a:r>
              <a:rPr sz="800" spc="-5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mortality.</a:t>
            </a:r>
            <a:endParaRPr sz="800" dirty="0">
              <a:latin typeface="Neue Frutiger World" panose="020B0603040304020203" pitchFamily="34" charset="0"/>
              <a:cs typeface="Neue Frutiger World" panose="020B0603040304020203" pitchFamily="34" charset="0"/>
            </a:endParaRPr>
          </a:p>
        </p:txBody>
      </p:sp>
      <p:sp>
        <p:nvSpPr>
          <p:cNvPr id="51" name="object 21">
            <a:extLst>
              <a:ext uri="{FF2B5EF4-FFF2-40B4-BE49-F238E27FC236}">
                <a16:creationId xmlns:a16="http://schemas.microsoft.com/office/drawing/2014/main" id="{99433F1F-A345-42A6-BBAE-505D35DF37A5}"/>
              </a:ext>
            </a:extLst>
          </p:cNvPr>
          <p:cNvSpPr txBox="1">
            <a:spLocks noChangeAspect="1"/>
          </p:cNvSpPr>
          <p:nvPr/>
        </p:nvSpPr>
        <p:spPr>
          <a:xfrm>
            <a:off x="6818736" y="1342652"/>
            <a:ext cx="1337416" cy="782265"/>
          </a:xfrm>
          <a:prstGeom prst="rect">
            <a:avLst/>
          </a:prstGeom>
        </p:spPr>
        <p:txBody>
          <a:bodyPr vert="horz" wrap="square" lIns="0" tIns="12700" rIns="0" bIns="0" rtlCol="0">
            <a:spAutoFit/>
          </a:bodyPr>
          <a:lstStyle/>
          <a:p>
            <a:pPr marR="5079" algn="r">
              <a:spcBef>
                <a:spcPts val="100"/>
              </a:spcBef>
            </a:pPr>
            <a:r>
              <a:rPr sz="1300" spc="-5" dirty="0">
                <a:solidFill>
                  <a:srgbClr val="989AA5"/>
                </a:solidFill>
                <a:latin typeface="Neue Frutiger World" panose="020B0603040304020203" pitchFamily="34" charset="0"/>
                <a:cs typeface="Neue Frutiger World" panose="020B0603040304020203" pitchFamily="34" charset="0"/>
              </a:rPr>
              <a:t>38.1%</a:t>
            </a:r>
            <a:endParaRPr sz="1300" dirty="0">
              <a:latin typeface="Neue Frutiger World" panose="020B0603040304020203" pitchFamily="34" charset="0"/>
              <a:cs typeface="Neue Frutiger World" panose="020B0603040304020203" pitchFamily="34" charset="0"/>
            </a:endParaRPr>
          </a:p>
          <a:p>
            <a:pPr>
              <a:lnSpc>
                <a:spcPct val="100000"/>
              </a:lnSpc>
            </a:pPr>
            <a:endParaRPr sz="1400" dirty="0">
              <a:latin typeface="Neue Frutiger World" panose="020B0603040304020203" pitchFamily="34" charset="0"/>
              <a:cs typeface="Neue Frutiger World" panose="020B0603040304020203" pitchFamily="34" charset="0"/>
            </a:endParaRPr>
          </a:p>
          <a:p>
            <a:pPr marL="12699">
              <a:spcBef>
                <a:spcPts val="1150"/>
              </a:spcBef>
            </a:pPr>
            <a:r>
              <a:rPr sz="1300" spc="10" dirty="0">
                <a:solidFill>
                  <a:srgbClr val="00A9EB"/>
                </a:solidFill>
                <a:latin typeface="Neue Frutiger World" panose="020B0603040304020203" pitchFamily="34" charset="0"/>
                <a:cs typeface="Neue Frutiger World" panose="020B0603040304020203" pitchFamily="34" charset="0"/>
              </a:rPr>
              <a:t>13.3%</a:t>
            </a:r>
            <a:endParaRPr sz="1300" dirty="0">
              <a:latin typeface="Neue Frutiger World" panose="020B0603040304020203" pitchFamily="34" charset="0"/>
              <a:cs typeface="Neue Frutiger World" panose="020B0603040304020203" pitchFamily="34" charset="0"/>
            </a:endParaRPr>
          </a:p>
        </p:txBody>
      </p:sp>
      <p:sp>
        <p:nvSpPr>
          <p:cNvPr id="52" name="object 27">
            <a:extLst>
              <a:ext uri="{FF2B5EF4-FFF2-40B4-BE49-F238E27FC236}">
                <a16:creationId xmlns:a16="http://schemas.microsoft.com/office/drawing/2014/main" id="{14B0BDF0-ADC2-465D-9102-0A7798792638}"/>
              </a:ext>
            </a:extLst>
          </p:cNvPr>
          <p:cNvSpPr txBox="1">
            <a:spLocks noChangeAspect="1"/>
          </p:cNvSpPr>
          <p:nvPr/>
        </p:nvSpPr>
        <p:spPr>
          <a:xfrm>
            <a:off x="5845175" y="824820"/>
            <a:ext cx="3089681" cy="289823"/>
          </a:xfrm>
          <a:prstGeom prst="rect">
            <a:avLst/>
          </a:prstGeom>
        </p:spPr>
        <p:txBody>
          <a:bodyPr vert="horz" wrap="square" lIns="0" tIns="12700" rIns="0" bIns="0" rtlCol="0">
            <a:spAutoFit/>
          </a:bodyPr>
          <a:lstStyle/>
          <a:p>
            <a:pPr marL="38097">
              <a:spcBef>
                <a:spcPts val="100"/>
              </a:spcBef>
            </a:pPr>
            <a:r>
              <a:rPr sz="900" b="1" spc="-10" dirty="0">
                <a:solidFill>
                  <a:srgbClr val="231F20"/>
                </a:solidFill>
                <a:latin typeface="Neue Frutiger World" panose="020B0603040304020203" pitchFamily="34" charset="0"/>
                <a:cs typeface="Neue Frutiger World" panose="020B0603040304020203" pitchFamily="34" charset="0"/>
              </a:rPr>
              <a:t>Treatment</a:t>
            </a:r>
            <a:r>
              <a:rPr sz="900" b="1" spc="-85" dirty="0">
                <a:solidFill>
                  <a:srgbClr val="231F20"/>
                </a:solidFill>
                <a:latin typeface="Neue Frutiger World" panose="020B0603040304020203" pitchFamily="34" charset="0"/>
                <a:cs typeface="Neue Frutiger World" panose="020B0603040304020203" pitchFamily="34" charset="0"/>
              </a:rPr>
              <a:t> </a:t>
            </a:r>
            <a:r>
              <a:rPr sz="900" b="1" spc="10" dirty="0">
                <a:solidFill>
                  <a:srgbClr val="231F20"/>
                </a:solidFill>
                <a:latin typeface="Neue Frutiger World" panose="020B0603040304020203" pitchFamily="34" charset="0"/>
                <a:cs typeface="Neue Frutiger World" panose="020B0603040304020203" pitchFamily="34" charset="0"/>
              </a:rPr>
              <a:t>with</a:t>
            </a:r>
            <a:r>
              <a:rPr sz="900" b="1" spc="-55" dirty="0">
                <a:solidFill>
                  <a:srgbClr val="231F20"/>
                </a:solidFill>
                <a:latin typeface="Neue Frutiger World" panose="020B0603040304020203" pitchFamily="34" charset="0"/>
                <a:cs typeface="Neue Frutiger World" panose="020B0603040304020203" pitchFamily="34" charset="0"/>
              </a:rPr>
              <a:t> </a:t>
            </a:r>
            <a:r>
              <a:rPr sz="900" b="1" spc="5" dirty="0">
                <a:solidFill>
                  <a:srgbClr val="231F20"/>
                </a:solidFill>
                <a:latin typeface="Neue Frutiger World" panose="020B0603040304020203" pitchFamily="34" charset="0"/>
                <a:cs typeface="Neue Frutiger World" panose="020B0603040304020203" pitchFamily="34" charset="0"/>
              </a:rPr>
              <a:t>antibiotics</a:t>
            </a:r>
            <a:r>
              <a:rPr sz="900" b="1" spc="-55" dirty="0">
                <a:solidFill>
                  <a:srgbClr val="231F20"/>
                </a:solidFill>
                <a:latin typeface="Neue Frutiger World" panose="020B0603040304020203" pitchFamily="34" charset="0"/>
                <a:cs typeface="Neue Frutiger World" panose="020B0603040304020203" pitchFamily="34" charset="0"/>
              </a:rPr>
              <a:t> </a:t>
            </a:r>
            <a:r>
              <a:rPr sz="900" b="1" spc="-5" dirty="0">
                <a:solidFill>
                  <a:srgbClr val="231F20"/>
                </a:solidFill>
                <a:latin typeface="Neue Frutiger World" panose="020B0603040304020203" pitchFamily="34" charset="0"/>
                <a:cs typeface="Neue Frutiger World" panose="020B0603040304020203" pitchFamily="34" charset="0"/>
              </a:rPr>
              <a:t>alone</a:t>
            </a:r>
            <a:r>
              <a:rPr sz="900" b="1" spc="-60" dirty="0">
                <a:solidFill>
                  <a:srgbClr val="231F20"/>
                </a:solidFill>
                <a:latin typeface="Neue Frutiger World" panose="020B0603040304020203" pitchFamily="34" charset="0"/>
                <a:cs typeface="Neue Frutiger World" panose="020B0603040304020203" pitchFamily="34" charset="0"/>
              </a:rPr>
              <a:t> </a:t>
            </a:r>
            <a:r>
              <a:rPr sz="900" b="1" spc="5" dirty="0">
                <a:solidFill>
                  <a:srgbClr val="231F20"/>
                </a:solidFill>
                <a:latin typeface="Neue Frutiger World" panose="020B0603040304020203" pitchFamily="34" charset="0"/>
                <a:cs typeface="Neue Frutiger World" panose="020B0603040304020203" pitchFamily="34" charset="0"/>
              </a:rPr>
              <a:t>is</a:t>
            </a:r>
            <a:r>
              <a:rPr sz="900" b="1" spc="-55" dirty="0">
                <a:solidFill>
                  <a:srgbClr val="231F20"/>
                </a:solidFill>
                <a:latin typeface="Neue Frutiger World" panose="020B0603040304020203" pitchFamily="34" charset="0"/>
                <a:cs typeface="Neue Frutiger World" panose="020B0603040304020203" pitchFamily="34" charset="0"/>
              </a:rPr>
              <a:t> </a:t>
            </a:r>
            <a:r>
              <a:rPr sz="900" b="1" dirty="0">
                <a:solidFill>
                  <a:srgbClr val="231F20"/>
                </a:solidFill>
                <a:latin typeface="Neue Frutiger World" panose="020B0603040304020203" pitchFamily="34" charset="0"/>
                <a:cs typeface="Neue Frutiger World" panose="020B0603040304020203" pitchFamily="34" charset="0"/>
              </a:rPr>
              <a:t>associated</a:t>
            </a:r>
            <a:r>
              <a:rPr sz="900" b="1" spc="-80" dirty="0">
                <a:solidFill>
                  <a:srgbClr val="231F20"/>
                </a:solidFill>
                <a:latin typeface="Neue Frutiger World" panose="020B0603040304020203" pitchFamily="34" charset="0"/>
                <a:cs typeface="Neue Frutiger World" panose="020B0603040304020203" pitchFamily="34" charset="0"/>
              </a:rPr>
              <a:t> </a:t>
            </a:r>
            <a:r>
              <a:rPr sz="900" b="1" spc="10" dirty="0">
                <a:solidFill>
                  <a:srgbClr val="231F20"/>
                </a:solidFill>
                <a:latin typeface="Neue Frutiger World" panose="020B0603040304020203" pitchFamily="34" charset="0"/>
                <a:cs typeface="Neue Frutiger World" panose="020B0603040304020203" pitchFamily="34" charset="0"/>
              </a:rPr>
              <a:t>with</a:t>
            </a:r>
            <a:r>
              <a:rPr sz="900" b="1" spc="-55" dirty="0">
                <a:solidFill>
                  <a:srgbClr val="231F20"/>
                </a:solidFill>
                <a:latin typeface="Neue Frutiger World" panose="020B0603040304020203" pitchFamily="34" charset="0"/>
                <a:cs typeface="Neue Frutiger World" panose="020B0603040304020203" pitchFamily="34" charset="0"/>
              </a:rPr>
              <a:t> </a:t>
            </a:r>
            <a:r>
              <a:rPr sz="900" b="1" spc="-5" dirty="0">
                <a:solidFill>
                  <a:srgbClr val="231F20"/>
                </a:solidFill>
                <a:latin typeface="Neue Frutiger World" panose="020B0603040304020203" pitchFamily="34" charset="0"/>
                <a:cs typeface="Neue Frutiger World" panose="020B0603040304020203" pitchFamily="34" charset="0"/>
              </a:rPr>
              <a:t>increased</a:t>
            </a:r>
            <a:r>
              <a:rPr sz="900" b="1" spc="-60" dirty="0">
                <a:solidFill>
                  <a:srgbClr val="231F20"/>
                </a:solidFill>
                <a:latin typeface="Neue Frutiger World" panose="020B0603040304020203" pitchFamily="34" charset="0"/>
                <a:cs typeface="Neue Frutiger World" panose="020B0603040304020203" pitchFamily="34" charset="0"/>
              </a:rPr>
              <a:t> </a:t>
            </a:r>
            <a:r>
              <a:rPr sz="900" b="1" spc="-10" dirty="0">
                <a:solidFill>
                  <a:srgbClr val="231F20"/>
                </a:solidFill>
                <a:latin typeface="Neue Frutiger World" panose="020B0603040304020203" pitchFamily="34" charset="0"/>
                <a:cs typeface="Neue Frutiger World" panose="020B0603040304020203" pitchFamily="34" charset="0"/>
              </a:rPr>
              <a:t>mortality</a:t>
            </a:r>
            <a:r>
              <a:rPr sz="800" b="1" spc="-15" baseline="30864" dirty="0">
                <a:solidFill>
                  <a:srgbClr val="231F20"/>
                </a:solidFill>
                <a:latin typeface="Neue Frutiger World" panose="020B0603040304020203" pitchFamily="34" charset="0"/>
                <a:cs typeface="Neue Frutiger World" panose="020B0603040304020203" pitchFamily="34" charset="0"/>
              </a:rPr>
              <a:t>1,2</a:t>
            </a:r>
            <a:endParaRPr sz="800" b="1" baseline="30864" dirty="0">
              <a:latin typeface="Neue Frutiger World" panose="020B0603040304020203" pitchFamily="34" charset="0"/>
              <a:cs typeface="Neue Frutiger World" panose="020B0603040304020203" pitchFamily="34" charset="0"/>
            </a:endParaRPr>
          </a:p>
        </p:txBody>
      </p:sp>
      <p:sp>
        <p:nvSpPr>
          <p:cNvPr id="53" name="TextBox 52">
            <a:extLst>
              <a:ext uri="{FF2B5EF4-FFF2-40B4-BE49-F238E27FC236}">
                <a16:creationId xmlns:a16="http://schemas.microsoft.com/office/drawing/2014/main" id="{A82AA288-B343-415C-8A83-735A2362E680}"/>
              </a:ext>
            </a:extLst>
          </p:cNvPr>
          <p:cNvSpPr txBox="1"/>
          <p:nvPr/>
        </p:nvSpPr>
        <p:spPr>
          <a:xfrm>
            <a:off x="8071499" y="482861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54" name="Rectangle 53">
            <a:extLst>
              <a:ext uri="{FF2B5EF4-FFF2-40B4-BE49-F238E27FC236}">
                <a16:creationId xmlns:a16="http://schemas.microsoft.com/office/drawing/2014/main" id="{9FDAFE80-0681-41C5-BE94-56661D969AAD}"/>
              </a:ext>
            </a:extLst>
          </p:cNvPr>
          <p:cNvSpPr/>
          <p:nvPr/>
        </p:nvSpPr>
        <p:spPr>
          <a:xfrm>
            <a:off x="0" y="0"/>
            <a:ext cx="1227769" cy="5143500"/>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55" name="Table 54">
            <a:extLst>
              <a:ext uri="{FF2B5EF4-FFF2-40B4-BE49-F238E27FC236}">
                <a16:creationId xmlns:a16="http://schemas.microsoft.com/office/drawing/2014/main" id="{05C7CD48-DB5A-4345-9F16-FFB8766CED1A}"/>
              </a:ext>
            </a:extLst>
          </p:cNvPr>
          <p:cNvGraphicFramePr>
            <a:graphicFrameLocks noGrp="1"/>
          </p:cNvGraphicFramePr>
          <p:nvPr>
            <p:extLst>
              <p:ext uri="{D42A27DB-BD31-4B8C-83A1-F6EECF244321}">
                <p14:modId xmlns:p14="http://schemas.microsoft.com/office/powerpoint/2010/main" val="4175265731"/>
              </p:ext>
            </p:extLst>
          </p:nvPr>
        </p:nvGraphicFramePr>
        <p:xfrm>
          <a:off x="2" y="1"/>
          <a:ext cx="1227769" cy="5143500"/>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764">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76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76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328">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33112">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914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76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914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9144">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56" name="Rectangle 55">
            <a:hlinkClick r:id="rId2" action="ppaction://hlinksldjump"/>
            <a:extLst>
              <a:ext uri="{FF2B5EF4-FFF2-40B4-BE49-F238E27FC236}">
                <a16:creationId xmlns:a16="http://schemas.microsoft.com/office/drawing/2014/main" id="{84EC1C66-6CFD-40AE-9C1E-F4E792C3FCCF}"/>
              </a:ext>
            </a:extLst>
          </p:cNvPr>
          <p:cNvSpPr/>
          <p:nvPr/>
        </p:nvSpPr>
        <p:spPr>
          <a:xfrm>
            <a:off x="-2" y="14316"/>
            <a:ext cx="861859" cy="28230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3" action="ppaction://hlinksldjump"/>
            <a:extLst>
              <a:ext uri="{FF2B5EF4-FFF2-40B4-BE49-F238E27FC236}">
                <a16:creationId xmlns:a16="http://schemas.microsoft.com/office/drawing/2014/main" id="{CC06D04E-41AF-4512-B8E2-F01DEAA907CD}"/>
              </a:ext>
            </a:extLst>
          </p:cNvPr>
          <p:cNvSpPr/>
          <p:nvPr/>
        </p:nvSpPr>
        <p:spPr>
          <a:xfrm>
            <a:off x="10884" y="318528"/>
            <a:ext cx="921847" cy="12820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4" action="ppaction://hlinksldjump"/>
            <a:extLst>
              <a:ext uri="{FF2B5EF4-FFF2-40B4-BE49-F238E27FC236}">
                <a16:creationId xmlns:a16="http://schemas.microsoft.com/office/drawing/2014/main" id="{7D5DD6F4-90E3-44C1-A24E-E08981BDB899}"/>
              </a:ext>
            </a:extLst>
          </p:cNvPr>
          <p:cNvSpPr/>
          <p:nvPr/>
        </p:nvSpPr>
        <p:spPr>
          <a:xfrm>
            <a:off x="-2" y="442577"/>
            <a:ext cx="999945" cy="321669"/>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5" action="ppaction://hlinksldjump"/>
            <a:extLst>
              <a:ext uri="{FF2B5EF4-FFF2-40B4-BE49-F238E27FC236}">
                <a16:creationId xmlns:a16="http://schemas.microsoft.com/office/drawing/2014/main" id="{32799871-855E-4252-B337-9A8939949254}"/>
              </a:ext>
            </a:extLst>
          </p:cNvPr>
          <p:cNvSpPr/>
          <p:nvPr/>
        </p:nvSpPr>
        <p:spPr>
          <a:xfrm>
            <a:off x="45703" y="777499"/>
            <a:ext cx="949831" cy="13261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6" action="ppaction://hlinksldjump"/>
            <a:extLst>
              <a:ext uri="{FF2B5EF4-FFF2-40B4-BE49-F238E27FC236}">
                <a16:creationId xmlns:a16="http://schemas.microsoft.com/office/drawing/2014/main" id="{E3F1B4A2-602F-41E2-9188-51E66DDCF78E}"/>
              </a:ext>
            </a:extLst>
          </p:cNvPr>
          <p:cNvSpPr/>
          <p:nvPr/>
        </p:nvSpPr>
        <p:spPr>
          <a:xfrm>
            <a:off x="74378" y="911900"/>
            <a:ext cx="910962" cy="14153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7" action="ppaction://hlinksldjump"/>
            <a:extLst>
              <a:ext uri="{FF2B5EF4-FFF2-40B4-BE49-F238E27FC236}">
                <a16:creationId xmlns:a16="http://schemas.microsoft.com/office/drawing/2014/main" id="{93E24BAA-31A3-45A2-AD79-AEBA63B176F8}"/>
              </a:ext>
            </a:extLst>
          </p:cNvPr>
          <p:cNvSpPr/>
          <p:nvPr/>
        </p:nvSpPr>
        <p:spPr>
          <a:xfrm>
            <a:off x="77827" y="1058856"/>
            <a:ext cx="949830" cy="14153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8" action="ppaction://hlinksldjump"/>
            <a:extLst>
              <a:ext uri="{FF2B5EF4-FFF2-40B4-BE49-F238E27FC236}">
                <a16:creationId xmlns:a16="http://schemas.microsoft.com/office/drawing/2014/main" id="{57FE8C75-4ED3-4051-A7FF-C936A37EBAB8}"/>
              </a:ext>
            </a:extLst>
          </p:cNvPr>
          <p:cNvSpPr/>
          <p:nvPr/>
        </p:nvSpPr>
        <p:spPr>
          <a:xfrm>
            <a:off x="0" y="1214330"/>
            <a:ext cx="1021753" cy="289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9" action="ppaction://hlinksldjump"/>
            <a:extLst>
              <a:ext uri="{FF2B5EF4-FFF2-40B4-BE49-F238E27FC236}">
                <a16:creationId xmlns:a16="http://schemas.microsoft.com/office/drawing/2014/main" id="{F522BBED-549F-4456-8244-CA347736DCFB}"/>
              </a:ext>
            </a:extLst>
          </p:cNvPr>
          <p:cNvSpPr/>
          <p:nvPr/>
        </p:nvSpPr>
        <p:spPr>
          <a:xfrm>
            <a:off x="62966" y="1510932"/>
            <a:ext cx="910778" cy="13768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extLst>
              <a:ext uri="{FF2B5EF4-FFF2-40B4-BE49-F238E27FC236}">
                <a16:creationId xmlns:a16="http://schemas.microsoft.com/office/drawing/2014/main" id="{EC5F9ACF-2A48-473F-BAE8-D3B528D6D683}"/>
              </a:ext>
            </a:extLst>
          </p:cNvPr>
          <p:cNvSpPr/>
          <p:nvPr/>
        </p:nvSpPr>
        <p:spPr>
          <a:xfrm>
            <a:off x="69638" y="1795003"/>
            <a:ext cx="910778" cy="10722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hlinkClick r:id="rId10" action="ppaction://hlinksldjump"/>
            <a:extLst>
              <a:ext uri="{FF2B5EF4-FFF2-40B4-BE49-F238E27FC236}">
                <a16:creationId xmlns:a16="http://schemas.microsoft.com/office/drawing/2014/main" id="{C2B8696C-97E1-476A-B94D-7C7415AE22D2}"/>
              </a:ext>
            </a:extLst>
          </p:cNvPr>
          <p:cNvSpPr/>
          <p:nvPr/>
        </p:nvSpPr>
        <p:spPr>
          <a:xfrm>
            <a:off x="89185" y="1670111"/>
            <a:ext cx="910778" cy="14100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11" action="ppaction://hlinksldjump"/>
            <a:extLst>
              <a:ext uri="{FF2B5EF4-FFF2-40B4-BE49-F238E27FC236}">
                <a16:creationId xmlns:a16="http://schemas.microsoft.com/office/drawing/2014/main" id="{5CACAE6B-2EFD-4366-8981-C984B9139C44}"/>
              </a:ext>
            </a:extLst>
          </p:cNvPr>
          <p:cNvSpPr/>
          <p:nvPr/>
        </p:nvSpPr>
        <p:spPr>
          <a:xfrm>
            <a:off x="191877" y="1962724"/>
            <a:ext cx="910778" cy="14100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12" action="ppaction://hlinksldjump"/>
            <a:extLst>
              <a:ext uri="{FF2B5EF4-FFF2-40B4-BE49-F238E27FC236}">
                <a16:creationId xmlns:a16="http://schemas.microsoft.com/office/drawing/2014/main" id="{DA07E3EF-122F-4015-8098-958138FB34D9}"/>
              </a:ext>
            </a:extLst>
          </p:cNvPr>
          <p:cNvSpPr/>
          <p:nvPr/>
        </p:nvSpPr>
        <p:spPr>
          <a:xfrm>
            <a:off x="191877" y="2128648"/>
            <a:ext cx="910778" cy="12277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8" name="Rectangle 67">
            <a:hlinkClick r:id="rId13" action="ppaction://hlinksldjump"/>
            <a:extLst>
              <a:ext uri="{FF2B5EF4-FFF2-40B4-BE49-F238E27FC236}">
                <a16:creationId xmlns:a16="http://schemas.microsoft.com/office/drawing/2014/main" id="{79E3253E-B02D-446D-8758-8F750CE96CF3}"/>
              </a:ext>
            </a:extLst>
          </p:cNvPr>
          <p:cNvSpPr/>
          <p:nvPr/>
        </p:nvSpPr>
        <p:spPr>
          <a:xfrm>
            <a:off x="191877" y="2263731"/>
            <a:ext cx="910778" cy="134449"/>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9" name="Rectangle 68">
            <a:hlinkClick r:id="rId14" action="ppaction://hlinksldjump"/>
            <a:extLst>
              <a:ext uri="{FF2B5EF4-FFF2-40B4-BE49-F238E27FC236}">
                <a16:creationId xmlns:a16="http://schemas.microsoft.com/office/drawing/2014/main" id="{01DAB614-B33D-4CFD-9223-9A6EDE093B15}"/>
              </a:ext>
            </a:extLst>
          </p:cNvPr>
          <p:cNvSpPr/>
          <p:nvPr/>
        </p:nvSpPr>
        <p:spPr>
          <a:xfrm>
            <a:off x="182796" y="2421433"/>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0" name="Rectangle 69">
            <a:hlinkClick r:id="rId15" action="ppaction://hlinksldjump"/>
            <a:extLst>
              <a:ext uri="{FF2B5EF4-FFF2-40B4-BE49-F238E27FC236}">
                <a16:creationId xmlns:a16="http://schemas.microsoft.com/office/drawing/2014/main" id="{42CFCE33-C6C2-4343-8DF5-B7467481CF90}"/>
              </a:ext>
            </a:extLst>
          </p:cNvPr>
          <p:cNvSpPr/>
          <p:nvPr/>
        </p:nvSpPr>
        <p:spPr>
          <a:xfrm>
            <a:off x="187339" y="2580734"/>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1" name="Rectangle 70">
            <a:hlinkClick r:id="rId16" action="ppaction://hlinksldjump"/>
            <a:extLst>
              <a:ext uri="{FF2B5EF4-FFF2-40B4-BE49-F238E27FC236}">
                <a16:creationId xmlns:a16="http://schemas.microsoft.com/office/drawing/2014/main" id="{267E2E4A-C242-462A-B342-88976A644106}"/>
              </a:ext>
            </a:extLst>
          </p:cNvPr>
          <p:cNvSpPr/>
          <p:nvPr/>
        </p:nvSpPr>
        <p:spPr>
          <a:xfrm>
            <a:off x="27199" y="2722696"/>
            <a:ext cx="949831" cy="3832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2" name="Rectangle 71">
            <a:hlinkClick r:id="rId17" action="ppaction://hlinksldjump"/>
            <a:extLst>
              <a:ext uri="{FF2B5EF4-FFF2-40B4-BE49-F238E27FC236}">
                <a16:creationId xmlns:a16="http://schemas.microsoft.com/office/drawing/2014/main" id="{ABA8A77F-114C-492C-9CBF-894B25949E8B}"/>
              </a:ext>
            </a:extLst>
          </p:cNvPr>
          <p:cNvSpPr/>
          <p:nvPr/>
        </p:nvSpPr>
        <p:spPr>
          <a:xfrm>
            <a:off x="81237" y="310455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3" name="Rectangle 72">
            <a:hlinkClick r:id="rId18" action="ppaction://hlinksldjump"/>
            <a:extLst>
              <a:ext uri="{FF2B5EF4-FFF2-40B4-BE49-F238E27FC236}">
                <a16:creationId xmlns:a16="http://schemas.microsoft.com/office/drawing/2014/main" id="{F2B60E91-2232-4CA4-B369-375B246CF418}"/>
              </a:ext>
            </a:extLst>
          </p:cNvPr>
          <p:cNvSpPr/>
          <p:nvPr/>
        </p:nvSpPr>
        <p:spPr>
          <a:xfrm>
            <a:off x="171763" y="342185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4" name="Rectangle 73">
            <a:hlinkClick r:id="rId19" action="ppaction://hlinksldjump"/>
            <a:extLst>
              <a:ext uri="{FF2B5EF4-FFF2-40B4-BE49-F238E27FC236}">
                <a16:creationId xmlns:a16="http://schemas.microsoft.com/office/drawing/2014/main" id="{D18BF5E5-2922-4ACF-99D6-1F844DDB8A32}"/>
              </a:ext>
            </a:extLst>
          </p:cNvPr>
          <p:cNvSpPr/>
          <p:nvPr/>
        </p:nvSpPr>
        <p:spPr>
          <a:xfrm>
            <a:off x="163966" y="356229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5" name="Rectangle 74">
            <a:hlinkClick r:id="rId20" action="ppaction://hlinksldjump"/>
            <a:extLst>
              <a:ext uri="{FF2B5EF4-FFF2-40B4-BE49-F238E27FC236}">
                <a16:creationId xmlns:a16="http://schemas.microsoft.com/office/drawing/2014/main" id="{D7120604-9349-43BF-B3BF-07C16E41C0AE}"/>
              </a:ext>
            </a:extLst>
          </p:cNvPr>
          <p:cNvSpPr/>
          <p:nvPr/>
        </p:nvSpPr>
        <p:spPr>
          <a:xfrm>
            <a:off x="157227" y="3725628"/>
            <a:ext cx="910778" cy="2345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6" name="Rectangle 75">
            <a:hlinkClick r:id="rId21" action="ppaction://hlinksldjump"/>
            <a:extLst>
              <a:ext uri="{FF2B5EF4-FFF2-40B4-BE49-F238E27FC236}">
                <a16:creationId xmlns:a16="http://schemas.microsoft.com/office/drawing/2014/main" id="{2077CFDB-3EC6-4C58-8619-8F8F37A589DA}"/>
              </a:ext>
            </a:extLst>
          </p:cNvPr>
          <p:cNvSpPr/>
          <p:nvPr/>
        </p:nvSpPr>
        <p:spPr>
          <a:xfrm>
            <a:off x="12234" y="3944039"/>
            <a:ext cx="946330" cy="30129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7" name="Rectangle 76">
            <a:hlinkClick r:id="rId22" action="ppaction://hlinksldjump"/>
            <a:extLst>
              <a:ext uri="{FF2B5EF4-FFF2-40B4-BE49-F238E27FC236}">
                <a16:creationId xmlns:a16="http://schemas.microsoft.com/office/drawing/2014/main" id="{E0B2D5CD-D462-45A2-8798-BD2DA600CA30}"/>
              </a:ext>
            </a:extLst>
          </p:cNvPr>
          <p:cNvSpPr/>
          <p:nvPr/>
        </p:nvSpPr>
        <p:spPr>
          <a:xfrm>
            <a:off x="89165" y="425927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8" name="Rectangle 77">
            <a:extLst>
              <a:ext uri="{FF2B5EF4-FFF2-40B4-BE49-F238E27FC236}">
                <a16:creationId xmlns:a16="http://schemas.microsoft.com/office/drawing/2014/main" id="{CA229257-92AD-442D-A088-EDE8861907FA}"/>
              </a:ext>
            </a:extLst>
          </p:cNvPr>
          <p:cNvSpPr/>
          <p:nvPr/>
        </p:nvSpPr>
        <p:spPr>
          <a:xfrm>
            <a:off x="103549" y="4744083"/>
            <a:ext cx="964456"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9" name="Rectangle 78">
            <a:hlinkClick r:id="rId23" action="ppaction://hlinksldjump"/>
            <a:extLst>
              <a:ext uri="{FF2B5EF4-FFF2-40B4-BE49-F238E27FC236}">
                <a16:creationId xmlns:a16="http://schemas.microsoft.com/office/drawing/2014/main" id="{A4AD33B0-0905-4014-A1EF-4825253DAE9D}"/>
              </a:ext>
            </a:extLst>
          </p:cNvPr>
          <p:cNvSpPr/>
          <p:nvPr/>
        </p:nvSpPr>
        <p:spPr>
          <a:xfrm>
            <a:off x="171763" y="4545904"/>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0" name="Rectangle 79">
            <a:hlinkClick r:id="rId24" action="ppaction://hlinksldjump"/>
            <a:extLst>
              <a:ext uri="{FF2B5EF4-FFF2-40B4-BE49-F238E27FC236}">
                <a16:creationId xmlns:a16="http://schemas.microsoft.com/office/drawing/2014/main" id="{D498ECC8-B15B-4A3E-8B90-AA5D6DD622BF}"/>
              </a:ext>
            </a:extLst>
          </p:cNvPr>
          <p:cNvSpPr/>
          <p:nvPr/>
        </p:nvSpPr>
        <p:spPr>
          <a:xfrm>
            <a:off x="171763" y="4706748"/>
            <a:ext cx="910778" cy="2334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1" name="Rectangle 80">
            <a:hlinkClick r:id="rId25" action="ppaction://hlinksldjump"/>
            <a:extLst>
              <a:ext uri="{FF2B5EF4-FFF2-40B4-BE49-F238E27FC236}">
                <a16:creationId xmlns:a16="http://schemas.microsoft.com/office/drawing/2014/main" id="{55663647-57B4-4C10-B85F-BA2DE066F267}"/>
              </a:ext>
            </a:extLst>
          </p:cNvPr>
          <p:cNvSpPr/>
          <p:nvPr/>
        </p:nvSpPr>
        <p:spPr>
          <a:xfrm>
            <a:off x="5707" y="4936335"/>
            <a:ext cx="910778" cy="20716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 name="Rectangle 5">
            <a:extLst>
              <a:ext uri="{FF2B5EF4-FFF2-40B4-BE49-F238E27FC236}">
                <a16:creationId xmlns:a16="http://schemas.microsoft.com/office/drawing/2014/main" id="{F5BFD792-8F63-49B1-9E33-F0567A3971AC}"/>
              </a:ext>
            </a:extLst>
          </p:cNvPr>
          <p:cNvSpPr/>
          <p:nvPr/>
        </p:nvSpPr>
        <p:spPr>
          <a:xfrm>
            <a:off x="5787003" y="764246"/>
            <a:ext cx="3024336" cy="2004790"/>
          </a:xfrm>
          <a:prstGeom prst="rect">
            <a:avLst/>
          </a:prstGeom>
          <a:solidFill>
            <a:srgbClr val="0089C4">
              <a:alpha val="6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206990262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D673C-F045-4C40-AE44-D48B675F0C3D}"/>
              </a:ext>
            </a:extLst>
          </p:cNvPr>
          <p:cNvSpPr>
            <a:spLocks noGrp="1"/>
          </p:cNvSpPr>
          <p:nvPr>
            <p:ph type="title"/>
          </p:nvPr>
        </p:nvSpPr>
        <p:spPr>
          <a:xfrm>
            <a:off x="1547664" y="296624"/>
            <a:ext cx="3744416" cy="682057"/>
          </a:xfrm>
        </p:spPr>
        <p:txBody>
          <a:bodyPr/>
          <a:lstStyle/>
          <a:p>
            <a:r>
              <a:rPr lang="en-GB" sz="1800" noProof="0" dirty="0">
                <a:latin typeface="Neue Frutiger World" panose="020B0603040304020203" pitchFamily="34" charset="0"/>
                <a:cs typeface="Neue Frutiger World" panose="020B0603040304020203" pitchFamily="34" charset="0"/>
              </a:rPr>
              <a:t>Account checklist - infection</a:t>
            </a:r>
          </a:p>
        </p:txBody>
      </p:sp>
      <p:sp>
        <p:nvSpPr>
          <p:cNvPr id="3" name="Footer Placeholder 2">
            <a:extLst>
              <a:ext uri="{FF2B5EF4-FFF2-40B4-BE49-F238E27FC236}">
                <a16:creationId xmlns:a16="http://schemas.microsoft.com/office/drawing/2014/main" id="{0E8B7CB1-7FCA-486E-87C6-0DE09593D2A4}"/>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95A5B40F-72C9-4E5C-A21E-3AD8E1E09D11}"/>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4</a:t>
            </a:fld>
            <a:endParaRPr lang="en-US" noProof="0" dirty="0">
              <a:latin typeface="Neue Frutiger World" panose="020B0603040304020203" pitchFamily="34" charset="0"/>
              <a:cs typeface="Neue Frutiger World" panose="020B0603040304020203" pitchFamily="34" charset="0"/>
            </a:endParaRPr>
          </a:p>
        </p:txBody>
      </p:sp>
      <p:sp>
        <p:nvSpPr>
          <p:cNvPr id="5" name="Text Placeholder 4">
            <a:extLst>
              <a:ext uri="{FF2B5EF4-FFF2-40B4-BE49-F238E27FC236}">
                <a16:creationId xmlns:a16="http://schemas.microsoft.com/office/drawing/2014/main" id="{286C7315-471D-440C-BFEC-A4B2A7E5F31F}"/>
              </a:ext>
            </a:extLst>
          </p:cNvPr>
          <p:cNvSpPr>
            <a:spLocks noGrp="1"/>
          </p:cNvSpPr>
          <p:nvPr>
            <p:ph type="body" sz="quarter" idx="14"/>
          </p:nvPr>
        </p:nvSpPr>
        <p:spPr>
          <a:xfrm>
            <a:off x="5136731" y="678413"/>
            <a:ext cx="3744416" cy="3852505"/>
          </a:xfrm>
        </p:spPr>
        <p:txBody>
          <a:bodyPr/>
          <a:lstStyle/>
          <a:p>
            <a:pPr marL="0" marR="5079" indent="0">
              <a:lnSpc>
                <a:spcPct val="104200"/>
              </a:lnSpc>
              <a:spcBef>
                <a:spcPts val="350"/>
              </a:spcBef>
              <a:buNone/>
              <a:tabLst>
                <a:tab pos="114290" algn="l"/>
              </a:tabLst>
            </a:pPr>
            <a:r>
              <a:rPr lang="en-GB" sz="1200" spc="-15" noProof="0" dirty="0">
                <a:solidFill>
                  <a:srgbClr val="0077CD"/>
                </a:solidFill>
                <a:latin typeface="Neue Frutiger World" panose="020B0603040304020203" pitchFamily="34" charset="0"/>
                <a:cs typeface="Neue Frutiger World" panose="020B0603040304020203" pitchFamily="34" charset="0"/>
              </a:rPr>
              <a:t>Gain commitment from the extractor/referrer</a:t>
            </a:r>
          </a:p>
          <a:p>
            <a:pPr marL="360333" lvl="1" indent="-126989">
              <a:spcBef>
                <a:spcPts val="275"/>
              </a:spcBef>
              <a:buFontTx/>
              <a:buAutoNum type="arabicPeriod"/>
              <a:tabLst>
                <a:tab pos="360650" algn="l"/>
              </a:tabLst>
            </a:pPr>
            <a:r>
              <a:rPr lang="en-GB" sz="800" spc="-15" noProof="0" dirty="0">
                <a:latin typeface="Neue Frutiger World" panose="020B0603040304020203" pitchFamily="34" charset="0"/>
                <a:cs typeface="Neue Frutiger World" panose="020B0603040304020203" pitchFamily="34" charset="0"/>
              </a:rPr>
              <a:t>Such that</a:t>
            </a:r>
            <a:r>
              <a:rPr lang="en-GB" sz="800" spc="15" noProof="0" dirty="0">
                <a:latin typeface="Neue Frutiger World" panose="020B0603040304020203" pitchFamily="34" charset="0"/>
                <a:cs typeface="Neue Frutiger World" panose="020B0603040304020203" pitchFamily="34" charset="0"/>
              </a:rPr>
              <a:t> when </a:t>
            </a:r>
            <a:r>
              <a:rPr lang="en-GB" sz="800" spc="-10" noProof="0" dirty="0">
                <a:latin typeface="Neue Frutiger World" panose="020B0603040304020203" pitchFamily="34" charset="0"/>
                <a:cs typeface="Neue Frutiger World" panose="020B0603040304020203" pitchFamily="34" charset="0"/>
              </a:rPr>
              <a:t>infection</a:t>
            </a:r>
            <a:r>
              <a:rPr lang="en-GB" sz="800" spc="15" noProof="0" dirty="0">
                <a:latin typeface="Neue Frutiger World" panose="020B0603040304020203" pitchFamily="34" charset="0"/>
                <a:cs typeface="Neue Frutiger World" panose="020B0603040304020203" pitchFamily="34" charset="0"/>
              </a:rPr>
              <a:t> </a:t>
            </a:r>
            <a:r>
              <a:rPr lang="en-GB" sz="800" spc="-10" noProof="0" dirty="0">
                <a:latin typeface="Neue Frutiger World" panose="020B0603040304020203" pitchFamily="34" charset="0"/>
                <a:cs typeface="Neue Frutiger World" panose="020B0603040304020203" pitchFamily="34" charset="0"/>
              </a:rPr>
              <a:t>patients</a:t>
            </a:r>
            <a:r>
              <a:rPr lang="en-GB" sz="800" spc="10" noProof="0" dirty="0">
                <a:latin typeface="Neue Frutiger World" panose="020B0603040304020203" pitchFamily="34" charset="0"/>
                <a:cs typeface="Neue Frutiger World" panose="020B0603040304020203" pitchFamily="34" charset="0"/>
              </a:rPr>
              <a:t> </a:t>
            </a:r>
            <a:r>
              <a:rPr lang="en-GB" sz="800" spc="-5" noProof="0" dirty="0">
                <a:latin typeface="Neue Frutiger World" panose="020B0603040304020203" pitchFamily="34" charset="0"/>
                <a:cs typeface="Neue Frutiger World" panose="020B0603040304020203" pitchFamily="34" charset="0"/>
              </a:rPr>
              <a:t>are </a:t>
            </a:r>
            <a:r>
              <a:rPr lang="en-GB" sz="800" spc="-15" noProof="0" dirty="0">
                <a:latin typeface="Neue Frutiger World" panose="020B0603040304020203" pitchFamily="34" charset="0"/>
                <a:cs typeface="Neue Frutiger World" panose="020B0603040304020203" pitchFamily="34" charset="0"/>
              </a:rPr>
              <a:t>referred</a:t>
            </a:r>
            <a:r>
              <a:rPr lang="en-GB" sz="800" spc="10" noProof="0" dirty="0">
                <a:latin typeface="Neue Frutiger World" panose="020B0603040304020203" pitchFamily="34" charset="0"/>
                <a:cs typeface="Neue Frutiger World" panose="020B0603040304020203" pitchFamily="34" charset="0"/>
              </a:rPr>
              <a:t> </a:t>
            </a:r>
            <a:r>
              <a:rPr lang="en-GB" sz="800" spc="-20" noProof="0" dirty="0">
                <a:latin typeface="Neue Frutiger World" panose="020B0603040304020203" pitchFamily="34" charset="0"/>
                <a:cs typeface="Neue Frutiger World" panose="020B0603040304020203" pitchFamily="34" charset="0"/>
              </a:rPr>
              <a:t>to</a:t>
            </a:r>
            <a:r>
              <a:rPr lang="en-GB" sz="800" spc="5" noProof="0" dirty="0">
                <a:latin typeface="Neue Frutiger World" panose="020B0603040304020203" pitchFamily="34" charset="0"/>
                <a:cs typeface="Neue Frutiger World" panose="020B0603040304020203" pitchFamily="34" charset="0"/>
              </a:rPr>
              <a:t> </a:t>
            </a:r>
            <a:r>
              <a:rPr lang="en-GB" sz="800" spc="-10" noProof="0" dirty="0">
                <a:latin typeface="Neue Frutiger World" panose="020B0603040304020203" pitchFamily="34" charset="0"/>
                <a:cs typeface="Neue Frutiger World" panose="020B0603040304020203" pitchFamily="34" charset="0"/>
              </a:rPr>
              <a:t>the</a:t>
            </a:r>
            <a:r>
              <a:rPr lang="en-GB" sz="800" spc="15" noProof="0" dirty="0">
                <a:latin typeface="Neue Frutiger World" panose="020B0603040304020203" pitchFamily="34" charset="0"/>
                <a:cs typeface="Neue Frutiger World" panose="020B0603040304020203" pitchFamily="34" charset="0"/>
              </a:rPr>
              <a:t> </a:t>
            </a:r>
            <a:r>
              <a:rPr lang="en-GB" sz="800" spc="-10" noProof="0" dirty="0">
                <a:latin typeface="Neue Frutiger World" panose="020B0603040304020203" pitchFamily="34" charset="0"/>
                <a:cs typeface="Neue Frutiger World" panose="020B0603040304020203" pitchFamily="34" charset="0"/>
              </a:rPr>
              <a:t>hospital, they </a:t>
            </a:r>
            <a:r>
              <a:rPr lang="en-GB" sz="800" noProof="0" dirty="0">
                <a:latin typeface="Neue Frutiger World" panose="020B0603040304020203" pitchFamily="34" charset="0"/>
                <a:cs typeface="Neue Frutiger World" panose="020B0603040304020203" pitchFamily="34" charset="0"/>
              </a:rPr>
              <a:t>will </a:t>
            </a:r>
            <a:r>
              <a:rPr lang="en-GB" sz="800" spc="-10" noProof="0" dirty="0">
                <a:latin typeface="Neue Frutiger World" panose="020B0603040304020203" pitchFamily="34" charset="0"/>
                <a:cs typeface="Neue Frutiger World" panose="020B0603040304020203" pitchFamily="34" charset="0"/>
              </a:rPr>
              <a:t>receive</a:t>
            </a:r>
            <a:r>
              <a:rPr lang="en-GB" sz="800" spc="5" noProof="0" dirty="0">
                <a:latin typeface="Neue Frutiger World" panose="020B0603040304020203" pitchFamily="34" charset="0"/>
                <a:cs typeface="Neue Frutiger World" panose="020B0603040304020203" pitchFamily="34" charset="0"/>
              </a:rPr>
              <a:t> </a:t>
            </a:r>
            <a:r>
              <a:rPr lang="en-GB" sz="800" spc="-5" noProof="0" dirty="0">
                <a:latin typeface="Neue Frutiger World" panose="020B0603040304020203" pitchFamily="34" charset="0"/>
                <a:cs typeface="Neue Frutiger World" panose="020B0603040304020203" pitchFamily="34" charset="0"/>
              </a:rPr>
              <a:t>an</a:t>
            </a:r>
            <a:r>
              <a:rPr lang="en-GB" sz="800" spc="5" noProof="0" dirty="0">
                <a:latin typeface="Neue Frutiger World" panose="020B0603040304020203" pitchFamily="34" charset="0"/>
                <a:cs typeface="Neue Frutiger World" panose="020B0603040304020203" pitchFamily="34" charset="0"/>
              </a:rPr>
              <a:t> </a:t>
            </a:r>
            <a:r>
              <a:rPr lang="en-GB" sz="800" spc="-10" noProof="0" dirty="0">
                <a:latin typeface="Neue Frutiger World" panose="020B0603040304020203" pitchFamily="34" charset="0"/>
                <a:cs typeface="Neue Frutiger World" panose="020B0603040304020203" pitchFamily="34" charset="0"/>
              </a:rPr>
              <a:t>extraction</a:t>
            </a:r>
          </a:p>
          <a:p>
            <a:pPr marL="360333" lvl="1" indent="-126989">
              <a:spcBef>
                <a:spcPts val="275"/>
              </a:spcBef>
              <a:buFontTx/>
              <a:buAutoNum type="arabicPeriod"/>
              <a:tabLst>
                <a:tab pos="360650" algn="l"/>
              </a:tabLst>
            </a:pPr>
            <a:r>
              <a:rPr lang="en-GB" sz="800" spc="-10" noProof="0" dirty="0">
                <a:latin typeface="Neue Frutiger World" panose="020B0603040304020203" pitchFamily="34" charset="0"/>
                <a:cs typeface="Neue Frutiger World" panose="020B0603040304020203" pitchFamily="34" charset="0"/>
              </a:rPr>
              <a:t>Such that when patients are identified they will refer to the extractor.</a:t>
            </a:r>
          </a:p>
          <a:p>
            <a:pPr marL="233344" lvl="1">
              <a:spcBef>
                <a:spcPts val="275"/>
              </a:spcBef>
              <a:tabLst>
                <a:tab pos="360650" algn="l"/>
              </a:tabLst>
            </a:pPr>
            <a:endParaRPr lang="en-GB" sz="800" spc="-15" noProof="0" dirty="0">
              <a:latin typeface="Neue Frutiger World" panose="020B0603040304020203" pitchFamily="34" charset="0"/>
              <a:cs typeface="Neue Frutiger World" panose="020B0603040304020203" pitchFamily="34" charset="0"/>
            </a:endParaRPr>
          </a:p>
          <a:p>
            <a:pPr marL="0" marR="26032" indent="0">
              <a:lnSpc>
                <a:spcPct val="104200"/>
              </a:lnSpc>
              <a:spcBef>
                <a:spcPts val="450"/>
              </a:spcBef>
              <a:buNone/>
              <a:tabLst>
                <a:tab pos="114290" algn="l"/>
              </a:tabLst>
            </a:pPr>
            <a:r>
              <a:rPr lang="en-GB" sz="1200" spc="-15" noProof="0" dirty="0">
                <a:solidFill>
                  <a:srgbClr val="0077CD"/>
                </a:solidFill>
                <a:latin typeface="Neue Frutiger World" panose="020B0603040304020203" pitchFamily="34" charset="0"/>
                <a:cs typeface="Neue Frutiger World" panose="020B0603040304020203" pitchFamily="34" charset="0"/>
              </a:rPr>
              <a:t>Work with your extractor to:</a:t>
            </a:r>
          </a:p>
          <a:p>
            <a:pPr marL="177785" marR="26032" indent="-177785">
              <a:lnSpc>
                <a:spcPct val="104200"/>
              </a:lnSpc>
              <a:spcBef>
                <a:spcPts val="450"/>
              </a:spcBef>
              <a:buClr>
                <a:srgbClr val="0077CD"/>
              </a:buClr>
              <a:buFont typeface="Arial" panose="020B0604020202020204" pitchFamily="34" charset="0"/>
              <a:buChar char="•"/>
              <a:tabLst>
                <a:tab pos="114290" algn="l"/>
              </a:tabLst>
            </a:pPr>
            <a:r>
              <a:rPr lang="en-GB" sz="1200" spc="-15" noProof="0" dirty="0">
                <a:solidFill>
                  <a:srgbClr val="0077CD"/>
                </a:solidFill>
                <a:latin typeface="Neue Frutiger World" panose="020B0603040304020203" pitchFamily="34" charset="0"/>
                <a:cs typeface="Neue Frutiger World" panose="020B0603040304020203" pitchFamily="34" charset="0"/>
              </a:rPr>
              <a:t>Implement a process for identifying infection patients </a:t>
            </a:r>
            <a:endParaRPr lang="en-GB" sz="700" spc="-10" noProof="0" dirty="0">
              <a:solidFill>
                <a:srgbClr val="231F20"/>
              </a:solidFill>
              <a:latin typeface="Neue Frutiger World" panose="020B0603040304020203" pitchFamily="34" charset="0"/>
              <a:cs typeface="Neue Frutiger World" panose="020B0603040304020203" pitchFamily="34" charset="0"/>
            </a:endParaRPr>
          </a:p>
          <a:p>
            <a:pPr marL="92075" marR="26032" indent="0">
              <a:lnSpc>
                <a:spcPct val="104200"/>
              </a:lnSpc>
              <a:spcBef>
                <a:spcPts val="450"/>
              </a:spcBef>
              <a:buNone/>
              <a:tabLst>
                <a:tab pos="114290" algn="l"/>
              </a:tabLst>
            </a:pPr>
            <a:r>
              <a:rPr lang="en-GB" sz="7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stepwis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pproach:</a:t>
            </a:r>
            <a:endParaRPr lang="en-GB" sz="800" noProof="0" dirty="0">
              <a:latin typeface="Neue Frutiger World" panose="020B0603040304020203" pitchFamily="34" charset="0"/>
              <a:cs typeface="Neue Frutiger World" panose="020B0603040304020203" pitchFamily="34" charset="0"/>
            </a:endParaRPr>
          </a:p>
          <a:p>
            <a:pPr marL="360333" lvl="1" indent="-126989">
              <a:spcBef>
                <a:spcPts val="275"/>
              </a:spcBef>
              <a:buAutoNum type="arabicPeriod"/>
              <a:tabLst>
                <a:tab pos="360650" algn="l"/>
              </a:tabLst>
            </a:pPr>
            <a:r>
              <a:rPr lang="en-GB" sz="800" spc="-10" noProof="0" dirty="0">
                <a:latin typeface="Neue Frutiger World" panose="020B0603040304020203" pitchFamily="34" charset="0"/>
                <a:cs typeface="Neue Frutiger World" panose="020B0603040304020203" pitchFamily="34" charset="0"/>
              </a:rPr>
              <a:t>Within the </a:t>
            </a:r>
            <a:r>
              <a:rPr lang="en-GB" sz="800" spc="-5" noProof="0" dirty="0">
                <a:latin typeface="Neue Frutiger World" panose="020B0603040304020203" pitchFamily="34" charset="0"/>
                <a:cs typeface="Neue Frutiger World" panose="020B0603040304020203" pitchFamily="34" charset="0"/>
              </a:rPr>
              <a:t>device </a:t>
            </a:r>
            <a:r>
              <a:rPr lang="en-GB" sz="800" spc="-5" noProof="0" dirty="0">
                <a:solidFill>
                  <a:srgbClr val="231F20"/>
                </a:solidFill>
                <a:latin typeface="Neue Frutiger World" panose="020B0603040304020203" pitchFamily="34" charset="0"/>
                <a:cs typeface="Neue Frutiger World" panose="020B0603040304020203" pitchFamily="34" charset="0"/>
              </a:rPr>
              <a:t>clinic (patient follow-up).</a:t>
            </a:r>
            <a:endParaRPr lang="en-GB" sz="800" noProof="0" dirty="0">
              <a:latin typeface="Neue Frutiger World" panose="020B0603040304020203" pitchFamily="34" charset="0"/>
              <a:cs typeface="Neue Frutiger World" panose="020B0603040304020203" pitchFamily="34" charset="0"/>
            </a:endParaRPr>
          </a:p>
          <a:p>
            <a:pPr marL="360333" lvl="1" indent="-126989">
              <a:spcBef>
                <a:spcPts val="275"/>
              </a:spcBef>
              <a:buAutoNum type="arabicPeriod"/>
              <a:tabLst>
                <a:tab pos="360650" algn="l"/>
              </a:tabLst>
            </a:pPr>
            <a:r>
              <a:rPr lang="en-GB" sz="800" spc="-10" noProof="0" dirty="0">
                <a:solidFill>
                  <a:srgbClr val="231F20"/>
                </a:solidFill>
                <a:latin typeface="Neue Frutiger World" panose="020B0603040304020203" pitchFamily="34" charset="0"/>
                <a:cs typeface="Neue Frutiger World" panose="020B0603040304020203" pitchFamily="34" charset="0"/>
              </a:rPr>
              <a:t>Ensure the whole device clinic is aware and receives training on infection. </a:t>
            </a:r>
            <a:endParaRPr lang="en-GB" sz="800" noProof="0" dirty="0">
              <a:latin typeface="Neue Frutiger World" panose="020B0603040304020203" pitchFamily="34" charset="0"/>
              <a:cs typeface="Neue Frutiger World" panose="020B0603040304020203" pitchFamily="34" charset="0"/>
            </a:endParaRPr>
          </a:p>
          <a:p>
            <a:pPr marL="360333" lvl="1" indent="-126989">
              <a:spcBef>
                <a:spcPts val="275"/>
              </a:spcBef>
              <a:buAutoNum type="arabicPeriod"/>
              <a:tabLst>
                <a:tab pos="360650" algn="l"/>
              </a:tabLst>
            </a:pPr>
            <a:r>
              <a:rPr lang="en-GB" sz="800" noProof="0" dirty="0">
                <a:solidFill>
                  <a:srgbClr val="231F20"/>
                </a:solidFill>
                <a:latin typeface="Neue Frutiger World" panose="020B0603040304020203" pitchFamily="34" charset="0"/>
                <a:cs typeface="Neue Frutiger World" panose="020B0603040304020203" pitchFamily="34" charset="0"/>
              </a:rPr>
              <a:t>Ensure others within the referring hospital are aware and know who to refer to. (</a:t>
            </a:r>
            <a:r>
              <a:rPr lang="en-GB" sz="800" noProof="0" dirty="0" err="1">
                <a:solidFill>
                  <a:srgbClr val="231F20"/>
                </a:solidFill>
                <a:latin typeface="Neue Frutiger World" panose="020B0603040304020203" pitchFamily="34" charset="0"/>
                <a:cs typeface="Neue Frutiger World" panose="020B0603040304020203" pitchFamily="34" charset="0"/>
              </a:rPr>
              <a:t>Infectiologists</a:t>
            </a:r>
            <a:r>
              <a:rPr lang="en-GB" sz="800" noProof="0" dirty="0">
                <a:solidFill>
                  <a:srgbClr val="231F20"/>
                </a:solidFill>
                <a:latin typeface="Neue Frutiger World" panose="020B0603040304020203" pitchFamily="34" charset="0"/>
                <a:cs typeface="Neue Frutiger World" panose="020B0603040304020203" pitchFamily="34" charset="0"/>
              </a:rPr>
              <a:t>, Renal Physician, Emergency Department, etc.)</a:t>
            </a:r>
          </a:p>
          <a:p>
            <a:pPr marL="360333" lvl="1" indent="-126989">
              <a:spcBef>
                <a:spcPts val="275"/>
              </a:spcBef>
              <a:buAutoNum type="arabicPeriod"/>
              <a:tabLst>
                <a:tab pos="360650" algn="l"/>
              </a:tabLst>
            </a:pPr>
            <a:endParaRPr lang="en-GB" sz="700" noProof="0" dirty="0">
              <a:latin typeface="Neue Frutiger World" panose="020B0603040304020203" pitchFamily="34" charset="0"/>
              <a:cs typeface="Neue Frutiger World" panose="020B0603040304020203" pitchFamily="34" charset="0"/>
            </a:endParaRPr>
          </a:p>
          <a:p>
            <a:pPr marL="177785" indent="-165086">
              <a:spcBef>
                <a:spcPts val="490"/>
              </a:spcBef>
              <a:buClr>
                <a:srgbClr val="0077CD"/>
              </a:buClr>
              <a:buFont typeface="Arial" panose="020B0604020202020204" pitchFamily="34" charset="0"/>
              <a:buChar char="•"/>
              <a:tabLst>
                <a:tab pos="114290" algn="l"/>
              </a:tabLst>
            </a:pPr>
            <a:r>
              <a:rPr lang="en-GB" sz="1200" spc="-15" noProof="0" dirty="0">
                <a:solidFill>
                  <a:srgbClr val="0077CD"/>
                </a:solidFill>
                <a:latin typeface="Neue Frutiger World" panose="020B0603040304020203" pitchFamily="34" charset="0"/>
                <a:cs typeface="Neue Frutiger World" panose="020B0603040304020203" pitchFamily="34" charset="0"/>
              </a:rPr>
              <a:t>Identify barriers to appropriate treatment as per guidelines</a:t>
            </a:r>
          </a:p>
          <a:p>
            <a:pPr marL="360333" marR="226676" indent="-90480">
              <a:lnSpc>
                <a:spcPct val="104200"/>
              </a:lnSpc>
              <a:spcBef>
                <a:spcPts val="229"/>
              </a:spcBef>
              <a:buFont typeface="Trebuchet MS"/>
              <a:buChar char="–"/>
              <a:tabLst>
                <a:tab pos="360333" algn="l"/>
              </a:tabLst>
            </a:pPr>
            <a:r>
              <a:rPr lang="en-GB" sz="800" spc="-5" noProof="0" dirty="0">
                <a:solidFill>
                  <a:srgbClr val="231F20"/>
                </a:solidFill>
                <a:latin typeface="Neue Frutiger World" panose="020B0603040304020203" pitchFamily="34" charset="0"/>
                <a:cs typeface="Neue Frutiger World" panose="020B0603040304020203" pitchFamily="34" charset="0"/>
              </a:rPr>
              <a:t>Education</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may</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be</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needed</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20" noProof="0" dirty="0">
                <a:solidFill>
                  <a:srgbClr val="231F20"/>
                </a:solidFill>
                <a:latin typeface="Neue Frutiger World" panose="020B0603040304020203" pitchFamily="34" charset="0"/>
                <a:cs typeface="Neue Frutiger World" panose="020B0603040304020203" pitchFamily="34" charset="0"/>
              </a:rPr>
              <a:t>to</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nform</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key</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hospital</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stakeholders</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latin typeface="Neue Frutiger World" panose="020B0603040304020203" pitchFamily="34" charset="0"/>
                <a:cs typeface="Neue Frutiger World" panose="020B0603040304020203" pitchFamily="34" charset="0"/>
              </a:rPr>
              <a:t>about</a:t>
            </a:r>
            <a:r>
              <a:rPr lang="en-GB" sz="800" spc="5" noProof="0" dirty="0">
                <a:latin typeface="Neue Frutiger World" panose="020B0603040304020203" pitchFamily="34" charset="0"/>
                <a:cs typeface="Neue Frutiger World" panose="020B0603040304020203" pitchFamily="34" charset="0"/>
              </a:rPr>
              <a:t> </a:t>
            </a:r>
            <a:r>
              <a:rPr lang="en-GB" sz="800" spc="-10" noProof="0" dirty="0">
                <a:latin typeface="Neue Frutiger World" panose="020B0603040304020203" pitchFamily="34" charset="0"/>
                <a:cs typeface="Neue Frutiger World" panose="020B0603040304020203" pitchFamily="34" charset="0"/>
              </a:rPr>
              <a:t>the</a:t>
            </a:r>
            <a:r>
              <a:rPr lang="en-GB" sz="800" spc="5" noProof="0" dirty="0">
                <a:latin typeface="Neue Frutiger World" panose="020B0603040304020203" pitchFamily="34" charset="0"/>
                <a:cs typeface="Neue Frutiger World" panose="020B0603040304020203" pitchFamily="34" charset="0"/>
              </a:rPr>
              <a:t> </a:t>
            </a:r>
            <a:r>
              <a:rPr lang="en-GB" sz="800" spc="-10" noProof="0" dirty="0">
                <a:latin typeface="Neue Frutiger World" panose="020B0603040304020203" pitchFamily="34" charset="0"/>
                <a:cs typeface="Neue Frutiger World" panose="020B0603040304020203" pitchFamily="34" charset="0"/>
              </a:rPr>
              <a:t>true</a:t>
            </a:r>
            <a:r>
              <a:rPr lang="en-GB" sz="800" spc="10" noProof="0" dirty="0">
                <a:latin typeface="Neue Frutiger World" panose="020B0603040304020203" pitchFamily="34" charset="0"/>
                <a:cs typeface="Neue Frutiger World" panose="020B0603040304020203" pitchFamily="34" charset="0"/>
              </a:rPr>
              <a:t> </a:t>
            </a:r>
            <a:r>
              <a:rPr lang="en-GB" sz="800" spc="-10" noProof="0" dirty="0">
                <a:latin typeface="Neue Frutiger World" panose="020B0603040304020203" pitchFamily="34" charset="0"/>
                <a:cs typeface="Neue Frutiger World" panose="020B0603040304020203" pitchFamily="34" charset="0"/>
              </a:rPr>
              <a:t>cost/impact</a:t>
            </a:r>
            <a:r>
              <a:rPr lang="en-GB" sz="800" spc="15" noProof="0" dirty="0">
                <a:latin typeface="Neue Frutiger World" panose="020B0603040304020203" pitchFamily="34" charset="0"/>
                <a:cs typeface="Neue Frutiger World" panose="020B0603040304020203" pitchFamily="34" charset="0"/>
              </a:rPr>
              <a:t> </a:t>
            </a:r>
            <a:r>
              <a:rPr lang="en-GB" sz="800" noProof="0" dirty="0">
                <a:latin typeface="Neue Frutiger World" panose="020B0603040304020203" pitchFamily="34" charset="0"/>
                <a:cs typeface="Neue Frutiger World" panose="020B0603040304020203" pitchFamily="34" charset="0"/>
              </a:rPr>
              <a:t>of </a:t>
            </a:r>
            <a:r>
              <a:rPr lang="en-GB" sz="800" spc="-10" noProof="0" dirty="0">
                <a:latin typeface="Neue Frutiger World" panose="020B0603040304020203" pitchFamily="34" charset="0"/>
                <a:cs typeface="Neue Frutiger World" panose="020B0603040304020203" pitchFamily="34" charset="0"/>
              </a:rPr>
              <a:t>infection</a:t>
            </a:r>
            <a:r>
              <a:rPr lang="en-GB" sz="800" noProof="0" dirty="0">
                <a:latin typeface="Neue Frutiger World" panose="020B0603040304020203" pitchFamily="34" charset="0"/>
                <a:cs typeface="Neue Frutiger World" panose="020B0603040304020203" pitchFamily="34" charset="0"/>
              </a:rPr>
              <a:t> </a:t>
            </a:r>
            <a:r>
              <a:rPr lang="en-GB" sz="800" spc="-20" noProof="0" dirty="0">
                <a:latin typeface="Neue Frutiger World" panose="020B0603040304020203" pitchFamily="34" charset="0"/>
                <a:cs typeface="Neue Frutiger World" panose="020B0603040304020203" pitchFamily="34" charset="0"/>
              </a:rPr>
              <a:t>for</a:t>
            </a:r>
            <a:r>
              <a:rPr lang="en-GB" sz="800" noProof="0" dirty="0">
                <a:latin typeface="Neue Frutiger World" panose="020B0603040304020203" pitchFamily="34" charset="0"/>
                <a:cs typeface="Neue Frutiger World" panose="020B0603040304020203" pitchFamily="34" charset="0"/>
              </a:rPr>
              <a:t> </a:t>
            </a:r>
            <a:r>
              <a:rPr lang="en-GB" sz="800" spc="-10" noProof="0" dirty="0">
                <a:latin typeface="Neue Frutiger World" panose="020B0603040304020203" pitchFamily="34" charset="0"/>
                <a:cs typeface="Neue Frutiger World" panose="020B0603040304020203" pitchFamily="34" charset="0"/>
              </a:rPr>
              <a:t>the</a:t>
            </a:r>
            <a:r>
              <a:rPr lang="en-GB" sz="800" spc="5" noProof="0" dirty="0">
                <a:latin typeface="Neue Frutiger World" panose="020B0603040304020203" pitchFamily="34" charset="0"/>
                <a:cs typeface="Neue Frutiger World" panose="020B0603040304020203" pitchFamily="34" charset="0"/>
              </a:rPr>
              <a:t> </a:t>
            </a:r>
            <a:r>
              <a:rPr lang="en-GB" sz="800" spc="-10" noProof="0" dirty="0">
                <a:latin typeface="Neue Frutiger World" panose="020B0603040304020203" pitchFamily="34" charset="0"/>
                <a:cs typeface="Neue Frutiger World" panose="020B0603040304020203" pitchFamily="34" charset="0"/>
              </a:rPr>
              <a:t>patient</a:t>
            </a:r>
            <a:r>
              <a:rPr lang="en-GB" sz="800" spc="5" noProof="0" dirty="0">
                <a:latin typeface="Neue Frutiger World" panose="020B0603040304020203" pitchFamily="34" charset="0"/>
                <a:cs typeface="Neue Frutiger World" panose="020B0603040304020203" pitchFamily="34" charset="0"/>
              </a:rPr>
              <a:t> </a:t>
            </a:r>
            <a:r>
              <a:rPr lang="en-GB" sz="800" spc="-5" noProof="0" dirty="0">
                <a:latin typeface="Neue Frutiger World" panose="020B0603040304020203" pitchFamily="34" charset="0"/>
                <a:cs typeface="Neue Frutiger World" panose="020B0603040304020203" pitchFamily="34" charset="0"/>
              </a:rPr>
              <a:t>and</a:t>
            </a:r>
            <a:r>
              <a:rPr lang="en-GB" sz="800" noProof="0" dirty="0">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nstitution.</a:t>
            </a:r>
            <a:endParaRPr lang="en-GB" sz="800" noProof="0" dirty="0">
              <a:latin typeface="Neue Frutiger World" panose="020B0603040304020203" pitchFamily="34" charset="0"/>
              <a:cs typeface="Neue Frutiger World" panose="020B0603040304020203" pitchFamily="34" charset="0"/>
            </a:endParaRPr>
          </a:p>
          <a:p>
            <a:pPr marL="360333" marR="92702" indent="-90480">
              <a:lnSpc>
                <a:spcPct val="104200"/>
              </a:lnSpc>
              <a:spcBef>
                <a:spcPts val="235"/>
              </a:spcBef>
              <a:buFont typeface="Trebuchet MS"/>
              <a:buChar char="–"/>
              <a:tabLst>
                <a:tab pos="447637" algn="l"/>
              </a:tabLst>
            </a:pPr>
            <a:r>
              <a:rPr lang="en-GB" sz="800" spc="-5" noProof="0" dirty="0">
                <a:solidFill>
                  <a:srgbClr val="231F20"/>
                </a:solidFill>
                <a:latin typeface="Neue Frutiger World" panose="020B0603040304020203" pitchFamily="34" charset="0"/>
                <a:cs typeface="Neue Frutiger World" panose="020B0603040304020203" pitchFamily="34" charset="0"/>
              </a:rPr>
              <a:t>Education</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about</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costs</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nd</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prevalenc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of</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misdiagnosis</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or</a:t>
            </a:r>
            <a:r>
              <a:rPr lang="en-GB" sz="800" spc="-10" noProof="0" dirty="0">
                <a:solidFill>
                  <a:srgbClr val="231F20"/>
                </a:solidFill>
                <a:latin typeface="Neue Frutiger World" panose="020B0603040304020203" pitchFamily="34" charset="0"/>
                <a:cs typeface="Neue Frutiger World" panose="020B0603040304020203" pitchFamily="34" charset="0"/>
              </a:rPr>
              <a:t> undertreatment</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may</a:t>
            </a:r>
            <a:r>
              <a:rPr lang="en-GB" sz="800" spc="-2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help </a:t>
            </a:r>
            <a:r>
              <a:rPr lang="en-GB" sz="800" spc="-10" noProof="0" dirty="0">
                <a:solidFill>
                  <a:srgbClr val="231F20"/>
                </a:solidFill>
                <a:latin typeface="Neue Frutiger World" panose="020B0603040304020203" pitchFamily="34" charset="0"/>
                <a:cs typeface="Neue Frutiger World" panose="020B0603040304020203" pitchFamily="34" charset="0"/>
              </a:rPr>
              <a:t>remove</a:t>
            </a:r>
            <a:r>
              <a:rPr lang="en-GB" sz="80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barriers.</a:t>
            </a:r>
            <a:endParaRPr lang="en-GB" sz="800" noProof="0" dirty="0">
              <a:latin typeface="Neue Frutiger World" panose="020B0603040304020203" pitchFamily="34" charset="0"/>
              <a:cs typeface="Neue Frutiger World" panose="020B0603040304020203" pitchFamily="34" charset="0"/>
            </a:endParaRPr>
          </a:p>
          <a:p>
            <a:endParaRPr lang="en-GB" sz="1200" noProof="0" dirty="0">
              <a:latin typeface="Neue Frutiger World" panose="020B0603040304020203" pitchFamily="34" charset="0"/>
              <a:cs typeface="Neue Frutiger World" panose="020B0603040304020203" pitchFamily="34" charset="0"/>
            </a:endParaRPr>
          </a:p>
        </p:txBody>
      </p:sp>
      <p:sp>
        <p:nvSpPr>
          <p:cNvPr id="6" name="Title 1">
            <a:extLst>
              <a:ext uri="{FF2B5EF4-FFF2-40B4-BE49-F238E27FC236}">
                <a16:creationId xmlns:a16="http://schemas.microsoft.com/office/drawing/2014/main" id="{19E56A80-4024-4D67-9192-A4576849D513}"/>
              </a:ext>
            </a:extLst>
          </p:cNvPr>
          <p:cNvSpPr txBox="1">
            <a:spLocks/>
          </p:cNvSpPr>
          <p:nvPr/>
        </p:nvSpPr>
        <p:spPr>
          <a:xfrm>
            <a:off x="5148064" y="290632"/>
            <a:ext cx="3744416" cy="395311"/>
          </a:xfrm>
          <a:prstGeom prst="rect">
            <a:avLst/>
          </a:prstGeom>
        </p:spPr>
        <p:txBody>
          <a:bodyPr vert="horz" lIns="0" tIns="0" rIns="0" bIns="0" rtlCol="0" anchor="t">
            <a:noAutofit/>
          </a:bodyPr>
          <a:lstStyle>
            <a:lvl1pPr algn="l" defTabSz="914377" rtl="0" eaLnBrk="1" latinLnBrk="0" hangingPunct="1">
              <a:lnSpc>
                <a:spcPct val="100000"/>
              </a:lnSpc>
              <a:spcBef>
                <a:spcPct val="0"/>
              </a:spcBef>
              <a:buNone/>
              <a:defRPr lang="en-US" sz="2400" kern="1200">
                <a:solidFill>
                  <a:srgbClr val="00629F"/>
                </a:solidFill>
                <a:latin typeface="+mj-lt"/>
                <a:ea typeface="+mj-ea"/>
                <a:cs typeface="+mj-cs"/>
              </a:defRPr>
            </a:lvl1pPr>
          </a:lstStyle>
          <a:p>
            <a:r>
              <a:rPr lang="nl-BE" sz="1800" dirty="0">
                <a:latin typeface="Neue Frutiger World" panose="020B0603040304020203" pitchFamily="34" charset="0"/>
                <a:cs typeface="Neue Frutiger World" panose="020B0603040304020203" pitchFamily="34" charset="0"/>
              </a:rPr>
              <a:t>How can we drive referrals?</a:t>
            </a:r>
          </a:p>
        </p:txBody>
      </p:sp>
      <p:graphicFrame>
        <p:nvGraphicFramePr>
          <p:cNvPr id="7" name="object 3">
            <a:extLst>
              <a:ext uri="{FF2B5EF4-FFF2-40B4-BE49-F238E27FC236}">
                <a16:creationId xmlns:a16="http://schemas.microsoft.com/office/drawing/2014/main" id="{9E00A418-8D19-4F6D-A0BF-65304FDC4FCF}"/>
              </a:ext>
            </a:extLst>
          </p:cNvPr>
          <p:cNvGraphicFramePr>
            <a:graphicFrameLocks noGrp="1"/>
          </p:cNvGraphicFramePr>
          <p:nvPr>
            <p:extLst>
              <p:ext uri="{D42A27DB-BD31-4B8C-83A1-F6EECF244321}">
                <p14:modId xmlns:p14="http://schemas.microsoft.com/office/powerpoint/2010/main" val="206295340"/>
              </p:ext>
            </p:extLst>
          </p:nvPr>
        </p:nvGraphicFramePr>
        <p:xfrm>
          <a:off x="1547662" y="679127"/>
          <a:ext cx="3492700" cy="3924000"/>
        </p:xfrm>
        <a:graphic>
          <a:graphicData uri="http://schemas.openxmlformats.org/drawingml/2006/table">
            <a:tbl>
              <a:tblPr firstRow="1" bandRow="1">
                <a:tableStyleId>{2D5ABB26-0587-4C30-8999-92F81FD0307C}</a:tableStyleId>
              </a:tblPr>
              <a:tblGrid>
                <a:gridCol w="3492700">
                  <a:extLst>
                    <a:ext uri="{9D8B030D-6E8A-4147-A177-3AD203B41FA5}">
                      <a16:colId xmlns:a16="http://schemas.microsoft.com/office/drawing/2014/main" val="20000"/>
                    </a:ext>
                  </a:extLst>
                </a:gridCol>
              </a:tblGrid>
              <a:tr h="198000">
                <a:tc>
                  <a:txBody>
                    <a:bodyPr/>
                    <a:lstStyle/>
                    <a:p>
                      <a:pPr marL="57150">
                        <a:lnSpc>
                          <a:spcPct val="100000"/>
                        </a:lnSpc>
                        <a:spcBef>
                          <a:spcPts val="465"/>
                        </a:spcBef>
                      </a:pPr>
                      <a:r>
                        <a:rPr sz="800" b="1" kern="600" spc="-15" baseline="0" dirty="0">
                          <a:solidFill>
                            <a:schemeClr val="tx1"/>
                          </a:solidFill>
                          <a:latin typeface="Neue Frutiger World" panose="020B0603040304020203" pitchFamily="34" charset="0"/>
                          <a:ea typeface="+mn-ea"/>
                          <a:cs typeface="Neue Frutiger World" panose="020B0603040304020203" pitchFamily="34" charset="0"/>
                        </a:rPr>
                        <a:t>Opportunity</a:t>
                      </a:r>
                    </a:p>
                  </a:txBody>
                  <a:tcPr marL="0" marR="0" marT="59055" marB="0" anchor="b">
                    <a:lnL>
                      <a:noFill/>
                    </a:lnL>
                    <a:lnR>
                      <a:noFill/>
                    </a:lnR>
                    <a:lnT>
                      <a:noFill/>
                    </a:lnT>
                    <a:lnB w="12700" cap="flat" cmpd="sng" algn="ctr">
                      <a:solidFill>
                        <a:srgbClr val="B2B4BE"/>
                      </a:solidFill>
                      <a:prstDash val="solid"/>
                      <a:round/>
                      <a:headEnd type="none" w="med" len="med"/>
                      <a:tailEnd type="none" w="med" len="med"/>
                    </a:lnB>
                    <a:lnTlToBr w="12700" cmpd="sng">
                      <a:noFill/>
                      <a:prstDash val="solid"/>
                    </a:lnTlToBr>
                    <a:lnBlToTr w="12700" cmpd="sng">
                      <a:noFill/>
                      <a:prstDash val="solid"/>
                    </a:lnBlToTr>
                    <a:solidFill>
                      <a:srgbClr val="D9DAE4"/>
                    </a:solidFill>
                  </a:tcPr>
                </a:tc>
                <a:extLst>
                  <a:ext uri="{0D108BD9-81ED-4DB2-BD59-A6C34878D82A}">
                    <a16:rowId xmlns:a16="http://schemas.microsoft.com/office/drawing/2014/main" val="10000"/>
                  </a:ext>
                </a:extLst>
              </a:tr>
              <a:tr h="198000">
                <a:tc>
                  <a:txBody>
                    <a:bodyPr/>
                    <a:lstStyle/>
                    <a:p>
                      <a:pPr marL="182563" lvl="1" indent="0">
                        <a:lnSpc>
                          <a:spcPct val="100000"/>
                        </a:lnSpc>
                        <a:spcBef>
                          <a:spcPts val="400"/>
                        </a:spcBef>
                      </a:pPr>
                      <a:r>
                        <a:rPr sz="800" spc="5" dirty="0">
                          <a:solidFill>
                            <a:schemeClr val="tx1"/>
                          </a:solidFill>
                          <a:latin typeface="Neue Frutiger World" panose="020B0603040304020203" pitchFamily="34" charset="0"/>
                          <a:cs typeface="Neue Frutiger World" panose="020B0603040304020203" pitchFamily="34" charset="0"/>
                        </a:rPr>
                        <a:t>1. </a:t>
                      </a:r>
                      <a:r>
                        <a:rPr sz="800" spc="-5" dirty="0">
                          <a:solidFill>
                            <a:schemeClr val="tx1"/>
                          </a:solidFill>
                          <a:latin typeface="Neue Frutiger World" panose="020B0603040304020203" pitchFamily="34" charset="0"/>
                          <a:cs typeface="Neue Frutiger World" panose="020B0603040304020203" pitchFamily="34" charset="0"/>
                        </a:rPr>
                        <a:t>How</a:t>
                      </a:r>
                      <a:r>
                        <a:rPr sz="800" spc="-2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many</a:t>
                      </a:r>
                      <a:r>
                        <a:rPr sz="800" spc="-2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device</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patients</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does</a:t>
                      </a:r>
                      <a:r>
                        <a:rPr sz="80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account</a:t>
                      </a:r>
                      <a:r>
                        <a:rPr sz="80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follow?</a:t>
                      </a:r>
                      <a:endParaRPr sz="800" dirty="0">
                        <a:solidFill>
                          <a:schemeClr val="tx1"/>
                        </a:solidFill>
                        <a:latin typeface="Neue Frutiger World" panose="020B0603040304020203" pitchFamily="34" charset="0"/>
                        <a:cs typeface="Neue Frutiger World" panose="020B0603040304020203" pitchFamily="34" charset="0"/>
                      </a:endParaRPr>
                    </a:p>
                  </a:txBody>
                  <a:tcPr marL="0" marR="0" marT="50800" marB="0" anchor="ctr">
                    <a:lnL>
                      <a:noFill/>
                    </a:lnL>
                    <a:lnR>
                      <a:noFill/>
                    </a:lnR>
                    <a:lnT w="12700" cap="flat" cmpd="sng" algn="ctr">
                      <a:solidFill>
                        <a:srgbClr val="B2B4BE"/>
                      </a:solidFill>
                      <a:prstDash val="solid"/>
                      <a:round/>
                      <a:headEnd type="none" w="med" len="med"/>
                      <a:tailEnd type="none" w="med" len="med"/>
                    </a:lnT>
                    <a:lnB w="6350" cap="flat" cmpd="sng" algn="ctr">
                      <a:solidFill>
                        <a:srgbClr val="50C4F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8000">
                <a:tc>
                  <a:txBody>
                    <a:bodyPr/>
                    <a:lstStyle/>
                    <a:p>
                      <a:pPr marL="358775" lvl="1" indent="-176213">
                        <a:lnSpc>
                          <a:spcPct val="100000"/>
                        </a:lnSpc>
                        <a:spcBef>
                          <a:spcPts val="400"/>
                        </a:spcBef>
                      </a:pPr>
                      <a:r>
                        <a:rPr sz="800" spc="5" dirty="0">
                          <a:solidFill>
                            <a:schemeClr val="tx1"/>
                          </a:solidFill>
                          <a:latin typeface="Neue Frutiger World" panose="020B0603040304020203" pitchFamily="34" charset="0"/>
                          <a:cs typeface="Neue Frutiger World" panose="020B0603040304020203" pitchFamily="34" charset="0"/>
                        </a:rPr>
                        <a:t>2.</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How</a:t>
                      </a:r>
                      <a:r>
                        <a:rPr sz="800" spc="-15"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many</a:t>
                      </a:r>
                      <a:r>
                        <a:rPr sz="800" spc="-10" dirty="0">
                          <a:solidFill>
                            <a:schemeClr val="tx1"/>
                          </a:solidFill>
                          <a:latin typeface="Neue Frutiger World" panose="020B0603040304020203" pitchFamily="34" charset="0"/>
                          <a:cs typeface="Neue Frutiger World" panose="020B0603040304020203" pitchFamily="34" charset="0"/>
                        </a:rPr>
                        <a:t> potential</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device</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infections </a:t>
                      </a:r>
                      <a:r>
                        <a:rPr sz="800" dirty="0">
                          <a:solidFill>
                            <a:schemeClr val="tx1"/>
                          </a:solidFill>
                          <a:latin typeface="Neue Frutiger World" panose="020B0603040304020203" pitchFamily="34" charset="0"/>
                          <a:cs typeface="Neue Frutiger World" panose="020B0603040304020203" pitchFamily="34" charset="0"/>
                        </a:rPr>
                        <a:t>will</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occur</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year?</a:t>
                      </a:r>
                      <a:r>
                        <a:rPr sz="800" spc="10" dirty="0">
                          <a:solidFill>
                            <a:schemeClr val="tx1"/>
                          </a:solidFill>
                          <a:latin typeface="Neue Frutiger World" panose="020B0603040304020203" pitchFamily="34" charset="0"/>
                          <a:cs typeface="Neue Frutiger World" panose="020B0603040304020203" pitchFamily="34" charset="0"/>
                        </a:rPr>
                        <a:t> </a:t>
                      </a:r>
                      <a:endParaRPr sz="800" dirty="0">
                        <a:solidFill>
                          <a:srgbClr val="FF0000"/>
                        </a:solidFill>
                        <a:latin typeface="Neue Frutiger World" panose="020B0603040304020203" pitchFamily="34" charset="0"/>
                        <a:cs typeface="Neue Frutiger World" panose="020B0603040304020203" pitchFamily="34" charset="0"/>
                      </a:endParaRPr>
                    </a:p>
                  </a:txBody>
                  <a:tcPr marL="0" marR="0" marT="50800" marB="0" anchor="ctr">
                    <a:lnL>
                      <a:noFill/>
                    </a:lnL>
                    <a:lnR>
                      <a:noFill/>
                    </a:lnR>
                    <a:lnT w="6350" cap="flat" cmpd="sng" algn="ctr">
                      <a:solidFill>
                        <a:srgbClr val="50C4F1"/>
                      </a:solidFill>
                      <a:prstDash val="solid"/>
                      <a:round/>
                      <a:headEnd type="none" w="med" len="med"/>
                      <a:tailEnd type="none" w="med" len="med"/>
                    </a:lnT>
                    <a:lnB w="6350" cap="flat" cmpd="sng" algn="ctr">
                      <a:solidFill>
                        <a:srgbClr val="50C4F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98000">
                <a:tc>
                  <a:txBody>
                    <a:bodyPr/>
                    <a:lstStyle/>
                    <a:p>
                      <a:pPr marL="182563" lvl="1" indent="0">
                        <a:lnSpc>
                          <a:spcPct val="100000"/>
                        </a:lnSpc>
                        <a:spcBef>
                          <a:spcPts val="400"/>
                        </a:spcBef>
                      </a:pPr>
                      <a:r>
                        <a:rPr sz="800" spc="5" dirty="0">
                          <a:solidFill>
                            <a:schemeClr val="tx1"/>
                          </a:solidFill>
                          <a:latin typeface="Neue Frutiger World" panose="020B0603040304020203" pitchFamily="34" charset="0"/>
                          <a:cs typeface="Neue Frutiger World" panose="020B0603040304020203" pitchFamily="34" charset="0"/>
                        </a:rPr>
                        <a:t>3. </a:t>
                      </a:r>
                      <a:r>
                        <a:rPr sz="800" spc="-5" dirty="0">
                          <a:solidFill>
                            <a:schemeClr val="tx1"/>
                          </a:solidFill>
                          <a:latin typeface="Neue Frutiger World" panose="020B0603040304020203" pitchFamily="34" charset="0"/>
                          <a:cs typeface="Neue Frutiger World" panose="020B0603040304020203" pitchFamily="34" charset="0"/>
                        </a:rPr>
                        <a:t>Number</a:t>
                      </a:r>
                      <a:r>
                        <a:rPr sz="800" spc="-1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of</a:t>
                      </a:r>
                      <a:r>
                        <a:rPr sz="800" spc="-10" dirty="0">
                          <a:solidFill>
                            <a:schemeClr val="tx1"/>
                          </a:solidFill>
                          <a:latin typeface="Neue Frutiger World" panose="020B0603040304020203" pitchFamily="34" charset="0"/>
                          <a:cs typeface="Neue Frutiger World" panose="020B0603040304020203" pitchFamily="34" charset="0"/>
                        </a:rPr>
                        <a:t> infection</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extractions</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n</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last</a:t>
                      </a:r>
                      <a:r>
                        <a:rPr sz="800" spc="1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12</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months?</a:t>
                      </a:r>
                      <a:endParaRPr sz="800" dirty="0">
                        <a:solidFill>
                          <a:schemeClr val="tx1"/>
                        </a:solidFill>
                        <a:latin typeface="Neue Frutiger World" panose="020B0603040304020203" pitchFamily="34" charset="0"/>
                        <a:cs typeface="Neue Frutiger World" panose="020B0603040304020203" pitchFamily="34" charset="0"/>
                      </a:endParaRPr>
                    </a:p>
                  </a:txBody>
                  <a:tcPr marL="0" marR="0" marT="50800" marB="0" anchor="ctr">
                    <a:lnL>
                      <a:noFill/>
                    </a:lnL>
                    <a:lnR>
                      <a:noFill/>
                    </a:lnR>
                    <a:lnT w="6350" cap="flat" cmpd="sng" algn="ctr">
                      <a:solidFill>
                        <a:srgbClr val="50C4F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8000">
                <a:tc>
                  <a:txBody>
                    <a:bodyPr/>
                    <a:lstStyle/>
                    <a:p>
                      <a:pPr marL="57150">
                        <a:lnSpc>
                          <a:spcPct val="100000"/>
                        </a:lnSpc>
                        <a:spcBef>
                          <a:spcPts val="465"/>
                        </a:spcBef>
                      </a:pPr>
                      <a:r>
                        <a:rPr sz="800" b="1" kern="1200" spc="-15" dirty="0">
                          <a:solidFill>
                            <a:schemeClr val="tx1"/>
                          </a:solidFill>
                          <a:latin typeface="Neue Frutiger World" panose="020B0603040304020203" pitchFamily="34" charset="0"/>
                          <a:ea typeface="+mn-ea"/>
                          <a:cs typeface="Neue Frutiger World" panose="020B0603040304020203" pitchFamily="34" charset="0"/>
                        </a:rPr>
                        <a:t>Systemic infection</a:t>
                      </a:r>
                    </a:p>
                  </a:txBody>
                  <a:tcPr marL="0" marR="0" marT="59055" marB="0" anchor="ctr">
                    <a:lnL>
                      <a:noFill/>
                    </a:lnL>
                    <a:lnR>
                      <a:noFill/>
                    </a:lnR>
                    <a:lnT w="12700" cap="flat" cmpd="sng" algn="ctr">
                      <a:noFill/>
                      <a:prstDash val="solid"/>
                      <a:round/>
                      <a:headEnd type="none" w="med" len="med"/>
                      <a:tailEnd type="none" w="med" len="med"/>
                    </a:lnT>
                    <a:lnB w="12700" cap="flat" cmpd="sng" algn="ctr">
                      <a:solidFill>
                        <a:srgbClr val="B2B4BE"/>
                      </a:solidFill>
                      <a:prstDash val="solid"/>
                      <a:round/>
                      <a:headEnd type="none" w="med" len="med"/>
                      <a:tailEnd type="none" w="med" len="med"/>
                    </a:lnB>
                    <a:lnTlToBr w="12700" cmpd="sng">
                      <a:noFill/>
                      <a:prstDash val="solid"/>
                    </a:lnTlToBr>
                    <a:lnBlToTr w="12700" cmpd="sng">
                      <a:noFill/>
                      <a:prstDash val="solid"/>
                    </a:lnBlToTr>
                    <a:solidFill>
                      <a:srgbClr val="D9DAE4"/>
                    </a:solidFill>
                  </a:tcPr>
                </a:tc>
                <a:extLst>
                  <a:ext uri="{0D108BD9-81ED-4DB2-BD59-A6C34878D82A}">
                    <a16:rowId xmlns:a16="http://schemas.microsoft.com/office/drawing/2014/main" val="10005"/>
                  </a:ext>
                </a:extLst>
              </a:tr>
              <a:tr h="198000">
                <a:tc>
                  <a:txBody>
                    <a:bodyPr/>
                    <a:lstStyle/>
                    <a:p>
                      <a:pPr marL="182563" lvl="1" indent="0">
                        <a:lnSpc>
                          <a:spcPct val="100000"/>
                        </a:lnSpc>
                        <a:spcBef>
                          <a:spcPts val="400"/>
                        </a:spcBef>
                      </a:pPr>
                      <a:r>
                        <a:rPr sz="800" spc="5" dirty="0">
                          <a:solidFill>
                            <a:schemeClr val="tx1"/>
                          </a:solidFill>
                          <a:latin typeface="Neue Frutiger World" panose="020B0603040304020203" pitchFamily="34" charset="0"/>
                          <a:cs typeface="Neue Frutiger World" panose="020B0603040304020203" pitchFamily="34" charset="0"/>
                        </a:rPr>
                        <a:t>1.</a:t>
                      </a:r>
                      <a:r>
                        <a:rPr sz="80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Does</a:t>
                      </a:r>
                      <a:r>
                        <a:rPr sz="80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account</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understand</a:t>
                      </a:r>
                      <a:r>
                        <a:rPr sz="80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risks</a:t>
                      </a:r>
                      <a:r>
                        <a:rPr sz="800" spc="5"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of</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systemic</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nfection?</a:t>
                      </a:r>
                      <a:endParaRPr sz="800" dirty="0">
                        <a:solidFill>
                          <a:schemeClr val="tx1"/>
                        </a:solidFill>
                        <a:latin typeface="Neue Frutiger World" panose="020B0603040304020203" pitchFamily="34" charset="0"/>
                        <a:cs typeface="Neue Frutiger World" panose="020B0603040304020203" pitchFamily="34" charset="0"/>
                      </a:endParaRPr>
                    </a:p>
                  </a:txBody>
                  <a:tcPr marL="0" marR="0" marT="50800" marB="0" anchor="ctr">
                    <a:lnL>
                      <a:noFill/>
                    </a:lnL>
                    <a:lnR>
                      <a:noFill/>
                    </a:lnR>
                    <a:lnT w="12700" cap="flat" cmpd="sng" algn="ctr">
                      <a:solidFill>
                        <a:srgbClr val="B2B4BE"/>
                      </a:solidFill>
                      <a:prstDash val="solid"/>
                      <a:round/>
                      <a:headEnd type="none" w="med" len="med"/>
                      <a:tailEnd type="none" w="med" len="med"/>
                    </a:lnT>
                    <a:lnB w="6350" cap="flat" cmpd="sng" algn="ctr">
                      <a:solidFill>
                        <a:srgbClr val="50C4F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8000">
                <a:tc>
                  <a:txBody>
                    <a:bodyPr/>
                    <a:lstStyle/>
                    <a:p>
                      <a:pPr marL="182563" lvl="1" indent="0">
                        <a:lnSpc>
                          <a:spcPct val="100000"/>
                        </a:lnSpc>
                        <a:spcBef>
                          <a:spcPts val="400"/>
                        </a:spcBef>
                      </a:pPr>
                      <a:r>
                        <a:rPr sz="800" spc="5" dirty="0">
                          <a:solidFill>
                            <a:schemeClr val="tx1"/>
                          </a:solidFill>
                          <a:latin typeface="Neue Frutiger World" panose="020B0603040304020203" pitchFamily="34" charset="0"/>
                          <a:cs typeface="Neue Frutiger World" panose="020B0603040304020203" pitchFamily="34" charset="0"/>
                        </a:rPr>
                        <a:t>2. </a:t>
                      </a:r>
                      <a:r>
                        <a:rPr sz="800" dirty="0">
                          <a:solidFill>
                            <a:schemeClr val="tx1"/>
                          </a:solidFill>
                          <a:latin typeface="Neue Frutiger World" panose="020B0603040304020203" pitchFamily="34" charset="0"/>
                          <a:cs typeface="Neue Frutiger World" panose="020B0603040304020203" pitchFamily="34" charset="0"/>
                        </a:rPr>
                        <a:t>Do</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they</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have</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process</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n</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place</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for</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dentifying</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the</a:t>
                      </a:r>
                      <a:r>
                        <a:rPr lang="nl-BE" sz="800" spc="-5" dirty="0">
                          <a:solidFill>
                            <a:schemeClr val="tx1"/>
                          </a:solidFill>
                          <a:latin typeface="Neue Frutiger World" panose="020B0603040304020203" pitchFamily="34" charset="0"/>
                          <a:cs typeface="Neue Frutiger World" panose="020B0603040304020203" pitchFamily="34" charset="0"/>
                        </a:rPr>
                        <a:t>ir</a:t>
                      </a:r>
                      <a:r>
                        <a:rPr sz="800" spc="10" dirty="0">
                          <a:solidFill>
                            <a:schemeClr val="tx1"/>
                          </a:solidFill>
                          <a:latin typeface="Neue Frutiger World" panose="020B0603040304020203" pitchFamily="34" charset="0"/>
                          <a:cs typeface="Neue Frutiger World" panose="020B0603040304020203" pitchFamily="34" charset="0"/>
                        </a:rPr>
                        <a:t> </a:t>
                      </a:r>
                      <a:r>
                        <a:rPr lang="nl-BE" sz="800" spc="-10" dirty="0">
                          <a:solidFill>
                            <a:schemeClr val="tx1"/>
                          </a:solidFill>
                          <a:latin typeface="Neue Frutiger World" panose="020B0603040304020203" pitchFamily="34" charset="0"/>
                          <a:cs typeface="Neue Frutiger World" panose="020B0603040304020203" pitchFamily="34" charset="0"/>
                        </a:rPr>
                        <a:t>patients</a:t>
                      </a:r>
                      <a:r>
                        <a:rPr sz="800" dirty="0">
                          <a:solidFill>
                            <a:schemeClr val="tx1"/>
                          </a:solidFill>
                          <a:latin typeface="Neue Frutiger World" panose="020B0603040304020203" pitchFamily="34" charset="0"/>
                          <a:cs typeface="Neue Frutiger World" panose="020B0603040304020203" pitchFamily="34" charset="0"/>
                        </a:rPr>
                        <a:t>?</a:t>
                      </a:r>
                    </a:p>
                  </a:txBody>
                  <a:tcPr marL="0" marR="0" marT="50800" marB="0" anchor="ctr">
                    <a:lnL>
                      <a:noFill/>
                    </a:lnL>
                    <a:lnR>
                      <a:noFill/>
                    </a:lnR>
                    <a:lnT w="6350" cap="flat" cmpd="sng" algn="ctr">
                      <a:solidFill>
                        <a:srgbClr val="50C4F1"/>
                      </a:solidFill>
                      <a:prstDash val="solid"/>
                      <a:round/>
                      <a:headEnd type="none" w="med" len="med"/>
                      <a:tailEnd type="none" w="med" len="med"/>
                    </a:lnT>
                    <a:lnB w="3175">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98000">
                <a:tc>
                  <a:txBody>
                    <a:bodyPr/>
                    <a:lstStyle/>
                    <a:p>
                      <a:pPr marL="57150">
                        <a:lnSpc>
                          <a:spcPct val="100000"/>
                        </a:lnSpc>
                        <a:spcBef>
                          <a:spcPts val="465"/>
                        </a:spcBef>
                      </a:pPr>
                      <a:r>
                        <a:rPr sz="800" b="1" kern="1200" spc="-15" dirty="0">
                          <a:solidFill>
                            <a:schemeClr val="tx1"/>
                          </a:solidFill>
                          <a:latin typeface="Neue Frutiger World" panose="020B0603040304020203" pitchFamily="34" charset="0"/>
                          <a:ea typeface="+mn-ea"/>
                          <a:cs typeface="Neue Frutiger World" panose="020B0603040304020203" pitchFamily="34" charset="0"/>
                        </a:rPr>
                        <a:t>Pocket infection</a:t>
                      </a:r>
                    </a:p>
                  </a:txBody>
                  <a:tcPr marL="0" marR="0" marT="59055" marB="0" anchor="ctr">
                    <a:lnL>
                      <a:noFill/>
                    </a:lnL>
                    <a:lnR>
                      <a:noFill/>
                    </a:lnR>
                    <a:lnT w="12700" cap="flat" cmpd="sng" algn="ctr">
                      <a:noFill/>
                      <a:prstDash val="solid"/>
                      <a:round/>
                      <a:headEnd type="none" w="med" len="med"/>
                      <a:tailEnd type="none" w="med" len="med"/>
                    </a:lnT>
                    <a:lnB w="12700" cap="flat" cmpd="sng" algn="ctr">
                      <a:solidFill>
                        <a:srgbClr val="B2B4BE"/>
                      </a:solidFill>
                      <a:prstDash val="solid"/>
                      <a:round/>
                      <a:headEnd type="none" w="med" len="med"/>
                      <a:tailEnd type="none" w="med" len="med"/>
                    </a:lnB>
                    <a:lnTlToBr w="12700" cmpd="sng">
                      <a:noFill/>
                      <a:prstDash val="solid"/>
                    </a:lnTlToBr>
                    <a:lnBlToTr w="12700" cmpd="sng">
                      <a:noFill/>
                      <a:prstDash val="solid"/>
                    </a:lnBlToTr>
                    <a:solidFill>
                      <a:srgbClr val="D9DAE4"/>
                    </a:solidFill>
                  </a:tcPr>
                </a:tc>
                <a:extLst>
                  <a:ext uri="{0D108BD9-81ED-4DB2-BD59-A6C34878D82A}">
                    <a16:rowId xmlns:a16="http://schemas.microsoft.com/office/drawing/2014/main" val="10009"/>
                  </a:ext>
                </a:extLst>
              </a:tr>
              <a:tr h="198000">
                <a:tc>
                  <a:txBody>
                    <a:bodyPr/>
                    <a:lstStyle/>
                    <a:p>
                      <a:pPr marL="182563" lvl="1" indent="0">
                        <a:lnSpc>
                          <a:spcPct val="100000"/>
                        </a:lnSpc>
                        <a:spcBef>
                          <a:spcPts val="400"/>
                        </a:spcBef>
                      </a:pPr>
                      <a:r>
                        <a:rPr sz="800" spc="5" dirty="0">
                          <a:solidFill>
                            <a:schemeClr val="tx1"/>
                          </a:solidFill>
                          <a:latin typeface="Neue Frutiger World" panose="020B0603040304020203" pitchFamily="34" charset="0"/>
                          <a:cs typeface="Neue Frutiger World" panose="020B0603040304020203" pitchFamily="34" charset="0"/>
                        </a:rPr>
                        <a:t>1. </a:t>
                      </a:r>
                      <a:r>
                        <a:rPr sz="800" spc="-5" dirty="0">
                          <a:solidFill>
                            <a:schemeClr val="tx1"/>
                          </a:solidFill>
                          <a:latin typeface="Neue Frutiger World" panose="020B0603040304020203" pitchFamily="34" charset="0"/>
                          <a:cs typeface="Neue Frutiger World" panose="020B0603040304020203" pitchFamily="34" charset="0"/>
                        </a:rPr>
                        <a:t>Does</a:t>
                      </a:r>
                      <a:r>
                        <a:rPr sz="80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account</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understand</a:t>
                      </a:r>
                      <a:r>
                        <a:rPr sz="80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risks</a:t>
                      </a:r>
                      <a:r>
                        <a:rPr sz="800" spc="5"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of</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pocket</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nfection?</a:t>
                      </a:r>
                      <a:endParaRPr sz="800" dirty="0">
                        <a:solidFill>
                          <a:schemeClr val="tx1"/>
                        </a:solidFill>
                        <a:latin typeface="Neue Frutiger World" panose="020B0603040304020203" pitchFamily="34" charset="0"/>
                        <a:cs typeface="Neue Frutiger World" panose="020B0603040304020203" pitchFamily="34" charset="0"/>
                      </a:endParaRPr>
                    </a:p>
                  </a:txBody>
                  <a:tcPr marL="0" marR="0" marT="50800" marB="0" anchor="ctr">
                    <a:lnL>
                      <a:noFill/>
                    </a:lnL>
                    <a:lnR>
                      <a:noFill/>
                    </a:lnR>
                    <a:lnT w="12700" cap="flat" cmpd="sng" algn="ctr">
                      <a:solidFill>
                        <a:srgbClr val="B2B4BE"/>
                      </a:solidFill>
                      <a:prstDash val="solid"/>
                      <a:round/>
                      <a:headEnd type="none" w="med" len="med"/>
                      <a:tailEnd type="none" w="med" len="med"/>
                    </a:lnT>
                    <a:lnB w="6350" cap="flat" cmpd="sng" algn="ctr">
                      <a:solidFill>
                        <a:srgbClr val="50C4F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98000">
                <a:tc>
                  <a:txBody>
                    <a:bodyPr/>
                    <a:lstStyle/>
                    <a:p>
                      <a:pPr marL="182563" lvl="1" indent="0">
                        <a:lnSpc>
                          <a:spcPct val="100000"/>
                        </a:lnSpc>
                        <a:spcBef>
                          <a:spcPts val="400"/>
                        </a:spcBef>
                      </a:pPr>
                      <a:r>
                        <a:rPr sz="800" spc="5" dirty="0">
                          <a:solidFill>
                            <a:schemeClr val="tx1"/>
                          </a:solidFill>
                          <a:latin typeface="Neue Frutiger World" panose="020B0603040304020203" pitchFamily="34" charset="0"/>
                          <a:cs typeface="Neue Frutiger World" panose="020B0603040304020203" pitchFamily="34" charset="0"/>
                        </a:rPr>
                        <a:t>2. </a:t>
                      </a:r>
                      <a:r>
                        <a:rPr sz="800" dirty="0">
                          <a:solidFill>
                            <a:schemeClr val="tx1"/>
                          </a:solidFill>
                          <a:latin typeface="Neue Frutiger World" panose="020B0603040304020203" pitchFamily="34" charset="0"/>
                          <a:cs typeface="Neue Frutiger World" panose="020B0603040304020203" pitchFamily="34" charset="0"/>
                        </a:rPr>
                        <a:t>Do</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they</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have</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process</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n</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place</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for</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dentifying</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the</a:t>
                      </a:r>
                      <a:r>
                        <a:rPr lang="nl-BE" sz="800" spc="-5" dirty="0">
                          <a:solidFill>
                            <a:schemeClr val="tx1"/>
                          </a:solidFill>
                          <a:latin typeface="Neue Frutiger World" panose="020B0603040304020203" pitchFamily="34" charset="0"/>
                          <a:cs typeface="Neue Frutiger World" panose="020B0603040304020203" pitchFamily="34" charset="0"/>
                        </a:rPr>
                        <a:t>ir</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patients</a:t>
                      </a:r>
                      <a:r>
                        <a:rPr sz="800" dirty="0">
                          <a:solidFill>
                            <a:schemeClr val="tx1"/>
                          </a:solidFill>
                          <a:latin typeface="Neue Frutiger World" panose="020B0603040304020203" pitchFamily="34" charset="0"/>
                          <a:cs typeface="Neue Frutiger World" panose="020B0603040304020203" pitchFamily="34" charset="0"/>
                        </a:rPr>
                        <a:t>?</a:t>
                      </a:r>
                    </a:p>
                  </a:txBody>
                  <a:tcPr marL="0" marR="0" marT="50800" marB="0" anchor="ctr">
                    <a:lnL>
                      <a:noFill/>
                    </a:lnL>
                    <a:lnR>
                      <a:noFill/>
                    </a:lnR>
                    <a:lnT w="6350" cap="flat" cmpd="sng" algn="ctr">
                      <a:solidFill>
                        <a:srgbClr val="50C4F1"/>
                      </a:solidFill>
                      <a:prstDash val="solid"/>
                      <a:round/>
                      <a:headEnd type="none" w="med" len="med"/>
                      <a:tailEnd type="none" w="med" len="med"/>
                    </a:lnT>
                    <a:lnB w="3175">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24000">
                <a:tc>
                  <a:txBody>
                    <a:bodyPr/>
                    <a:lstStyle/>
                    <a:p>
                      <a:pPr marL="57150">
                        <a:lnSpc>
                          <a:spcPct val="100000"/>
                        </a:lnSpc>
                        <a:spcBef>
                          <a:spcPts val="465"/>
                        </a:spcBef>
                      </a:pPr>
                      <a:r>
                        <a:rPr lang="nl-BE" sz="800" b="1" kern="1200" spc="-15" dirty="0">
                          <a:solidFill>
                            <a:schemeClr val="tx1"/>
                          </a:solidFill>
                          <a:latin typeface="Neue Frutiger World" panose="020B0603040304020203" pitchFamily="34" charset="0"/>
                          <a:ea typeface="+mn-ea"/>
                          <a:cs typeface="Neue Frutiger World" panose="020B0603040304020203" pitchFamily="34" charset="0"/>
                        </a:rPr>
                        <a:t>Burden</a:t>
                      </a:r>
                      <a:r>
                        <a:rPr sz="800" b="1" kern="1200" spc="-15" dirty="0">
                          <a:solidFill>
                            <a:schemeClr val="tx1"/>
                          </a:solidFill>
                          <a:latin typeface="Neue Frutiger World" panose="020B0603040304020203" pitchFamily="34" charset="0"/>
                          <a:ea typeface="+mn-ea"/>
                          <a:cs typeface="Neue Frutiger World" panose="020B0603040304020203" pitchFamily="34" charset="0"/>
                        </a:rPr>
                        <a:t> of infection </a:t>
                      </a:r>
                      <a:r>
                        <a:rPr sz="800" b="1" spc="55" dirty="0">
                          <a:solidFill>
                            <a:schemeClr val="tx1"/>
                          </a:solidFill>
                          <a:latin typeface="Neue Frutiger World" panose="020B0603040304020203" pitchFamily="34" charset="0"/>
                          <a:cs typeface="Neue Frutiger World" panose="020B0603040304020203" pitchFamily="34" charset="0"/>
                        </a:rPr>
                        <a:t>–</a:t>
                      </a:r>
                      <a:r>
                        <a:rPr sz="800" b="1" spc="-65" dirty="0">
                          <a:solidFill>
                            <a:schemeClr val="tx1"/>
                          </a:solidFill>
                          <a:latin typeface="Neue Frutiger World" panose="020B0603040304020203" pitchFamily="34" charset="0"/>
                          <a:cs typeface="Neue Frutiger World" panose="020B0603040304020203" pitchFamily="34" charset="0"/>
                        </a:rPr>
                        <a:t> </a:t>
                      </a:r>
                      <a:r>
                        <a:rPr sz="800" b="1" spc="-5" dirty="0">
                          <a:solidFill>
                            <a:schemeClr val="tx1"/>
                          </a:solidFill>
                          <a:latin typeface="Neue Frutiger World" panose="020B0603040304020203" pitchFamily="34" charset="0"/>
                          <a:cs typeface="Neue Frutiger World" panose="020B0603040304020203" pitchFamily="34" charset="0"/>
                        </a:rPr>
                        <a:t>increase</a:t>
                      </a:r>
                      <a:r>
                        <a:rPr sz="800" b="1" spc="10" dirty="0">
                          <a:solidFill>
                            <a:schemeClr val="tx1"/>
                          </a:solidFill>
                          <a:latin typeface="Neue Frutiger World" panose="020B0603040304020203" pitchFamily="34" charset="0"/>
                          <a:cs typeface="Neue Frutiger World" panose="020B0603040304020203" pitchFamily="34" charset="0"/>
                        </a:rPr>
                        <a:t> </a:t>
                      </a:r>
                      <a:r>
                        <a:rPr sz="800" b="1" spc="-5" dirty="0">
                          <a:solidFill>
                            <a:schemeClr val="tx1"/>
                          </a:solidFill>
                          <a:latin typeface="Neue Frutiger World" panose="020B0603040304020203" pitchFamily="34" charset="0"/>
                          <a:cs typeface="Neue Frutiger World" panose="020B0603040304020203" pitchFamily="34" charset="0"/>
                        </a:rPr>
                        <a:t>sense</a:t>
                      </a:r>
                      <a:r>
                        <a:rPr sz="800" b="1" spc="5" dirty="0">
                          <a:solidFill>
                            <a:schemeClr val="tx1"/>
                          </a:solidFill>
                          <a:latin typeface="Neue Frutiger World" panose="020B0603040304020203" pitchFamily="34" charset="0"/>
                          <a:cs typeface="Neue Frutiger World" panose="020B0603040304020203" pitchFamily="34" charset="0"/>
                        </a:rPr>
                        <a:t> </a:t>
                      </a:r>
                      <a:r>
                        <a:rPr sz="800" b="1" dirty="0">
                          <a:solidFill>
                            <a:schemeClr val="tx1"/>
                          </a:solidFill>
                          <a:latin typeface="Neue Frutiger World" panose="020B0603040304020203" pitchFamily="34" charset="0"/>
                          <a:cs typeface="Neue Frutiger World" panose="020B0603040304020203" pitchFamily="34" charset="0"/>
                        </a:rPr>
                        <a:t>of</a:t>
                      </a:r>
                      <a:r>
                        <a:rPr sz="800" b="1" spc="-10" dirty="0">
                          <a:solidFill>
                            <a:schemeClr val="tx1"/>
                          </a:solidFill>
                          <a:latin typeface="Neue Frutiger World" panose="020B0603040304020203" pitchFamily="34" charset="0"/>
                          <a:cs typeface="Neue Frutiger World" panose="020B0603040304020203" pitchFamily="34" charset="0"/>
                        </a:rPr>
                        <a:t> </a:t>
                      </a:r>
                      <a:r>
                        <a:rPr sz="800" b="1" dirty="0">
                          <a:solidFill>
                            <a:schemeClr val="tx1"/>
                          </a:solidFill>
                          <a:latin typeface="Neue Frutiger World" panose="020B0603040304020203" pitchFamily="34" charset="0"/>
                          <a:cs typeface="Neue Frutiger World" panose="020B0603040304020203" pitchFamily="34" charset="0"/>
                        </a:rPr>
                        <a:t>urgency</a:t>
                      </a:r>
                      <a:r>
                        <a:rPr sz="800" b="1" spc="-20" dirty="0">
                          <a:solidFill>
                            <a:schemeClr val="tx1"/>
                          </a:solidFill>
                          <a:latin typeface="Neue Frutiger World" panose="020B0603040304020203" pitchFamily="34" charset="0"/>
                          <a:cs typeface="Neue Frutiger World" panose="020B0603040304020203" pitchFamily="34" charset="0"/>
                        </a:rPr>
                        <a:t> </a:t>
                      </a:r>
                      <a:r>
                        <a:rPr sz="800" b="1" spc="-10" dirty="0">
                          <a:solidFill>
                            <a:schemeClr val="tx1"/>
                          </a:solidFill>
                          <a:latin typeface="Neue Frutiger World" panose="020B0603040304020203" pitchFamily="34" charset="0"/>
                          <a:cs typeface="Neue Frutiger World" panose="020B0603040304020203" pitchFamily="34" charset="0"/>
                        </a:rPr>
                        <a:t>for doctors</a:t>
                      </a:r>
                      <a:r>
                        <a:rPr sz="800" b="1" spc="10" dirty="0">
                          <a:solidFill>
                            <a:schemeClr val="tx1"/>
                          </a:solidFill>
                          <a:latin typeface="Neue Frutiger World" panose="020B0603040304020203" pitchFamily="34" charset="0"/>
                          <a:cs typeface="Neue Frutiger World" panose="020B0603040304020203" pitchFamily="34" charset="0"/>
                        </a:rPr>
                        <a:t> </a:t>
                      </a:r>
                      <a:r>
                        <a:rPr sz="800" b="1" spc="-5" dirty="0">
                          <a:solidFill>
                            <a:schemeClr val="tx1"/>
                          </a:solidFill>
                          <a:latin typeface="Neue Frutiger World" panose="020B0603040304020203" pitchFamily="34" charset="0"/>
                          <a:cs typeface="Neue Frutiger World" panose="020B0603040304020203" pitchFamily="34" charset="0"/>
                        </a:rPr>
                        <a:t>and</a:t>
                      </a:r>
                      <a:r>
                        <a:rPr sz="800" b="1" spc="5" dirty="0">
                          <a:solidFill>
                            <a:schemeClr val="tx1"/>
                          </a:solidFill>
                          <a:latin typeface="Neue Frutiger World" panose="020B0603040304020203" pitchFamily="34" charset="0"/>
                          <a:cs typeface="Neue Frutiger World" panose="020B0603040304020203" pitchFamily="34" charset="0"/>
                        </a:rPr>
                        <a:t> </a:t>
                      </a:r>
                      <a:r>
                        <a:rPr sz="800" b="1" spc="-10" dirty="0">
                          <a:solidFill>
                            <a:schemeClr val="tx1"/>
                          </a:solidFill>
                          <a:latin typeface="Neue Frutiger World" panose="020B0603040304020203" pitchFamily="34" charset="0"/>
                          <a:cs typeface="Neue Frutiger World" panose="020B0603040304020203" pitchFamily="34" charset="0"/>
                        </a:rPr>
                        <a:t>administration</a:t>
                      </a:r>
                      <a:endParaRPr sz="800" b="1" dirty="0">
                        <a:solidFill>
                          <a:schemeClr val="tx1"/>
                        </a:solidFill>
                        <a:latin typeface="Neue Frutiger World" panose="020B0603040304020203" pitchFamily="34" charset="0"/>
                        <a:cs typeface="Neue Frutiger World" panose="020B0603040304020203" pitchFamily="34" charset="0"/>
                      </a:endParaRPr>
                    </a:p>
                  </a:txBody>
                  <a:tcPr marL="0" marR="0" marT="59055" marB="0" anchor="ctr">
                    <a:lnL>
                      <a:noFill/>
                    </a:lnL>
                    <a:lnR>
                      <a:noFill/>
                    </a:lnR>
                    <a:lnT w="12700" cap="flat" cmpd="sng" algn="ctr">
                      <a:noFill/>
                      <a:prstDash val="solid"/>
                      <a:round/>
                      <a:headEnd type="none" w="med" len="med"/>
                      <a:tailEnd type="none" w="med" len="med"/>
                    </a:lnT>
                    <a:lnB w="12700" cap="flat" cmpd="sng" algn="ctr">
                      <a:solidFill>
                        <a:srgbClr val="B2B4BE"/>
                      </a:solidFill>
                      <a:prstDash val="solid"/>
                      <a:round/>
                      <a:headEnd type="none" w="med" len="med"/>
                      <a:tailEnd type="none" w="med" len="med"/>
                    </a:lnB>
                    <a:lnTlToBr w="12700" cmpd="sng">
                      <a:noFill/>
                      <a:prstDash val="solid"/>
                    </a:lnTlToBr>
                    <a:lnBlToTr w="12700" cmpd="sng">
                      <a:noFill/>
                      <a:prstDash val="solid"/>
                    </a:lnBlToTr>
                    <a:solidFill>
                      <a:srgbClr val="D9DAE4"/>
                    </a:solidFill>
                  </a:tcPr>
                </a:tc>
                <a:extLst>
                  <a:ext uri="{0D108BD9-81ED-4DB2-BD59-A6C34878D82A}">
                    <a16:rowId xmlns:a16="http://schemas.microsoft.com/office/drawing/2014/main" val="10013"/>
                  </a:ext>
                </a:extLst>
              </a:tr>
              <a:tr h="324000">
                <a:tc>
                  <a:txBody>
                    <a:bodyPr/>
                    <a:lstStyle/>
                    <a:p>
                      <a:pPr marL="266700" lvl="1" indent="-84138">
                        <a:lnSpc>
                          <a:spcPct val="100000"/>
                        </a:lnSpc>
                        <a:spcBef>
                          <a:spcPts val="400"/>
                        </a:spcBef>
                      </a:pPr>
                      <a:r>
                        <a:rPr sz="800" spc="5" dirty="0">
                          <a:solidFill>
                            <a:schemeClr val="tx1"/>
                          </a:solidFill>
                          <a:latin typeface="Neue Frutiger World" panose="020B0603040304020203" pitchFamily="34" charset="0"/>
                          <a:cs typeface="Neue Frutiger World" panose="020B0603040304020203" pitchFamily="34" charset="0"/>
                        </a:rPr>
                        <a:t>1. </a:t>
                      </a:r>
                      <a:r>
                        <a:rPr sz="800" spc="-5" dirty="0">
                          <a:solidFill>
                            <a:schemeClr val="tx1"/>
                          </a:solidFill>
                          <a:latin typeface="Neue Frutiger World" panose="020B0603040304020203" pitchFamily="34" charset="0"/>
                          <a:cs typeface="Neue Frutiger World" panose="020B0603040304020203" pitchFamily="34" charset="0"/>
                        </a:rPr>
                        <a:t>Does</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account</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understand</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impact</a:t>
                      </a:r>
                      <a:r>
                        <a:rPr sz="800" spc="1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of</a:t>
                      </a:r>
                      <a:r>
                        <a:rPr sz="800" spc="-10" dirty="0">
                          <a:solidFill>
                            <a:schemeClr val="tx1"/>
                          </a:solidFill>
                          <a:latin typeface="Neue Frutiger World" panose="020B0603040304020203" pitchFamily="34" charset="0"/>
                          <a:cs typeface="Neue Frutiger World" panose="020B0603040304020203" pitchFamily="34" charset="0"/>
                        </a:rPr>
                        <a:t> </a:t>
                      </a:r>
                      <a:r>
                        <a:rPr sz="800" strike="noStrike" spc="5" dirty="0">
                          <a:solidFill>
                            <a:schemeClr val="tx1"/>
                          </a:solidFill>
                          <a:latin typeface="Neue Frutiger World" panose="020B0603040304020203" pitchFamily="34" charset="0"/>
                          <a:cs typeface="Neue Frutiger World" panose="020B0603040304020203" pitchFamily="34" charset="0"/>
                        </a:rPr>
                        <a:t>CIED</a:t>
                      </a:r>
                      <a:r>
                        <a:rPr sz="800" strike="noStrike" spc="10" dirty="0">
                          <a:solidFill>
                            <a:schemeClr val="tx1"/>
                          </a:solidFill>
                          <a:latin typeface="Neue Frutiger World" panose="020B0603040304020203" pitchFamily="34" charset="0"/>
                          <a:cs typeface="Neue Frutiger World" panose="020B0603040304020203" pitchFamily="34" charset="0"/>
                        </a:rPr>
                        <a:t> </a:t>
                      </a:r>
                      <a:r>
                        <a:rPr sz="800" strike="noStrike" spc="-10" dirty="0">
                          <a:solidFill>
                            <a:schemeClr val="tx1"/>
                          </a:solidFill>
                          <a:latin typeface="Neue Frutiger World" panose="020B0603040304020203" pitchFamily="34" charset="0"/>
                          <a:cs typeface="Neue Frutiger World" panose="020B0603040304020203" pitchFamily="34" charset="0"/>
                        </a:rPr>
                        <a:t>infection</a:t>
                      </a:r>
                      <a:r>
                        <a:rPr sz="800" strike="noStrike" spc="1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on</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patient?</a:t>
                      </a:r>
                      <a:endParaRPr sz="800" dirty="0">
                        <a:solidFill>
                          <a:schemeClr val="tx1"/>
                        </a:solidFill>
                        <a:latin typeface="Neue Frutiger World" panose="020B0603040304020203" pitchFamily="34" charset="0"/>
                        <a:cs typeface="Neue Frutiger World" panose="020B0603040304020203" pitchFamily="34" charset="0"/>
                      </a:endParaRPr>
                    </a:p>
                  </a:txBody>
                  <a:tcPr marL="0" marR="0" marT="50800" marB="0" anchor="ctr">
                    <a:lnL>
                      <a:noFill/>
                    </a:lnL>
                    <a:lnR>
                      <a:noFill/>
                    </a:lnR>
                    <a:lnT w="12700" cap="flat" cmpd="sng" algn="ctr">
                      <a:solidFill>
                        <a:srgbClr val="B2B4BE"/>
                      </a:solidFill>
                      <a:prstDash val="solid"/>
                      <a:round/>
                      <a:headEnd type="none" w="med" len="med"/>
                      <a:tailEnd type="none" w="med" len="med"/>
                    </a:lnT>
                    <a:lnB w="6350" cap="flat" cmpd="sng" algn="ctr">
                      <a:solidFill>
                        <a:srgbClr val="50C4F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324000">
                <a:tc>
                  <a:txBody>
                    <a:bodyPr/>
                    <a:lstStyle/>
                    <a:p>
                      <a:pPr marL="266700" lvl="1" indent="-84138">
                        <a:lnSpc>
                          <a:spcPct val="100000"/>
                        </a:lnSpc>
                        <a:spcBef>
                          <a:spcPts val="400"/>
                        </a:spcBef>
                      </a:pPr>
                      <a:r>
                        <a:rPr sz="800" spc="5" dirty="0">
                          <a:solidFill>
                            <a:schemeClr val="tx1"/>
                          </a:solidFill>
                          <a:latin typeface="Neue Frutiger World" panose="020B0603040304020203" pitchFamily="34" charset="0"/>
                          <a:cs typeface="Neue Frutiger World" panose="020B0603040304020203" pitchFamily="34" charset="0"/>
                        </a:rPr>
                        <a:t>2.</a:t>
                      </a:r>
                      <a:r>
                        <a:rPr sz="800" spc="1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Do</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they</a:t>
                      </a:r>
                      <a:r>
                        <a:rPr sz="800" spc="-2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understand</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what</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delayed</a:t>
                      </a:r>
                      <a:r>
                        <a:rPr sz="800" spc="5" dirty="0">
                          <a:solidFill>
                            <a:schemeClr val="tx1"/>
                          </a:solidFill>
                          <a:latin typeface="Neue Frutiger World" panose="020B0603040304020203" pitchFamily="34" charset="0"/>
                          <a:cs typeface="Neue Frutiger World" panose="020B0603040304020203" pitchFamily="34" charset="0"/>
                        </a:rPr>
                        <a:t> </a:t>
                      </a:r>
                      <a:r>
                        <a:rPr sz="800" spc="-15" dirty="0">
                          <a:solidFill>
                            <a:schemeClr val="tx1"/>
                          </a:solidFill>
                          <a:latin typeface="Neue Frutiger World" panose="020B0603040304020203" pitchFamily="34" charset="0"/>
                          <a:cs typeface="Neue Frutiger World" panose="020B0603040304020203" pitchFamily="34" charset="0"/>
                        </a:rPr>
                        <a:t>treatment</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costs</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10" dirty="0">
                          <a:solidFill>
                            <a:schemeClr val="tx1"/>
                          </a:solidFill>
                          <a:latin typeface="Neue Frutiger World" panose="020B0603040304020203" pitchFamily="34" charset="0"/>
                          <a:cs typeface="Neue Frutiger World" panose="020B0603040304020203" pitchFamily="34" charset="0"/>
                        </a:rPr>
                        <a:t> </a:t>
                      </a:r>
                      <a:r>
                        <a:rPr sz="800" strike="noStrike" spc="-10" dirty="0">
                          <a:solidFill>
                            <a:schemeClr val="tx1"/>
                          </a:solidFill>
                          <a:latin typeface="Neue Frutiger World" panose="020B0603040304020203" pitchFamily="34" charset="0"/>
                          <a:cs typeface="Neue Frutiger World" panose="020B0603040304020203" pitchFamily="34" charset="0"/>
                        </a:rPr>
                        <a:t>hospital</a:t>
                      </a:r>
                      <a:r>
                        <a:rPr lang="en-GB" sz="800" strike="noStrike" spc="-5" dirty="0">
                          <a:solidFill>
                            <a:schemeClr val="tx1"/>
                          </a:solidFill>
                          <a:latin typeface="Neue Frutiger World" panose="020B0603040304020203" pitchFamily="34" charset="0"/>
                          <a:cs typeface="Neue Frutiger World" panose="020B0603040304020203" pitchFamily="34" charset="0"/>
                        </a:rPr>
                        <a:t>?</a:t>
                      </a:r>
                    </a:p>
                  </a:txBody>
                  <a:tcPr marL="0" marR="0" marT="50800" marB="0" anchor="ctr">
                    <a:lnL>
                      <a:noFill/>
                    </a:lnL>
                    <a:lnR>
                      <a:noFill/>
                    </a:lnR>
                    <a:lnT w="6350" cap="flat" cmpd="sng" algn="ctr">
                      <a:solidFill>
                        <a:srgbClr val="50C4F1"/>
                      </a:solidFill>
                      <a:prstDash val="solid"/>
                      <a:round/>
                      <a:headEnd type="none" w="med" len="med"/>
                      <a:tailEnd type="none" w="med" len="med"/>
                    </a:lnT>
                    <a:lnB w="3175">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324000">
                <a:tc>
                  <a:txBody>
                    <a:bodyPr/>
                    <a:lstStyle/>
                    <a:p>
                      <a:pPr marL="57150">
                        <a:lnSpc>
                          <a:spcPct val="100000"/>
                        </a:lnSpc>
                        <a:spcBef>
                          <a:spcPts val="465"/>
                        </a:spcBef>
                      </a:pPr>
                      <a:r>
                        <a:rPr lang="en-GB" sz="800" b="1" kern="1200" spc="-15" dirty="0">
                          <a:solidFill>
                            <a:schemeClr val="tx1"/>
                          </a:solidFill>
                          <a:latin typeface="Neue Frutiger World" panose="020B0603040304020203" pitchFamily="34" charset="0"/>
                          <a:ea typeface="+mn-ea"/>
                          <a:cs typeface="Neue Frutiger World" panose="020B0603040304020203" pitchFamily="34" charset="0"/>
                        </a:rPr>
                        <a:t>Does the account understand the effect of abandoning leads or delaying infection?</a:t>
                      </a:r>
                      <a:endParaRPr sz="800" b="1" kern="1200" spc="-15" dirty="0">
                        <a:solidFill>
                          <a:schemeClr val="tx1"/>
                        </a:solidFill>
                        <a:latin typeface="Neue Frutiger World" panose="020B0603040304020203" pitchFamily="34" charset="0"/>
                        <a:ea typeface="+mn-ea"/>
                        <a:cs typeface="Neue Frutiger World" panose="020B0603040304020203" pitchFamily="34" charset="0"/>
                      </a:endParaRPr>
                    </a:p>
                  </a:txBody>
                  <a:tcPr marL="0" marR="0" marT="59055" marB="0" anchor="ctr">
                    <a:lnL>
                      <a:noFill/>
                    </a:lnL>
                    <a:lnR>
                      <a:noFill/>
                    </a:lnR>
                    <a:lnT w="12700" cap="flat" cmpd="sng" algn="ctr">
                      <a:noFill/>
                      <a:prstDash val="solid"/>
                      <a:round/>
                      <a:headEnd type="none" w="med" len="med"/>
                      <a:tailEnd type="none" w="med" len="med"/>
                    </a:lnT>
                    <a:lnB w="12700" cap="flat" cmpd="sng" algn="ctr">
                      <a:solidFill>
                        <a:srgbClr val="B2B4BE"/>
                      </a:solidFill>
                      <a:prstDash val="solid"/>
                      <a:round/>
                      <a:headEnd type="none" w="med" len="med"/>
                      <a:tailEnd type="none" w="med" len="med"/>
                    </a:lnB>
                    <a:lnTlToBr w="12700" cmpd="sng">
                      <a:noFill/>
                      <a:prstDash val="solid"/>
                    </a:lnTlToBr>
                    <a:lnBlToTr w="12700" cmpd="sng">
                      <a:noFill/>
                      <a:prstDash val="solid"/>
                    </a:lnBlToTr>
                    <a:solidFill>
                      <a:srgbClr val="D9DAE4"/>
                    </a:solidFill>
                  </a:tcPr>
                </a:tc>
                <a:extLst>
                  <a:ext uri="{0D108BD9-81ED-4DB2-BD59-A6C34878D82A}">
                    <a16:rowId xmlns:a16="http://schemas.microsoft.com/office/drawing/2014/main" val="10017"/>
                  </a:ext>
                </a:extLst>
              </a:tr>
              <a:tr h="324000">
                <a:tc>
                  <a:txBody>
                    <a:bodyPr/>
                    <a:lstStyle/>
                    <a:p>
                      <a:pPr marL="266700" lvl="1" indent="-84138">
                        <a:lnSpc>
                          <a:spcPct val="100000"/>
                        </a:lnSpc>
                        <a:spcBef>
                          <a:spcPts val="400"/>
                        </a:spcBef>
                      </a:pPr>
                      <a:r>
                        <a:rPr lang="en-US" sz="800" spc="5" dirty="0">
                          <a:solidFill>
                            <a:schemeClr val="tx1"/>
                          </a:solidFill>
                          <a:latin typeface="Neue Frutiger World" panose="020B0603040304020203" pitchFamily="34" charset="0"/>
                          <a:cs typeface="Neue Frutiger World" panose="020B0603040304020203" pitchFamily="34" charset="0"/>
                        </a:rPr>
                        <a:t>1. </a:t>
                      </a:r>
                      <a:r>
                        <a:rPr lang="en-US" sz="800" spc="-5" dirty="0">
                          <a:solidFill>
                            <a:schemeClr val="tx1"/>
                          </a:solidFill>
                          <a:latin typeface="Neue Frutiger World" panose="020B0603040304020203" pitchFamily="34" charset="0"/>
                          <a:cs typeface="Neue Frutiger World" panose="020B0603040304020203" pitchFamily="34" charset="0"/>
                        </a:rPr>
                        <a:t>Does</a:t>
                      </a:r>
                      <a:r>
                        <a:rPr lang="en-US" sz="800" spc="10" dirty="0">
                          <a:solidFill>
                            <a:schemeClr val="tx1"/>
                          </a:solidFill>
                          <a:latin typeface="Neue Frutiger World" panose="020B0603040304020203" pitchFamily="34" charset="0"/>
                          <a:cs typeface="Neue Frutiger World" panose="020B0603040304020203" pitchFamily="34" charset="0"/>
                        </a:rPr>
                        <a:t> </a:t>
                      </a:r>
                      <a:r>
                        <a:rPr lang="en-US" sz="800" spc="-10" dirty="0">
                          <a:solidFill>
                            <a:schemeClr val="tx1"/>
                          </a:solidFill>
                          <a:latin typeface="Neue Frutiger World" panose="020B0603040304020203" pitchFamily="34" charset="0"/>
                          <a:cs typeface="Neue Frutiger World" panose="020B0603040304020203" pitchFamily="34" charset="0"/>
                        </a:rPr>
                        <a:t>account</a:t>
                      </a:r>
                      <a:r>
                        <a:rPr lang="en-US" sz="800" spc="10" dirty="0">
                          <a:solidFill>
                            <a:schemeClr val="tx1"/>
                          </a:solidFill>
                          <a:latin typeface="Neue Frutiger World" panose="020B0603040304020203" pitchFamily="34" charset="0"/>
                          <a:cs typeface="Neue Frutiger World" panose="020B0603040304020203" pitchFamily="34" charset="0"/>
                        </a:rPr>
                        <a:t> </a:t>
                      </a:r>
                      <a:r>
                        <a:rPr lang="en-US" sz="800" spc="-5" dirty="0">
                          <a:solidFill>
                            <a:schemeClr val="tx1"/>
                          </a:solidFill>
                          <a:latin typeface="Neue Frutiger World" panose="020B0603040304020203" pitchFamily="34" charset="0"/>
                          <a:cs typeface="Neue Frutiger World" panose="020B0603040304020203" pitchFamily="34" charset="0"/>
                        </a:rPr>
                        <a:t>understand</a:t>
                      </a:r>
                      <a:r>
                        <a:rPr lang="en-US" sz="800" spc="5" dirty="0">
                          <a:solidFill>
                            <a:schemeClr val="tx1"/>
                          </a:solidFill>
                          <a:latin typeface="Neue Frutiger World" panose="020B0603040304020203" pitchFamily="34" charset="0"/>
                          <a:cs typeface="Neue Frutiger World" panose="020B0603040304020203" pitchFamily="34" charset="0"/>
                        </a:rPr>
                        <a:t> </a:t>
                      </a:r>
                      <a:r>
                        <a:rPr lang="en-US" sz="800" spc="-10" dirty="0">
                          <a:solidFill>
                            <a:schemeClr val="tx1"/>
                          </a:solidFill>
                          <a:latin typeface="Neue Frutiger World" panose="020B0603040304020203" pitchFamily="34" charset="0"/>
                          <a:cs typeface="Neue Frutiger World" panose="020B0603040304020203" pitchFamily="34" charset="0"/>
                        </a:rPr>
                        <a:t>the</a:t>
                      </a:r>
                      <a:r>
                        <a:rPr lang="en-US" sz="800" spc="10" dirty="0">
                          <a:solidFill>
                            <a:schemeClr val="tx1"/>
                          </a:solidFill>
                          <a:latin typeface="Neue Frutiger World" panose="020B0603040304020203" pitchFamily="34" charset="0"/>
                          <a:cs typeface="Neue Frutiger World" panose="020B0603040304020203" pitchFamily="34" charset="0"/>
                        </a:rPr>
                        <a:t> potential problems for extraction if a lead is abandoned?</a:t>
                      </a:r>
                      <a:endParaRPr lang="en-US" sz="800" dirty="0">
                        <a:solidFill>
                          <a:schemeClr val="tx1"/>
                        </a:solidFill>
                        <a:latin typeface="Neue Frutiger World" panose="020B0603040304020203" pitchFamily="34" charset="0"/>
                        <a:cs typeface="Neue Frutiger World" panose="020B0603040304020203" pitchFamily="34" charset="0"/>
                      </a:endParaRPr>
                    </a:p>
                  </a:txBody>
                  <a:tcPr marL="0" marR="0" marT="50800" marB="0" anchor="ctr">
                    <a:lnL>
                      <a:noFill/>
                    </a:lnL>
                    <a:lnR>
                      <a:noFill/>
                    </a:lnR>
                    <a:lnT w="12700" cap="flat" cmpd="sng" algn="ctr">
                      <a:solidFill>
                        <a:srgbClr val="B2B4BE"/>
                      </a:solidFill>
                      <a:prstDash val="solid"/>
                      <a:round/>
                      <a:headEnd type="none" w="med" len="med"/>
                      <a:tailEnd type="none" w="med" len="med"/>
                    </a:lnT>
                    <a:lnB w="6350" cap="flat" cmpd="sng" algn="ctr">
                      <a:solidFill>
                        <a:srgbClr val="50C4F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324000">
                <a:tc>
                  <a:txBody>
                    <a:bodyPr/>
                    <a:lstStyle/>
                    <a:p>
                      <a:pPr marL="266700" marR="0" lvl="1" indent="-84138" defTabSz="914400" eaLnBrk="1" fontAlgn="auto" latinLnBrk="0" hangingPunct="1">
                        <a:lnSpc>
                          <a:spcPct val="100000"/>
                        </a:lnSpc>
                        <a:spcBef>
                          <a:spcPts val="400"/>
                        </a:spcBef>
                        <a:spcAft>
                          <a:spcPts val="0"/>
                        </a:spcAft>
                        <a:buClrTx/>
                        <a:buSzTx/>
                        <a:buFontTx/>
                        <a:buNone/>
                        <a:tabLst/>
                        <a:defRPr/>
                      </a:pPr>
                      <a:r>
                        <a:rPr lang="en-US" sz="800" spc="-10" dirty="0">
                          <a:solidFill>
                            <a:schemeClr val="tx1"/>
                          </a:solidFill>
                          <a:latin typeface="Neue Frutiger World" panose="020B0603040304020203" pitchFamily="34" charset="0"/>
                          <a:cs typeface="Neue Frutiger World" panose="020B0603040304020203" pitchFamily="34" charset="0"/>
                        </a:rPr>
                        <a:t>2. Does the account understand the potential impact for the patient if their referral is delayed?</a:t>
                      </a:r>
                      <a:endParaRPr lang="en-US" sz="800" dirty="0">
                        <a:solidFill>
                          <a:schemeClr val="tx1"/>
                        </a:solidFill>
                        <a:latin typeface="Neue Frutiger World" panose="020B0603040304020203" pitchFamily="34" charset="0"/>
                        <a:cs typeface="Neue Frutiger World" panose="020B0603040304020203" pitchFamily="34" charset="0"/>
                      </a:endParaRPr>
                    </a:p>
                  </a:txBody>
                  <a:tcPr marL="0" marR="0" marT="50800" marB="0" anchor="ctr">
                    <a:lnL>
                      <a:noFill/>
                    </a:lnL>
                    <a:lnR w="6350" cap="flat" cmpd="sng" algn="ctr">
                      <a:noFill/>
                      <a:prstDash val="solid"/>
                      <a:round/>
                      <a:headEnd type="none" w="med" len="med"/>
                      <a:tailEnd type="none" w="med" len="med"/>
                    </a:lnR>
                    <a:lnT w="6350" cap="flat" cmpd="sng" algn="ctr">
                      <a:solidFill>
                        <a:srgbClr val="50C4F1"/>
                      </a:solidFill>
                      <a:prstDash val="solid"/>
                      <a:round/>
                      <a:headEnd type="none" w="med" len="med"/>
                      <a:tailEnd type="none" w="med" len="med"/>
                    </a:lnT>
                    <a:lnB w="6350" cap="flat" cmpd="sng" algn="ctr">
                      <a:solidFill>
                        <a:srgbClr val="50C4F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5374584"/>
                  </a:ext>
                </a:extLst>
              </a:tr>
            </a:tbl>
          </a:graphicData>
        </a:graphic>
      </p:graphicFrame>
      <p:sp>
        <p:nvSpPr>
          <p:cNvPr id="10" name="TextBox 9">
            <a:extLst>
              <a:ext uri="{FF2B5EF4-FFF2-40B4-BE49-F238E27FC236}">
                <a16:creationId xmlns:a16="http://schemas.microsoft.com/office/drawing/2014/main" id="{CEF326EB-907C-48C2-9738-D2B4D401C105}"/>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39" name="Rectangle 38">
            <a:extLst>
              <a:ext uri="{FF2B5EF4-FFF2-40B4-BE49-F238E27FC236}">
                <a16:creationId xmlns:a16="http://schemas.microsoft.com/office/drawing/2014/main" id="{70FFEA36-FA3D-44A4-A9EF-DE709E1F4978}"/>
              </a:ext>
            </a:extLst>
          </p:cNvPr>
          <p:cNvSpPr/>
          <p:nvPr/>
        </p:nvSpPr>
        <p:spPr>
          <a:xfrm>
            <a:off x="0" y="0"/>
            <a:ext cx="1227769" cy="5143500"/>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40" name="Table 39">
            <a:extLst>
              <a:ext uri="{FF2B5EF4-FFF2-40B4-BE49-F238E27FC236}">
                <a16:creationId xmlns:a16="http://schemas.microsoft.com/office/drawing/2014/main" id="{3C1922E9-C3DD-498A-96AC-9430A33DDCF4}"/>
              </a:ext>
            </a:extLst>
          </p:cNvPr>
          <p:cNvGraphicFramePr>
            <a:graphicFrameLocks noGrp="1"/>
          </p:cNvGraphicFramePr>
          <p:nvPr>
            <p:extLst>
              <p:ext uri="{D42A27DB-BD31-4B8C-83A1-F6EECF244321}">
                <p14:modId xmlns:p14="http://schemas.microsoft.com/office/powerpoint/2010/main" val="300278234"/>
              </p:ext>
            </p:extLst>
          </p:nvPr>
        </p:nvGraphicFramePr>
        <p:xfrm>
          <a:off x="2" y="1"/>
          <a:ext cx="1227769" cy="5143500"/>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764">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76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76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328">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33112">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764">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914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76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76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9144">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9144">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41" name="Rectangle 40">
            <a:hlinkClick r:id="rId2" action="ppaction://hlinksldjump"/>
            <a:extLst>
              <a:ext uri="{FF2B5EF4-FFF2-40B4-BE49-F238E27FC236}">
                <a16:creationId xmlns:a16="http://schemas.microsoft.com/office/drawing/2014/main" id="{EE07F459-F213-42D9-970D-38ADB714E9F2}"/>
              </a:ext>
            </a:extLst>
          </p:cNvPr>
          <p:cNvSpPr/>
          <p:nvPr/>
        </p:nvSpPr>
        <p:spPr>
          <a:xfrm>
            <a:off x="-2" y="14316"/>
            <a:ext cx="861859" cy="28230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3" action="ppaction://hlinksldjump"/>
            <a:extLst>
              <a:ext uri="{FF2B5EF4-FFF2-40B4-BE49-F238E27FC236}">
                <a16:creationId xmlns:a16="http://schemas.microsoft.com/office/drawing/2014/main" id="{70F84D97-E968-4AF8-87BB-B77B16F3BEE6}"/>
              </a:ext>
            </a:extLst>
          </p:cNvPr>
          <p:cNvSpPr/>
          <p:nvPr/>
        </p:nvSpPr>
        <p:spPr>
          <a:xfrm>
            <a:off x="10884" y="318528"/>
            <a:ext cx="921847" cy="12820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4" action="ppaction://hlinksldjump"/>
            <a:extLst>
              <a:ext uri="{FF2B5EF4-FFF2-40B4-BE49-F238E27FC236}">
                <a16:creationId xmlns:a16="http://schemas.microsoft.com/office/drawing/2014/main" id="{65B4B43B-31C9-4706-8C36-6B615951C603}"/>
              </a:ext>
            </a:extLst>
          </p:cNvPr>
          <p:cNvSpPr/>
          <p:nvPr/>
        </p:nvSpPr>
        <p:spPr>
          <a:xfrm>
            <a:off x="-2" y="442577"/>
            <a:ext cx="999945" cy="321669"/>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5" action="ppaction://hlinksldjump"/>
            <a:extLst>
              <a:ext uri="{FF2B5EF4-FFF2-40B4-BE49-F238E27FC236}">
                <a16:creationId xmlns:a16="http://schemas.microsoft.com/office/drawing/2014/main" id="{0D8537BF-6FDC-442F-A792-FB55D4D988C6}"/>
              </a:ext>
            </a:extLst>
          </p:cNvPr>
          <p:cNvSpPr/>
          <p:nvPr/>
        </p:nvSpPr>
        <p:spPr>
          <a:xfrm>
            <a:off x="45703" y="777499"/>
            <a:ext cx="949831" cy="13261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6" action="ppaction://hlinksldjump"/>
            <a:extLst>
              <a:ext uri="{FF2B5EF4-FFF2-40B4-BE49-F238E27FC236}">
                <a16:creationId xmlns:a16="http://schemas.microsoft.com/office/drawing/2014/main" id="{A9B062F1-EF9E-4877-AC5E-311E89BD667C}"/>
              </a:ext>
            </a:extLst>
          </p:cNvPr>
          <p:cNvSpPr/>
          <p:nvPr/>
        </p:nvSpPr>
        <p:spPr>
          <a:xfrm>
            <a:off x="74378" y="911900"/>
            <a:ext cx="910962" cy="14153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7" action="ppaction://hlinksldjump"/>
            <a:extLst>
              <a:ext uri="{FF2B5EF4-FFF2-40B4-BE49-F238E27FC236}">
                <a16:creationId xmlns:a16="http://schemas.microsoft.com/office/drawing/2014/main" id="{0721138E-719D-4614-B322-53368051001D}"/>
              </a:ext>
            </a:extLst>
          </p:cNvPr>
          <p:cNvSpPr/>
          <p:nvPr/>
        </p:nvSpPr>
        <p:spPr>
          <a:xfrm>
            <a:off x="77827" y="1058856"/>
            <a:ext cx="949830" cy="14153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8" action="ppaction://hlinksldjump"/>
            <a:extLst>
              <a:ext uri="{FF2B5EF4-FFF2-40B4-BE49-F238E27FC236}">
                <a16:creationId xmlns:a16="http://schemas.microsoft.com/office/drawing/2014/main" id="{8D759681-F710-4136-A67D-F43886C93F61}"/>
              </a:ext>
            </a:extLst>
          </p:cNvPr>
          <p:cNvSpPr/>
          <p:nvPr/>
        </p:nvSpPr>
        <p:spPr>
          <a:xfrm>
            <a:off x="0" y="1214330"/>
            <a:ext cx="1021753" cy="289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9" action="ppaction://hlinksldjump"/>
            <a:extLst>
              <a:ext uri="{FF2B5EF4-FFF2-40B4-BE49-F238E27FC236}">
                <a16:creationId xmlns:a16="http://schemas.microsoft.com/office/drawing/2014/main" id="{569AB2A2-8AA3-4482-90BF-FD4B501ED4FA}"/>
              </a:ext>
            </a:extLst>
          </p:cNvPr>
          <p:cNvSpPr/>
          <p:nvPr/>
        </p:nvSpPr>
        <p:spPr>
          <a:xfrm>
            <a:off x="62966" y="1510932"/>
            <a:ext cx="910778" cy="13768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extLst>
              <a:ext uri="{FF2B5EF4-FFF2-40B4-BE49-F238E27FC236}">
                <a16:creationId xmlns:a16="http://schemas.microsoft.com/office/drawing/2014/main" id="{42C69D20-C6F2-496B-9D69-F05AB3CE4CC3}"/>
              </a:ext>
            </a:extLst>
          </p:cNvPr>
          <p:cNvSpPr/>
          <p:nvPr/>
        </p:nvSpPr>
        <p:spPr>
          <a:xfrm>
            <a:off x="69638" y="1795003"/>
            <a:ext cx="910778" cy="10722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0" action="ppaction://hlinksldjump"/>
            <a:extLst>
              <a:ext uri="{FF2B5EF4-FFF2-40B4-BE49-F238E27FC236}">
                <a16:creationId xmlns:a16="http://schemas.microsoft.com/office/drawing/2014/main" id="{A3E6F105-69C0-4DE6-94AB-13EDB92F7A42}"/>
              </a:ext>
            </a:extLst>
          </p:cNvPr>
          <p:cNvSpPr/>
          <p:nvPr/>
        </p:nvSpPr>
        <p:spPr>
          <a:xfrm>
            <a:off x="89185" y="1670111"/>
            <a:ext cx="910778" cy="14100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1" action="ppaction://hlinksldjump"/>
            <a:extLst>
              <a:ext uri="{FF2B5EF4-FFF2-40B4-BE49-F238E27FC236}">
                <a16:creationId xmlns:a16="http://schemas.microsoft.com/office/drawing/2014/main" id="{02A1B669-3905-4B07-95BD-E35B381D9DCD}"/>
              </a:ext>
            </a:extLst>
          </p:cNvPr>
          <p:cNvSpPr/>
          <p:nvPr/>
        </p:nvSpPr>
        <p:spPr>
          <a:xfrm>
            <a:off x="191877" y="1962724"/>
            <a:ext cx="910778" cy="14100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2" action="ppaction://hlinksldjump"/>
            <a:extLst>
              <a:ext uri="{FF2B5EF4-FFF2-40B4-BE49-F238E27FC236}">
                <a16:creationId xmlns:a16="http://schemas.microsoft.com/office/drawing/2014/main" id="{B9180D35-DAD7-4A48-8F58-1C56CCD6CF60}"/>
              </a:ext>
            </a:extLst>
          </p:cNvPr>
          <p:cNvSpPr/>
          <p:nvPr/>
        </p:nvSpPr>
        <p:spPr>
          <a:xfrm>
            <a:off x="191877" y="2128648"/>
            <a:ext cx="910778" cy="12277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3" action="ppaction://hlinksldjump"/>
            <a:extLst>
              <a:ext uri="{FF2B5EF4-FFF2-40B4-BE49-F238E27FC236}">
                <a16:creationId xmlns:a16="http://schemas.microsoft.com/office/drawing/2014/main" id="{53409D25-A460-4AB2-AEBD-D3F55B0BC83D}"/>
              </a:ext>
            </a:extLst>
          </p:cNvPr>
          <p:cNvSpPr/>
          <p:nvPr/>
        </p:nvSpPr>
        <p:spPr>
          <a:xfrm>
            <a:off x="191877" y="2263731"/>
            <a:ext cx="910778" cy="134449"/>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4" action="ppaction://hlinksldjump"/>
            <a:extLst>
              <a:ext uri="{FF2B5EF4-FFF2-40B4-BE49-F238E27FC236}">
                <a16:creationId xmlns:a16="http://schemas.microsoft.com/office/drawing/2014/main" id="{568C5591-AE50-4300-99A4-E259CD94C435}"/>
              </a:ext>
            </a:extLst>
          </p:cNvPr>
          <p:cNvSpPr/>
          <p:nvPr/>
        </p:nvSpPr>
        <p:spPr>
          <a:xfrm>
            <a:off x="182796" y="2421433"/>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5" action="ppaction://hlinksldjump"/>
            <a:extLst>
              <a:ext uri="{FF2B5EF4-FFF2-40B4-BE49-F238E27FC236}">
                <a16:creationId xmlns:a16="http://schemas.microsoft.com/office/drawing/2014/main" id="{18DAF501-C40D-40CC-8793-427F9411EBD8}"/>
              </a:ext>
            </a:extLst>
          </p:cNvPr>
          <p:cNvSpPr/>
          <p:nvPr/>
        </p:nvSpPr>
        <p:spPr>
          <a:xfrm>
            <a:off x="187339" y="2580734"/>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6" action="ppaction://hlinksldjump"/>
            <a:extLst>
              <a:ext uri="{FF2B5EF4-FFF2-40B4-BE49-F238E27FC236}">
                <a16:creationId xmlns:a16="http://schemas.microsoft.com/office/drawing/2014/main" id="{4F72BAE2-2253-416F-8AD4-9BDA421BDEEB}"/>
              </a:ext>
            </a:extLst>
          </p:cNvPr>
          <p:cNvSpPr/>
          <p:nvPr/>
        </p:nvSpPr>
        <p:spPr>
          <a:xfrm>
            <a:off x="27199" y="2722696"/>
            <a:ext cx="949831" cy="3832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7" action="ppaction://hlinksldjump"/>
            <a:extLst>
              <a:ext uri="{FF2B5EF4-FFF2-40B4-BE49-F238E27FC236}">
                <a16:creationId xmlns:a16="http://schemas.microsoft.com/office/drawing/2014/main" id="{EA89A48E-4244-451D-A1AE-D1492FCF290B}"/>
              </a:ext>
            </a:extLst>
          </p:cNvPr>
          <p:cNvSpPr/>
          <p:nvPr/>
        </p:nvSpPr>
        <p:spPr>
          <a:xfrm>
            <a:off x="81237" y="310455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18" action="ppaction://hlinksldjump"/>
            <a:extLst>
              <a:ext uri="{FF2B5EF4-FFF2-40B4-BE49-F238E27FC236}">
                <a16:creationId xmlns:a16="http://schemas.microsoft.com/office/drawing/2014/main" id="{AFDA3165-1904-4369-BA72-9E0EA7FA0FEC}"/>
              </a:ext>
            </a:extLst>
          </p:cNvPr>
          <p:cNvSpPr/>
          <p:nvPr/>
        </p:nvSpPr>
        <p:spPr>
          <a:xfrm>
            <a:off x="171763" y="342185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19" action="ppaction://hlinksldjump"/>
            <a:extLst>
              <a:ext uri="{FF2B5EF4-FFF2-40B4-BE49-F238E27FC236}">
                <a16:creationId xmlns:a16="http://schemas.microsoft.com/office/drawing/2014/main" id="{B7DB8FE2-754F-4F08-A3E2-A4DCDAB27DFE}"/>
              </a:ext>
            </a:extLst>
          </p:cNvPr>
          <p:cNvSpPr/>
          <p:nvPr/>
        </p:nvSpPr>
        <p:spPr>
          <a:xfrm>
            <a:off x="163966" y="356229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20" action="ppaction://hlinksldjump"/>
            <a:extLst>
              <a:ext uri="{FF2B5EF4-FFF2-40B4-BE49-F238E27FC236}">
                <a16:creationId xmlns:a16="http://schemas.microsoft.com/office/drawing/2014/main" id="{D1190939-287E-4CEA-9729-3A523863DCF4}"/>
              </a:ext>
            </a:extLst>
          </p:cNvPr>
          <p:cNvSpPr/>
          <p:nvPr/>
        </p:nvSpPr>
        <p:spPr>
          <a:xfrm>
            <a:off x="157227" y="3725628"/>
            <a:ext cx="910778" cy="2345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1" action="ppaction://hlinksldjump"/>
            <a:extLst>
              <a:ext uri="{FF2B5EF4-FFF2-40B4-BE49-F238E27FC236}">
                <a16:creationId xmlns:a16="http://schemas.microsoft.com/office/drawing/2014/main" id="{613DF188-6D20-4F0E-8F1A-D847AD3B4843}"/>
              </a:ext>
            </a:extLst>
          </p:cNvPr>
          <p:cNvSpPr/>
          <p:nvPr/>
        </p:nvSpPr>
        <p:spPr>
          <a:xfrm>
            <a:off x="12234" y="3944039"/>
            <a:ext cx="946330" cy="30129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2" action="ppaction://hlinksldjump"/>
            <a:extLst>
              <a:ext uri="{FF2B5EF4-FFF2-40B4-BE49-F238E27FC236}">
                <a16:creationId xmlns:a16="http://schemas.microsoft.com/office/drawing/2014/main" id="{6749B7F0-A7EE-49FF-9906-E941023FCDD2}"/>
              </a:ext>
            </a:extLst>
          </p:cNvPr>
          <p:cNvSpPr/>
          <p:nvPr/>
        </p:nvSpPr>
        <p:spPr>
          <a:xfrm>
            <a:off x="89165" y="4259272"/>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extLst>
              <a:ext uri="{FF2B5EF4-FFF2-40B4-BE49-F238E27FC236}">
                <a16:creationId xmlns:a16="http://schemas.microsoft.com/office/drawing/2014/main" id="{8D70FFC5-A532-448B-BD5A-5E8720BC4113}"/>
              </a:ext>
            </a:extLst>
          </p:cNvPr>
          <p:cNvSpPr/>
          <p:nvPr/>
        </p:nvSpPr>
        <p:spPr>
          <a:xfrm>
            <a:off x="103549" y="4744083"/>
            <a:ext cx="964456"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23" action="ppaction://hlinksldjump"/>
            <a:extLst>
              <a:ext uri="{FF2B5EF4-FFF2-40B4-BE49-F238E27FC236}">
                <a16:creationId xmlns:a16="http://schemas.microsoft.com/office/drawing/2014/main" id="{2AF41E7A-8F18-42ED-AC32-A06D15F60B30}"/>
              </a:ext>
            </a:extLst>
          </p:cNvPr>
          <p:cNvSpPr/>
          <p:nvPr/>
        </p:nvSpPr>
        <p:spPr>
          <a:xfrm>
            <a:off x="171763" y="4545904"/>
            <a:ext cx="910778" cy="14401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hlinkClick r:id="rId24" action="ppaction://hlinksldjump"/>
            <a:extLst>
              <a:ext uri="{FF2B5EF4-FFF2-40B4-BE49-F238E27FC236}">
                <a16:creationId xmlns:a16="http://schemas.microsoft.com/office/drawing/2014/main" id="{8C069E61-36A4-4383-AF40-F93284171FF8}"/>
              </a:ext>
            </a:extLst>
          </p:cNvPr>
          <p:cNvSpPr/>
          <p:nvPr/>
        </p:nvSpPr>
        <p:spPr>
          <a:xfrm>
            <a:off x="171763" y="4706748"/>
            <a:ext cx="910778" cy="2334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25" action="ppaction://hlinksldjump"/>
            <a:extLst>
              <a:ext uri="{FF2B5EF4-FFF2-40B4-BE49-F238E27FC236}">
                <a16:creationId xmlns:a16="http://schemas.microsoft.com/office/drawing/2014/main" id="{A66E6128-926C-48E8-92AF-EDF05B734772}"/>
              </a:ext>
            </a:extLst>
          </p:cNvPr>
          <p:cNvSpPr/>
          <p:nvPr/>
        </p:nvSpPr>
        <p:spPr>
          <a:xfrm>
            <a:off x="5707" y="4936335"/>
            <a:ext cx="910778" cy="20716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47573051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DB2E0-5041-4DE6-8601-EA815DE79C4C}"/>
              </a:ext>
            </a:extLst>
          </p:cNvPr>
          <p:cNvSpPr>
            <a:spLocks noGrp="1"/>
          </p:cNvSpPr>
          <p:nvPr>
            <p:ph type="title"/>
          </p:nvPr>
        </p:nvSpPr>
        <p:spPr/>
        <p:txBody>
          <a:bodyPr/>
          <a:lstStyle/>
          <a:p>
            <a:r>
              <a:rPr lang="en-GB" sz="2000" spc="10" noProof="0" dirty="0">
                <a:latin typeface="Neue Frutiger World" panose="020B0603040304020203" pitchFamily="34" charset="0"/>
                <a:cs typeface="Neue Frutiger World" panose="020B0603040304020203" pitchFamily="34" charset="0"/>
              </a:rPr>
              <a:t>Quantify</a:t>
            </a:r>
            <a:r>
              <a:rPr lang="en-GB" sz="2000" spc="-25" noProof="0" dirty="0">
                <a:latin typeface="Neue Frutiger World" panose="020B0603040304020203" pitchFamily="34" charset="0"/>
                <a:cs typeface="Neue Frutiger World" panose="020B0603040304020203" pitchFamily="34" charset="0"/>
              </a:rPr>
              <a:t> </a:t>
            </a:r>
            <a:r>
              <a:rPr lang="en-GB" sz="2000" spc="-15" noProof="0" dirty="0">
                <a:latin typeface="Neue Frutiger World" panose="020B0603040304020203" pitchFamily="34" charset="0"/>
                <a:cs typeface="Neue Frutiger World" panose="020B0603040304020203" pitchFamily="34" charset="0"/>
              </a:rPr>
              <a:t>the</a:t>
            </a:r>
            <a:r>
              <a:rPr lang="en-GB" sz="2000" spc="45" noProof="0" dirty="0">
                <a:latin typeface="Neue Frutiger World" panose="020B0603040304020203" pitchFamily="34" charset="0"/>
                <a:cs typeface="Neue Frutiger World" panose="020B0603040304020203" pitchFamily="34" charset="0"/>
              </a:rPr>
              <a:t> </a:t>
            </a:r>
            <a:r>
              <a:rPr lang="en-GB" sz="2000" spc="5" noProof="0" dirty="0">
                <a:latin typeface="Neue Frutiger World" panose="020B0603040304020203" pitchFamily="34" charset="0"/>
                <a:cs typeface="Neue Frutiger World" panose="020B0603040304020203" pitchFamily="34" charset="0"/>
              </a:rPr>
              <a:t>number </a:t>
            </a:r>
            <a:r>
              <a:rPr lang="en-GB" sz="2000" spc="-5" noProof="0" dirty="0">
                <a:latin typeface="Neue Frutiger World" panose="020B0603040304020203" pitchFamily="34" charset="0"/>
                <a:cs typeface="Neue Frutiger World" panose="020B0603040304020203" pitchFamily="34" charset="0"/>
              </a:rPr>
              <a:t>of</a:t>
            </a:r>
            <a:r>
              <a:rPr lang="en-GB" sz="2000" spc="5" noProof="0" dirty="0">
                <a:latin typeface="Neue Frutiger World" panose="020B0603040304020203" pitchFamily="34" charset="0"/>
                <a:cs typeface="Neue Frutiger World" panose="020B0603040304020203" pitchFamily="34" charset="0"/>
              </a:rPr>
              <a:t> </a:t>
            </a:r>
            <a:r>
              <a:rPr lang="en-GB" sz="2000" spc="-20" noProof="0" dirty="0">
                <a:latin typeface="Neue Frutiger World" panose="020B0603040304020203" pitchFamily="34" charset="0"/>
                <a:cs typeface="Neue Frutiger World" panose="020B0603040304020203" pitchFamily="34" charset="0"/>
              </a:rPr>
              <a:t>potential</a:t>
            </a:r>
            <a:r>
              <a:rPr lang="en-GB" sz="2000" spc="45" noProof="0" dirty="0">
                <a:latin typeface="Neue Frutiger World" panose="020B0603040304020203" pitchFamily="34" charset="0"/>
                <a:cs typeface="Neue Frutiger World" panose="020B0603040304020203" pitchFamily="34" charset="0"/>
              </a:rPr>
              <a:t> </a:t>
            </a:r>
            <a:r>
              <a:rPr lang="en-GB" sz="2000" spc="-5" noProof="0" dirty="0">
                <a:latin typeface="Neue Frutiger World" panose="020B0603040304020203" pitchFamily="34" charset="0"/>
                <a:cs typeface="Neue Frutiger World" panose="020B0603040304020203" pitchFamily="34" charset="0"/>
              </a:rPr>
              <a:t>infection</a:t>
            </a:r>
            <a:r>
              <a:rPr lang="en-GB" sz="2000" spc="45" noProof="0" dirty="0">
                <a:latin typeface="Neue Frutiger World" panose="020B0603040304020203" pitchFamily="34" charset="0"/>
                <a:cs typeface="Neue Frutiger World" panose="020B0603040304020203" pitchFamily="34" charset="0"/>
              </a:rPr>
              <a:t> </a:t>
            </a:r>
            <a:r>
              <a:rPr lang="en-GB" sz="2000" spc="-20" noProof="0" dirty="0">
                <a:latin typeface="Neue Frutiger World" panose="020B0603040304020203" pitchFamily="34" charset="0"/>
                <a:cs typeface="Neue Frutiger World" panose="020B0603040304020203" pitchFamily="34" charset="0"/>
              </a:rPr>
              <a:t>patients</a:t>
            </a:r>
            <a:endParaRPr lang="en-GB" sz="2000" noProof="0" dirty="0">
              <a:latin typeface="Neue Frutiger World" panose="020B0603040304020203" pitchFamily="34" charset="0"/>
              <a:cs typeface="Neue Frutiger World" panose="020B0603040304020203" pitchFamily="34" charset="0"/>
            </a:endParaRPr>
          </a:p>
        </p:txBody>
      </p:sp>
      <p:sp>
        <p:nvSpPr>
          <p:cNvPr id="3" name="Footer Placeholder 2">
            <a:extLst>
              <a:ext uri="{FF2B5EF4-FFF2-40B4-BE49-F238E27FC236}">
                <a16:creationId xmlns:a16="http://schemas.microsoft.com/office/drawing/2014/main" id="{AF57793A-D3CE-43E4-BDC8-994A63731D6D}"/>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1CCFB918-AEB2-4052-873A-6BEED096E6C0}"/>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5</a:t>
            </a:fld>
            <a:endParaRPr lang="en-US" noProof="0" dirty="0">
              <a:latin typeface="Neue Frutiger World" panose="020B0603040304020203" pitchFamily="34" charset="0"/>
              <a:cs typeface="Neue Frutiger World" panose="020B0603040304020203" pitchFamily="34" charset="0"/>
            </a:endParaRPr>
          </a:p>
        </p:txBody>
      </p:sp>
      <p:sp>
        <p:nvSpPr>
          <p:cNvPr id="5" name="Text Placeholder 4">
            <a:extLst>
              <a:ext uri="{FF2B5EF4-FFF2-40B4-BE49-F238E27FC236}">
                <a16:creationId xmlns:a16="http://schemas.microsoft.com/office/drawing/2014/main" id="{DCE63767-6F6B-4BE6-AA0B-722DE20EA968}"/>
              </a:ext>
            </a:extLst>
          </p:cNvPr>
          <p:cNvSpPr>
            <a:spLocks noGrp="1"/>
          </p:cNvSpPr>
          <p:nvPr>
            <p:ph type="body" sz="quarter" idx="14"/>
          </p:nvPr>
        </p:nvSpPr>
        <p:spPr>
          <a:xfrm>
            <a:off x="1547664" y="843559"/>
            <a:ext cx="3168352" cy="1152128"/>
          </a:xfrm>
        </p:spPr>
        <p:txBody>
          <a:bodyPr/>
          <a:lstStyle/>
          <a:p>
            <a:pPr marL="0" marR="5079" indent="0">
              <a:lnSpc>
                <a:spcPct val="104200"/>
              </a:lnSpc>
              <a:spcBef>
                <a:spcPts val="60"/>
              </a:spcBef>
              <a:buNone/>
            </a:pPr>
            <a:r>
              <a:rPr lang="en-GB" sz="800" spc="-5" noProof="0" dirty="0">
                <a:solidFill>
                  <a:srgbClr val="231F20"/>
                </a:solidFill>
                <a:latin typeface="Neue Frutiger World" panose="020B0603040304020203" pitchFamily="34" charset="0"/>
                <a:cs typeface="Neue Frutiger World" panose="020B0603040304020203" pitchFamily="34" charset="0"/>
              </a:rPr>
              <a:t>Determine </a:t>
            </a:r>
            <a:r>
              <a:rPr lang="en-GB" sz="800" spc="-10" noProof="0" dirty="0">
                <a:solidFill>
                  <a:srgbClr val="231F20"/>
                </a:solidFill>
                <a:latin typeface="Neue Frutiger World" panose="020B0603040304020203" pitchFamily="34" charset="0"/>
                <a:cs typeface="Neue Frutiger World" panose="020B0603040304020203" pitchFamily="34" charset="0"/>
              </a:rPr>
              <a:t>th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number of device patients followed and multiply by 1% which is a conservative estimated incidence rate of CIED infections.</a:t>
            </a:r>
          </a:p>
          <a:p>
            <a:pPr>
              <a:spcBef>
                <a:spcPts val="55"/>
              </a:spcBef>
            </a:pPr>
            <a:endParaRPr lang="en-GB" sz="800" spc="-5" noProof="0" dirty="0">
              <a:solidFill>
                <a:srgbClr val="231F20"/>
              </a:solidFill>
              <a:latin typeface="Neue Frutiger World" panose="020B0603040304020203" pitchFamily="34" charset="0"/>
              <a:cs typeface="Neue Frutiger World" panose="020B0603040304020203" pitchFamily="34" charset="0"/>
            </a:endParaRPr>
          </a:p>
          <a:p>
            <a:pPr marL="0" marR="108576" indent="0">
              <a:lnSpc>
                <a:spcPct val="104200"/>
              </a:lnSpc>
              <a:spcBef>
                <a:spcPts val="5"/>
              </a:spcBef>
              <a:buNone/>
            </a:pPr>
            <a:r>
              <a:rPr lang="en-GB" sz="800" spc="-5" noProof="0" dirty="0">
                <a:solidFill>
                  <a:srgbClr val="231F20"/>
                </a:solidFill>
                <a:latin typeface="Neue Frutiger World" panose="020B0603040304020203" pitchFamily="34" charset="0"/>
                <a:cs typeface="Neue Frutiger World" panose="020B0603040304020203" pitchFamily="34" charset="0"/>
              </a:rPr>
              <a:t>The total infection case opportunity in this example is 95 cases, if the extractor is committed to identifying and extracting patients in their hospital, working with their referring hospitals and referrals from other departments.</a:t>
            </a:r>
          </a:p>
          <a:p>
            <a:pPr marL="0" indent="0">
              <a:buNone/>
            </a:pPr>
            <a:endParaRPr lang="en-GB" sz="1200" noProof="0" dirty="0">
              <a:latin typeface="Neue Frutiger World" panose="020B0603040304020203" pitchFamily="34" charset="0"/>
              <a:cs typeface="Neue Frutiger World" panose="020B0603040304020203" pitchFamily="34" charset="0"/>
            </a:endParaRPr>
          </a:p>
        </p:txBody>
      </p:sp>
      <p:graphicFrame>
        <p:nvGraphicFramePr>
          <p:cNvPr id="6" name="object 4">
            <a:extLst>
              <a:ext uri="{FF2B5EF4-FFF2-40B4-BE49-F238E27FC236}">
                <a16:creationId xmlns:a16="http://schemas.microsoft.com/office/drawing/2014/main" id="{255130FD-1A42-4B56-BC32-CEEAEBCE78AB}"/>
              </a:ext>
            </a:extLst>
          </p:cNvPr>
          <p:cNvGraphicFramePr>
            <a:graphicFrameLocks noGrp="1"/>
          </p:cNvGraphicFramePr>
          <p:nvPr>
            <p:extLst>
              <p:ext uri="{D42A27DB-BD31-4B8C-83A1-F6EECF244321}">
                <p14:modId xmlns:p14="http://schemas.microsoft.com/office/powerpoint/2010/main" val="1090118074"/>
              </p:ext>
            </p:extLst>
          </p:nvPr>
        </p:nvGraphicFramePr>
        <p:xfrm>
          <a:off x="4860032" y="843559"/>
          <a:ext cx="3808863" cy="1310003"/>
        </p:xfrm>
        <a:graphic>
          <a:graphicData uri="http://schemas.openxmlformats.org/drawingml/2006/table">
            <a:tbl>
              <a:tblPr firstRow="1" bandRow="1">
                <a:tableStyleId>{2D5ABB26-0587-4C30-8999-92F81FD0307C}</a:tableStyleId>
              </a:tblPr>
              <a:tblGrid>
                <a:gridCol w="1039515">
                  <a:extLst>
                    <a:ext uri="{9D8B030D-6E8A-4147-A177-3AD203B41FA5}">
                      <a16:colId xmlns:a16="http://schemas.microsoft.com/office/drawing/2014/main" val="20000"/>
                    </a:ext>
                  </a:extLst>
                </a:gridCol>
                <a:gridCol w="1408757">
                  <a:extLst>
                    <a:ext uri="{9D8B030D-6E8A-4147-A177-3AD203B41FA5}">
                      <a16:colId xmlns:a16="http://schemas.microsoft.com/office/drawing/2014/main" val="20001"/>
                    </a:ext>
                  </a:extLst>
                </a:gridCol>
                <a:gridCol w="1360591">
                  <a:extLst>
                    <a:ext uri="{9D8B030D-6E8A-4147-A177-3AD203B41FA5}">
                      <a16:colId xmlns:a16="http://schemas.microsoft.com/office/drawing/2014/main" val="20002"/>
                    </a:ext>
                  </a:extLst>
                </a:gridCol>
              </a:tblGrid>
              <a:tr h="274955">
                <a:tc>
                  <a:txBody>
                    <a:bodyPr/>
                    <a:lstStyle/>
                    <a:p>
                      <a:pPr marL="57150" algn="l">
                        <a:lnSpc>
                          <a:spcPct val="100000"/>
                        </a:lnSpc>
                        <a:spcBef>
                          <a:spcPts val="700"/>
                        </a:spcBef>
                      </a:pPr>
                      <a:r>
                        <a:rPr sz="800" spc="-10" dirty="0">
                          <a:solidFill>
                            <a:srgbClr val="231F20"/>
                          </a:solidFill>
                          <a:latin typeface="Neue Frutiger World" panose="020B0603040304020203" pitchFamily="34" charset="0"/>
                          <a:cs typeface="Neue Frutiger World" panose="020B0603040304020203" pitchFamily="34" charset="0"/>
                        </a:rPr>
                        <a:t>P</a:t>
                      </a:r>
                      <a:r>
                        <a:rPr sz="800" spc="-5" dirty="0">
                          <a:solidFill>
                            <a:srgbClr val="231F20"/>
                          </a:solidFill>
                          <a:latin typeface="Neue Frutiger World" panose="020B0603040304020203" pitchFamily="34" charset="0"/>
                          <a:cs typeface="Neue Frutiger World" panose="020B0603040304020203" pitchFamily="34" charset="0"/>
                        </a:rPr>
                        <a:t>o</a:t>
                      </a:r>
                      <a:r>
                        <a:rPr sz="800" spc="-10" dirty="0">
                          <a:solidFill>
                            <a:srgbClr val="231F20"/>
                          </a:solidFill>
                          <a:latin typeface="Neue Frutiger World" panose="020B0603040304020203" pitchFamily="34" charset="0"/>
                          <a:cs typeface="Neue Frutiger World" panose="020B0603040304020203" pitchFamily="34" charset="0"/>
                        </a:rPr>
                        <a:t>t</a:t>
                      </a:r>
                      <a:r>
                        <a:rPr sz="800" dirty="0">
                          <a:solidFill>
                            <a:srgbClr val="231F20"/>
                          </a:solidFill>
                          <a:latin typeface="Neue Frutiger World" panose="020B0603040304020203" pitchFamily="34" charset="0"/>
                          <a:cs typeface="Neue Frutiger World" panose="020B0603040304020203" pitchFamily="34" charset="0"/>
                        </a:rPr>
                        <a:t>enti</a:t>
                      </a:r>
                      <a:r>
                        <a:rPr sz="800" spc="-15" dirty="0">
                          <a:solidFill>
                            <a:srgbClr val="231F20"/>
                          </a:solidFill>
                          <a:latin typeface="Neue Frutiger World" panose="020B0603040304020203" pitchFamily="34" charset="0"/>
                          <a:cs typeface="Neue Frutiger World" panose="020B0603040304020203" pitchFamily="34" charset="0"/>
                        </a:rPr>
                        <a:t>a</a:t>
                      </a:r>
                      <a:r>
                        <a:rPr sz="800" dirty="0">
                          <a:solidFill>
                            <a:srgbClr val="231F20"/>
                          </a:solidFill>
                          <a:latin typeface="Neue Frutiger World" panose="020B0603040304020203" pitchFamily="34" charset="0"/>
                          <a:cs typeface="Neue Frutiger World" panose="020B0603040304020203" pitchFamily="34" charset="0"/>
                        </a:rPr>
                        <a:t>l</a:t>
                      </a:r>
                      <a:r>
                        <a:rPr sz="800" spc="-7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p</a:t>
                      </a:r>
                      <a:r>
                        <a:rPr sz="800" spc="-15" dirty="0">
                          <a:solidFill>
                            <a:srgbClr val="231F20"/>
                          </a:solidFill>
                          <a:latin typeface="Neue Frutiger World" panose="020B0603040304020203" pitchFamily="34" charset="0"/>
                          <a:cs typeface="Neue Frutiger World" panose="020B0603040304020203" pitchFamily="34" charset="0"/>
                        </a:rPr>
                        <a:t>a</a:t>
                      </a:r>
                      <a:r>
                        <a:rPr sz="800" dirty="0">
                          <a:solidFill>
                            <a:srgbClr val="231F20"/>
                          </a:solidFill>
                          <a:latin typeface="Neue Frutiger World" panose="020B0603040304020203" pitchFamily="34" charset="0"/>
                          <a:cs typeface="Neue Frutiger World" panose="020B0603040304020203" pitchFamily="34" charset="0"/>
                        </a:rPr>
                        <a:t>tients</a:t>
                      </a:r>
                      <a:endParaRPr sz="800" dirty="0">
                        <a:latin typeface="Neue Frutiger World" panose="020B0603040304020203" pitchFamily="34" charset="0"/>
                        <a:cs typeface="Neue Frutiger World" panose="020B0603040304020203" pitchFamily="34" charset="0"/>
                      </a:endParaRPr>
                    </a:p>
                  </a:txBody>
                  <a:tcPr marL="0" marR="0" marT="88900" marB="0">
                    <a:lnB w="9525">
                      <a:solidFill>
                        <a:srgbClr val="989AA5"/>
                      </a:solidFill>
                      <a:prstDash val="solid"/>
                    </a:lnB>
                    <a:solidFill>
                      <a:srgbClr val="D9DAE4"/>
                    </a:solidFill>
                  </a:tcPr>
                </a:tc>
                <a:tc>
                  <a:txBody>
                    <a:bodyPr/>
                    <a:lstStyle/>
                    <a:p>
                      <a:pPr marL="182563" indent="0" algn="l">
                        <a:lnSpc>
                          <a:spcPct val="100000"/>
                        </a:lnSpc>
                        <a:spcBef>
                          <a:spcPts val="700"/>
                        </a:spcBef>
                      </a:pPr>
                      <a:r>
                        <a:rPr sz="800" dirty="0">
                          <a:solidFill>
                            <a:srgbClr val="231F20"/>
                          </a:solidFill>
                          <a:latin typeface="Neue Frutiger World" panose="020B0603040304020203" pitchFamily="34" charset="0"/>
                          <a:cs typeface="Neue Frutiger World" panose="020B0603040304020203" pitchFamily="34" charset="0"/>
                        </a:rPr>
                        <a:t>#</a:t>
                      </a:r>
                      <a:r>
                        <a:rPr sz="800" spc="-7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9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d</a:t>
                      </a:r>
                      <a:r>
                        <a:rPr sz="800" spc="-15" dirty="0">
                          <a:solidFill>
                            <a:srgbClr val="231F20"/>
                          </a:solidFill>
                          <a:latin typeface="Neue Frutiger World" panose="020B0603040304020203" pitchFamily="34" charset="0"/>
                          <a:cs typeface="Neue Frutiger World" panose="020B0603040304020203" pitchFamily="34" charset="0"/>
                        </a:rPr>
                        <a:t>e</a:t>
                      </a:r>
                      <a:r>
                        <a:rPr sz="800" dirty="0">
                          <a:solidFill>
                            <a:srgbClr val="231F20"/>
                          </a:solidFill>
                          <a:latin typeface="Neue Frutiger World" panose="020B0603040304020203" pitchFamily="34" charset="0"/>
                          <a:cs typeface="Neue Frutiger World" panose="020B0603040304020203" pitchFamily="34" charset="0"/>
                        </a:rPr>
                        <a:t>vi</a:t>
                      </a:r>
                      <a:r>
                        <a:rPr sz="800" spc="-15" dirty="0">
                          <a:solidFill>
                            <a:srgbClr val="231F20"/>
                          </a:solidFill>
                          <a:latin typeface="Neue Frutiger World" panose="020B0603040304020203" pitchFamily="34" charset="0"/>
                          <a:cs typeface="Neue Frutiger World" panose="020B0603040304020203" pitchFamily="34" charset="0"/>
                        </a:rPr>
                        <a:t>c</a:t>
                      </a:r>
                      <a:r>
                        <a:rPr sz="800" dirty="0">
                          <a:solidFill>
                            <a:srgbClr val="231F20"/>
                          </a:solidFill>
                          <a:latin typeface="Neue Frutiger World" panose="020B0603040304020203" pitchFamily="34" charset="0"/>
                          <a:cs typeface="Neue Frutiger World" panose="020B0603040304020203" pitchFamily="34" charset="0"/>
                        </a:rPr>
                        <a:t>es</a:t>
                      </a:r>
                      <a:r>
                        <a:rPr sz="800" spc="-8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f</a:t>
                      </a:r>
                      <a:r>
                        <a:rPr sz="800" dirty="0">
                          <a:solidFill>
                            <a:srgbClr val="231F20"/>
                          </a:solidFill>
                          <a:latin typeface="Neue Frutiger World" panose="020B0603040304020203" pitchFamily="34" charset="0"/>
                          <a:cs typeface="Neue Frutiger World" panose="020B0603040304020203" pitchFamily="34" charset="0"/>
                        </a:rPr>
                        <a:t>o</a:t>
                      </a:r>
                      <a:r>
                        <a:rPr sz="800" spc="-20" dirty="0">
                          <a:solidFill>
                            <a:srgbClr val="231F20"/>
                          </a:solidFill>
                          <a:latin typeface="Neue Frutiger World" panose="020B0603040304020203" pitchFamily="34" charset="0"/>
                          <a:cs typeface="Neue Frutiger World" panose="020B0603040304020203" pitchFamily="34" charset="0"/>
                        </a:rPr>
                        <a:t>l</a:t>
                      </a:r>
                      <a:r>
                        <a:rPr sz="800" spc="-15" dirty="0">
                          <a:solidFill>
                            <a:srgbClr val="231F20"/>
                          </a:solidFill>
                          <a:latin typeface="Neue Frutiger World" panose="020B0603040304020203" pitchFamily="34" charset="0"/>
                          <a:cs typeface="Neue Frutiger World" panose="020B0603040304020203" pitchFamily="34" charset="0"/>
                        </a:rPr>
                        <a:t>low</a:t>
                      </a:r>
                      <a:r>
                        <a:rPr sz="800" dirty="0">
                          <a:solidFill>
                            <a:srgbClr val="231F20"/>
                          </a:solidFill>
                          <a:latin typeface="Neue Frutiger World" panose="020B0603040304020203" pitchFamily="34" charset="0"/>
                          <a:cs typeface="Neue Frutiger World" panose="020B0603040304020203" pitchFamily="34" charset="0"/>
                        </a:rPr>
                        <a:t>ed</a:t>
                      </a:r>
                      <a:endParaRPr sz="800" dirty="0">
                        <a:latin typeface="Neue Frutiger World" panose="020B0603040304020203" pitchFamily="34" charset="0"/>
                        <a:cs typeface="Neue Frutiger World" panose="020B0603040304020203" pitchFamily="34" charset="0"/>
                      </a:endParaRPr>
                    </a:p>
                  </a:txBody>
                  <a:tcPr marL="0" marR="0" marT="88900" marB="0">
                    <a:lnB w="9525">
                      <a:solidFill>
                        <a:srgbClr val="989AA5"/>
                      </a:solidFill>
                      <a:prstDash val="solid"/>
                    </a:lnB>
                    <a:solidFill>
                      <a:srgbClr val="D9DAE4"/>
                    </a:solidFill>
                  </a:tcPr>
                </a:tc>
                <a:tc>
                  <a:txBody>
                    <a:bodyPr/>
                    <a:lstStyle/>
                    <a:p>
                      <a:pPr marL="262890" algn="l">
                        <a:lnSpc>
                          <a:spcPct val="100000"/>
                        </a:lnSpc>
                        <a:spcBef>
                          <a:spcPts val="700"/>
                        </a:spcBef>
                      </a:pPr>
                      <a:r>
                        <a:rPr sz="800" dirty="0">
                          <a:solidFill>
                            <a:srgbClr val="231F20"/>
                          </a:solidFill>
                          <a:latin typeface="Neue Frutiger World" panose="020B0603040304020203" pitchFamily="34" charset="0"/>
                          <a:cs typeface="Neue Frutiger World" panose="020B0603040304020203" pitchFamily="34" charset="0"/>
                        </a:rPr>
                        <a:t>1%</a:t>
                      </a:r>
                      <a:r>
                        <a:rPr sz="800" spc="-7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c</a:t>
                      </a:r>
                      <a:r>
                        <a:rPr sz="800" spc="5" dirty="0">
                          <a:solidFill>
                            <a:srgbClr val="231F20"/>
                          </a:solidFill>
                          <a:latin typeface="Neue Frutiger World" panose="020B0603040304020203" pitchFamily="34" charset="0"/>
                          <a:cs typeface="Neue Frutiger World" panose="020B0603040304020203" pitchFamily="34" charset="0"/>
                        </a:rPr>
                        <a:t>a</a:t>
                      </a:r>
                      <a:r>
                        <a:rPr sz="800" dirty="0">
                          <a:solidFill>
                            <a:srgbClr val="231F20"/>
                          </a:solidFill>
                          <a:latin typeface="Neue Frutiger World" panose="020B0603040304020203" pitchFamily="34" charset="0"/>
                          <a:cs typeface="Neue Frutiger World" panose="020B0603040304020203" pitchFamily="34" charset="0"/>
                        </a:rPr>
                        <a:t>se</a:t>
                      </a:r>
                      <a:r>
                        <a:rPr sz="800" spc="-7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ppo</a:t>
                      </a:r>
                      <a:r>
                        <a:rPr sz="800" spc="10" dirty="0">
                          <a:solidFill>
                            <a:srgbClr val="231F20"/>
                          </a:solidFill>
                          <a:latin typeface="Neue Frutiger World" panose="020B0603040304020203" pitchFamily="34" charset="0"/>
                          <a:cs typeface="Neue Frutiger World" panose="020B0603040304020203" pitchFamily="34" charset="0"/>
                        </a:rPr>
                        <a:t>r</a:t>
                      </a:r>
                      <a:r>
                        <a:rPr sz="800" dirty="0">
                          <a:solidFill>
                            <a:srgbClr val="231F20"/>
                          </a:solidFill>
                          <a:latin typeface="Neue Frutiger World" panose="020B0603040304020203" pitchFamily="34" charset="0"/>
                          <a:cs typeface="Neue Frutiger World" panose="020B0603040304020203" pitchFamily="34" charset="0"/>
                        </a:rPr>
                        <a:t>tunity</a:t>
                      </a:r>
                      <a:endParaRPr sz="800" dirty="0">
                        <a:latin typeface="Neue Frutiger World" panose="020B0603040304020203" pitchFamily="34" charset="0"/>
                        <a:cs typeface="Neue Frutiger World" panose="020B0603040304020203" pitchFamily="34" charset="0"/>
                      </a:endParaRPr>
                    </a:p>
                  </a:txBody>
                  <a:tcPr marL="0" marR="0" marT="88900" marB="0">
                    <a:lnB w="9525">
                      <a:solidFill>
                        <a:srgbClr val="989AA5"/>
                      </a:solidFill>
                      <a:prstDash val="solid"/>
                    </a:lnB>
                    <a:solidFill>
                      <a:srgbClr val="D9DAE4"/>
                    </a:solidFill>
                  </a:tcPr>
                </a:tc>
                <a:extLst>
                  <a:ext uri="{0D108BD9-81ED-4DB2-BD59-A6C34878D82A}">
                    <a16:rowId xmlns:a16="http://schemas.microsoft.com/office/drawing/2014/main" val="10000"/>
                  </a:ext>
                </a:extLst>
              </a:tr>
              <a:tr h="258445">
                <a:tc>
                  <a:txBody>
                    <a:bodyPr/>
                    <a:lstStyle/>
                    <a:p>
                      <a:pPr marL="57150" algn="l">
                        <a:lnSpc>
                          <a:spcPct val="100000"/>
                        </a:lnSpc>
                        <a:spcBef>
                          <a:spcPts val="520"/>
                        </a:spcBef>
                      </a:pPr>
                      <a:r>
                        <a:rPr lang="en-GB" sz="800" spc="-10" dirty="0">
                          <a:solidFill>
                            <a:schemeClr val="tx1"/>
                          </a:solidFill>
                          <a:latin typeface="Neue Frutiger World" panose="020B0603040304020203" pitchFamily="34" charset="0"/>
                          <a:cs typeface="Neue Frutiger World" panose="020B0603040304020203" pitchFamily="34" charset="0"/>
                        </a:rPr>
                        <a:t>Extractor</a:t>
                      </a:r>
                      <a:endParaRPr sz="800" dirty="0">
                        <a:solidFill>
                          <a:schemeClr val="tx1"/>
                        </a:solidFill>
                        <a:latin typeface="Neue Frutiger World" panose="020B0603040304020203" pitchFamily="34" charset="0"/>
                        <a:cs typeface="Neue Frutiger World" panose="020B0603040304020203" pitchFamily="34" charset="0"/>
                      </a:endParaRPr>
                    </a:p>
                  </a:txBody>
                  <a:tcPr marL="0" marR="0" marT="66040" marB="0">
                    <a:lnT w="9525">
                      <a:solidFill>
                        <a:srgbClr val="989AA5"/>
                      </a:solidFill>
                      <a:prstDash val="solid"/>
                    </a:lnT>
                    <a:lnB w="3175">
                      <a:solidFill>
                        <a:srgbClr val="00A9EB"/>
                      </a:solidFill>
                      <a:prstDash val="solid"/>
                    </a:lnB>
                  </a:tcPr>
                </a:tc>
                <a:tc>
                  <a:txBody>
                    <a:bodyPr/>
                    <a:lstStyle/>
                    <a:p>
                      <a:pPr marL="182563" indent="0" algn="l">
                        <a:lnSpc>
                          <a:spcPct val="100000"/>
                        </a:lnSpc>
                        <a:spcBef>
                          <a:spcPts val="520"/>
                        </a:spcBef>
                      </a:pPr>
                      <a:r>
                        <a:rPr sz="800" dirty="0">
                          <a:solidFill>
                            <a:schemeClr val="tx1"/>
                          </a:solidFill>
                          <a:latin typeface="Neue Frutiger World" panose="020B0603040304020203" pitchFamily="34" charset="0"/>
                          <a:cs typeface="Neue Frutiger World" panose="020B0603040304020203" pitchFamily="34" charset="0"/>
                        </a:rPr>
                        <a:t>1500</a:t>
                      </a:r>
                    </a:p>
                  </a:txBody>
                  <a:tcPr marL="0" marR="0" marT="66040" marB="0">
                    <a:lnT w="9525">
                      <a:solidFill>
                        <a:srgbClr val="989AA5"/>
                      </a:solidFill>
                      <a:prstDash val="solid"/>
                    </a:lnT>
                    <a:lnB w="3175">
                      <a:solidFill>
                        <a:srgbClr val="00A9EB"/>
                      </a:solidFill>
                      <a:prstDash val="solid"/>
                    </a:lnB>
                  </a:tcPr>
                </a:tc>
                <a:tc>
                  <a:txBody>
                    <a:bodyPr/>
                    <a:lstStyle/>
                    <a:p>
                      <a:pPr marL="262890" algn="l">
                        <a:lnSpc>
                          <a:spcPct val="100000"/>
                        </a:lnSpc>
                        <a:spcBef>
                          <a:spcPts val="520"/>
                        </a:spcBef>
                      </a:pPr>
                      <a:r>
                        <a:rPr sz="800" dirty="0">
                          <a:solidFill>
                            <a:schemeClr val="tx1"/>
                          </a:solidFill>
                          <a:latin typeface="Neue Frutiger World" panose="020B0603040304020203" pitchFamily="34" charset="0"/>
                          <a:cs typeface="Neue Frutiger World" panose="020B0603040304020203" pitchFamily="34" charset="0"/>
                        </a:rPr>
                        <a:t>15</a:t>
                      </a:r>
                    </a:p>
                  </a:txBody>
                  <a:tcPr marL="0" marR="0" marT="66040" marB="0">
                    <a:lnT w="9525">
                      <a:solidFill>
                        <a:srgbClr val="989AA5"/>
                      </a:solidFill>
                      <a:prstDash val="solid"/>
                    </a:lnT>
                    <a:lnB w="3175">
                      <a:solidFill>
                        <a:srgbClr val="00A9EB"/>
                      </a:solidFill>
                      <a:prstDash val="solid"/>
                    </a:lnB>
                  </a:tcPr>
                </a:tc>
                <a:extLst>
                  <a:ext uri="{0D108BD9-81ED-4DB2-BD59-A6C34878D82A}">
                    <a16:rowId xmlns:a16="http://schemas.microsoft.com/office/drawing/2014/main" val="10001"/>
                  </a:ext>
                </a:extLst>
              </a:tr>
              <a:tr h="259079">
                <a:tc>
                  <a:txBody>
                    <a:bodyPr/>
                    <a:lstStyle/>
                    <a:p>
                      <a:pPr marL="57150" algn="l">
                        <a:lnSpc>
                          <a:spcPct val="100000"/>
                        </a:lnSpc>
                        <a:spcBef>
                          <a:spcPts val="520"/>
                        </a:spcBef>
                      </a:pPr>
                      <a:r>
                        <a:rPr lang="en-GB" sz="800" spc="-10" dirty="0">
                          <a:solidFill>
                            <a:srgbClr val="231F20"/>
                          </a:solidFill>
                          <a:latin typeface="Neue Frutiger World" panose="020B0603040304020203" pitchFamily="34" charset="0"/>
                          <a:cs typeface="Neue Frutiger World" panose="020B0603040304020203" pitchFamily="34" charset="0"/>
                        </a:rPr>
                        <a:t>Extractor </a:t>
                      </a:r>
                      <a:r>
                        <a:rPr sz="800" spc="-10" dirty="0">
                          <a:solidFill>
                            <a:srgbClr val="231F20"/>
                          </a:solidFill>
                          <a:latin typeface="Neue Frutiger World" panose="020B0603040304020203" pitchFamily="34" charset="0"/>
                          <a:cs typeface="Neue Frutiger World" panose="020B0603040304020203" pitchFamily="34" charset="0"/>
                        </a:rPr>
                        <a:t>Hospital</a:t>
                      </a:r>
                      <a:endParaRPr sz="800" dirty="0">
                        <a:latin typeface="Neue Frutiger World" panose="020B0603040304020203" pitchFamily="34" charset="0"/>
                        <a:cs typeface="Neue Frutiger World" panose="020B0603040304020203" pitchFamily="34" charset="0"/>
                      </a:endParaRPr>
                    </a:p>
                  </a:txBody>
                  <a:tcPr marL="0" marR="0" marT="66040" marB="0">
                    <a:lnT w="3175">
                      <a:solidFill>
                        <a:srgbClr val="00A9EB"/>
                      </a:solidFill>
                      <a:prstDash val="solid"/>
                    </a:lnT>
                    <a:lnB w="3175">
                      <a:solidFill>
                        <a:srgbClr val="00A9EB"/>
                      </a:solidFill>
                      <a:prstDash val="solid"/>
                    </a:lnB>
                  </a:tcPr>
                </a:tc>
                <a:tc>
                  <a:txBody>
                    <a:bodyPr/>
                    <a:lstStyle/>
                    <a:p>
                      <a:pPr marL="182563" indent="0" algn="l">
                        <a:lnSpc>
                          <a:spcPct val="100000"/>
                        </a:lnSpc>
                        <a:spcBef>
                          <a:spcPts val="520"/>
                        </a:spcBef>
                      </a:pPr>
                      <a:r>
                        <a:rPr sz="800" spc="5" dirty="0">
                          <a:solidFill>
                            <a:srgbClr val="231F20"/>
                          </a:solidFill>
                          <a:latin typeface="Neue Frutiger World" panose="020B0603040304020203" pitchFamily="34" charset="0"/>
                          <a:cs typeface="Neue Frutiger World" panose="020B0603040304020203" pitchFamily="34" charset="0"/>
                        </a:rPr>
                        <a:t>3000</a:t>
                      </a:r>
                      <a:endParaRPr sz="800" dirty="0">
                        <a:latin typeface="Neue Frutiger World" panose="020B0603040304020203" pitchFamily="34" charset="0"/>
                        <a:cs typeface="Neue Frutiger World" panose="020B0603040304020203" pitchFamily="34" charset="0"/>
                      </a:endParaRPr>
                    </a:p>
                  </a:txBody>
                  <a:tcPr marL="0" marR="0" marT="66040" marB="0">
                    <a:lnT w="3175">
                      <a:solidFill>
                        <a:srgbClr val="00A9EB"/>
                      </a:solidFill>
                      <a:prstDash val="solid"/>
                    </a:lnT>
                    <a:lnB w="3175">
                      <a:solidFill>
                        <a:srgbClr val="00A9EB"/>
                      </a:solidFill>
                      <a:prstDash val="solid"/>
                    </a:lnB>
                  </a:tcPr>
                </a:tc>
                <a:tc>
                  <a:txBody>
                    <a:bodyPr/>
                    <a:lstStyle/>
                    <a:p>
                      <a:pPr marL="262890" algn="l">
                        <a:lnSpc>
                          <a:spcPct val="100000"/>
                        </a:lnSpc>
                        <a:spcBef>
                          <a:spcPts val="520"/>
                        </a:spcBef>
                      </a:pPr>
                      <a:r>
                        <a:rPr sz="800" spc="5" dirty="0">
                          <a:solidFill>
                            <a:srgbClr val="231F20"/>
                          </a:solidFill>
                          <a:latin typeface="Neue Frutiger World" panose="020B0603040304020203" pitchFamily="34" charset="0"/>
                          <a:cs typeface="Neue Frutiger World" panose="020B0603040304020203" pitchFamily="34" charset="0"/>
                        </a:rPr>
                        <a:t>30</a:t>
                      </a:r>
                      <a:endParaRPr sz="800" dirty="0">
                        <a:latin typeface="Neue Frutiger World" panose="020B0603040304020203" pitchFamily="34" charset="0"/>
                        <a:cs typeface="Neue Frutiger World" panose="020B0603040304020203" pitchFamily="34" charset="0"/>
                      </a:endParaRPr>
                    </a:p>
                  </a:txBody>
                  <a:tcPr marL="0" marR="0" marT="66040" marB="0">
                    <a:lnT w="3175">
                      <a:solidFill>
                        <a:srgbClr val="00A9EB"/>
                      </a:solidFill>
                      <a:prstDash val="solid"/>
                    </a:lnT>
                    <a:lnB w="3175">
                      <a:solidFill>
                        <a:srgbClr val="00A9EB"/>
                      </a:solidFill>
                      <a:prstDash val="solid"/>
                    </a:lnB>
                  </a:tcPr>
                </a:tc>
                <a:extLst>
                  <a:ext uri="{0D108BD9-81ED-4DB2-BD59-A6C34878D82A}">
                    <a16:rowId xmlns:a16="http://schemas.microsoft.com/office/drawing/2014/main" val="10002"/>
                  </a:ext>
                </a:extLst>
              </a:tr>
              <a:tr h="258445">
                <a:tc>
                  <a:txBody>
                    <a:bodyPr/>
                    <a:lstStyle/>
                    <a:p>
                      <a:pPr marL="57150" algn="l">
                        <a:lnSpc>
                          <a:spcPct val="100000"/>
                        </a:lnSpc>
                        <a:spcBef>
                          <a:spcPts val="520"/>
                        </a:spcBef>
                      </a:pPr>
                      <a:r>
                        <a:rPr lang="en-GB" sz="800" spc="-5" dirty="0">
                          <a:solidFill>
                            <a:srgbClr val="231F20"/>
                          </a:solidFill>
                          <a:latin typeface="Neue Frutiger World" panose="020B0603040304020203" pitchFamily="34" charset="0"/>
                          <a:cs typeface="Neue Frutiger World" panose="020B0603040304020203" pitchFamily="34" charset="0"/>
                        </a:rPr>
                        <a:t>Referring Hospitals</a:t>
                      </a:r>
                      <a:endParaRPr sz="800" dirty="0">
                        <a:latin typeface="Neue Frutiger World" panose="020B0603040304020203" pitchFamily="34" charset="0"/>
                        <a:cs typeface="Neue Frutiger World" panose="020B0603040304020203" pitchFamily="34" charset="0"/>
                      </a:endParaRPr>
                    </a:p>
                  </a:txBody>
                  <a:tcPr marL="0" marR="0" marT="66040" marB="0">
                    <a:lnT w="3175">
                      <a:solidFill>
                        <a:srgbClr val="00A9EB"/>
                      </a:solidFill>
                      <a:prstDash val="solid"/>
                    </a:lnT>
                    <a:lnB w="3175">
                      <a:solidFill>
                        <a:srgbClr val="00A9EB"/>
                      </a:solidFill>
                      <a:prstDash val="solid"/>
                    </a:lnB>
                  </a:tcPr>
                </a:tc>
                <a:tc>
                  <a:txBody>
                    <a:bodyPr/>
                    <a:lstStyle/>
                    <a:p>
                      <a:pPr marL="182563" indent="0" algn="l">
                        <a:lnSpc>
                          <a:spcPct val="100000"/>
                        </a:lnSpc>
                        <a:spcBef>
                          <a:spcPts val="520"/>
                        </a:spcBef>
                      </a:pPr>
                      <a:r>
                        <a:rPr sz="800" spc="5" dirty="0">
                          <a:solidFill>
                            <a:srgbClr val="231F20"/>
                          </a:solidFill>
                          <a:latin typeface="Neue Frutiger World" panose="020B0603040304020203" pitchFamily="34" charset="0"/>
                          <a:cs typeface="Neue Frutiger World" panose="020B0603040304020203" pitchFamily="34" charset="0"/>
                        </a:rPr>
                        <a:t>5000</a:t>
                      </a:r>
                      <a:endParaRPr sz="800" dirty="0">
                        <a:latin typeface="Neue Frutiger World" panose="020B0603040304020203" pitchFamily="34" charset="0"/>
                        <a:cs typeface="Neue Frutiger World" panose="020B0603040304020203" pitchFamily="34" charset="0"/>
                      </a:endParaRPr>
                    </a:p>
                  </a:txBody>
                  <a:tcPr marL="0" marR="0" marT="66040" marB="0">
                    <a:lnT w="3175">
                      <a:solidFill>
                        <a:srgbClr val="00A9EB"/>
                      </a:solidFill>
                      <a:prstDash val="solid"/>
                    </a:lnT>
                    <a:lnB w="3175">
                      <a:solidFill>
                        <a:srgbClr val="00A9EB"/>
                      </a:solidFill>
                      <a:prstDash val="solid"/>
                    </a:lnB>
                  </a:tcPr>
                </a:tc>
                <a:tc>
                  <a:txBody>
                    <a:bodyPr/>
                    <a:lstStyle/>
                    <a:p>
                      <a:pPr marL="262890" algn="l">
                        <a:lnSpc>
                          <a:spcPct val="100000"/>
                        </a:lnSpc>
                        <a:spcBef>
                          <a:spcPts val="520"/>
                        </a:spcBef>
                      </a:pPr>
                      <a:r>
                        <a:rPr sz="800" dirty="0">
                          <a:solidFill>
                            <a:srgbClr val="231F20"/>
                          </a:solidFill>
                          <a:latin typeface="Neue Frutiger World" panose="020B0603040304020203" pitchFamily="34" charset="0"/>
                          <a:cs typeface="Neue Frutiger World" panose="020B0603040304020203" pitchFamily="34" charset="0"/>
                        </a:rPr>
                        <a:t>50</a:t>
                      </a:r>
                      <a:endParaRPr sz="800" dirty="0">
                        <a:latin typeface="Neue Frutiger World" panose="020B0603040304020203" pitchFamily="34" charset="0"/>
                        <a:cs typeface="Neue Frutiger World" panose="020B0603040304020203" pitchFamily="34" charset="0"/>
                      </a:endParaRPr>
                    </a:p>
                  </a:txBody>
                  <a:tcPr marL="0" marR="0" marT="66040" marB="0">
                    <a:lnT w="3175">
                      <a:solidFill>
                        <a:srgbClr val="00A9EB"/>
                      </a:solidFill>
                      <a:prstDash val="solid"/>
                    </a:lnT>
                    <a:lnB w="3175">
                      <a:solidFill>
                        <a:srgbClr val="00A9EB"/>
                      </a:solidFill>
                      <a:prstDash val="solid"/>
                    </a:lnB>
                  </a:tcPr>
                </a:tc>
                <a:extLst>
                  <a:ext uri="{0D108BD9-81ED-4DB2-BD59-A6C34878D82A}">
                    <a16:rowId xmlns:a16="http://schemas.microsoft.com/office/drawing/2014/main" val="10003"/>
                  </a:ext>
                </a:extLst>
              </a:tr>
              <a:tr h="259079">
                <a:tc>
                  <a:txBody>
                    <a:bodyPr/>
                    <a:lstStyle/>
                    <a:p>
                      <a:pPr marL="57150" algn="l">
                        <a:lnSpc>
                          <a:spcPct val="100000"/>
                        </a:lnSpc>
                        <a:spcBef>
                          <a:spcPts val="520"/>
                        </a:spcBef>
                      </a:pPr>
                      <a:r>
                        <a:rPr sz="800" b="1" spc="-20" dirty="0">
                          <a:solidFill>
                            <a:srgbClr val="00A9EB"/>
                          </a:solidFill>
                          <a:latin typeface="Neue Frutiger World" panose="020B0603040304020203" pitchFamily="34" charset="0"/>
                          <a:cs typeface="Neue Frutiger World" panose="020B0603040304020203" pitchFamily="34" charset="0"/>
                        </a:rPr>
                        <a:t>Total</a:t>
                      </a:r>
                      <a:r>
                        <a:rPr sz="800" b="1" spc="-25" dirty="0">
                          <a:solidFill>
                            <a:srgbClr val="00A9EB"/>
                          </a:solidFill>
                          <a:latin typeface="Neue Frutiger World" panose="020B0603040304020203" pitchFamily="34" charset="0"/>
                          <a:cs typeface="Neue Frutiger World" panose="020B0603040304020203" pitchFamily="34" charset="0"/>
                        </a:rPr>
                        <a:t> </a:t>
                      </a:r>
                      <a:r>
                        <a:rPr sz="800" b="1" dirty="0">
                          <a:solidFill>
                            <a:srgbClr val="00A9EB"/>
                          </a:solidFill>
                          <a:latin typeface="Neue Frutiger World" panose="020B0603040304020203" pitchFamily="34" charset="0"/>
                          <a:cs typeface="Neue Frutiger World" panose="020B0603040304020203" pitchFamily="34" charset="0"/>
                        </a:rPr>
                        <a:t>opportunity</a:t>
                      </a:r>
                      <a:endParaRPr sz="800" dirty="0">
                        <a:latin typeface="Neue Frutiger World" panose="020B0603040304020203" pitchFamily="34" charset="0"/>
                        <a:cs typeface="Neue Frutiger World" panose="020B0603040304020203" pitchFamily="34" charset="0"/>
                      </a:endParaRPr>
                    </a:p>
                  </a:txBody>
                  <a:tcPr marL="0" marR="0" marT="66040" marB="0">
                    <a:lnT w="3175">
                      <a:solidFill>
                        <a:srgbClr val="00A9EB"/>
                      </a:solidFill>
                      <a:prstDash val="solid"/>
                    </a:lnT>
                    <a:lnB w="3175">
                      <a:solidFill>
                        <a:srgbClr val="00A9EB"/>
                      </a:solidFill>
                      <a:prstDash val="solid"/>
                    </a:lnB>
                  </a:tcPr>
                </a:tc>
                <a:tc>
                  <a:txBody>
                    <a:bodyPr/>
                    <a:lstStyle/>
                    <a:p>
                      <a:pPr algn="l">
                        <a:lnSpc>
                          <a:spcPct val="100000"/>
                        </a:lnSpc>
                      </a:pPr>
                      <a:endParaRPr sz="800" dirty="0">
                        <a:latin typeface="Neue Frutiger World" panose="020B0603040304020203" pitchFamily="34" charset="0"/>
                        <a:cs typeface="Neue Frutiger World" panose="020B0603040304020203" pitchFamily="34" charset="0"/>
                      </a:endParaRPr>
                    </a:p>
                  </a:txBody>
                  <a:tcPr marL="0" marR="0" marT="0" marB="0">
                    <a:lnT w="3175">
                      <a:solidFill>
                        <a:srgbClr val="00A9EB"/>
                      </a:solidFill>
                      <a:prstDash val="solid"/>
                    </a:lnT>
                    <a:lnB w="3175">
                      <a:solidFill>
                        <a:srgbClr val="00A9EB"/>
                      </a:solidFill>
                      <a:prstDash val="solid"/>
                    </a:lnB>
                  </a:tcPr>
                </a:tc>
                <a:tc>
                  <a:txBody>
                    <a:bodyPr/>
                    <a:lstStyle/>
                    <a:p>
                      <a:pPr marL="262890" algn="l">
                        <a:lnSpc>
                          <a:spcPct val="100000"/>
                        </a:lnSpc>
                        <a:spcBef>
                          <a:spcPts val="520"/>
                        </a:spcBef>
                      </a:pPr>
                      <a:r>
                        <a:rPr sz="800" b="1" spc="15" dirty="0">
                          <a:solidFill>
                            <a:srgbClr val="00A9EB"/>
                          </a:solidFill>
                          <a:latin typeface="Neue Frutiger World" panose="020B0603040304020203" pitchFamily="34" charset="0"/>
                          <a:cs typeface="Neue Frutiger World" panose="020B0603040304020203" pitchFamily="34" charset="0"/>
                        </a:rPr>
                        <a:t>95</a:t>
                      </a:r>
                      <a:endParaRPr sz="800" dirty="0">
                        <a:latin typeface="Neue Frutiger World" panose="020B0603040304020203" pitchFamily="34" charset="0"/>
                        <a:cs typeface="Neue Frutiger World" panose="020B0603040304020203" pitchFamily="34" charset="0"/>
                      </a:endParaRPr>
                    </a:p>
                  </a:txBody>
                  <a:tcPr marL="0" marR="0" marT="66040" marB="0">
                    <a:lnT w="3175">
                      <a:solidFill>
                        <a:srgbClr val="00A9EB"/>
                      </a:solidFill>
                      <a:prstDash val="solid"/>
                    </a:lnT>
                    <a:lnB w="3175">
                      <a:solidFill>
                        <a:srgbClr val="00A9EB"/>
                      </a:solidFill>
                      <a:prstDash val="solid"/>
                    </a:lnB>
                  </a:tcPr>
                </a:tc>
                <a:extLst>
                  <a:ext uri="{0D108BD9-81ED-4DB2-BD59-A6C34878D82A}">
                    <a16:rowId xmlns:a16="http://schemas.microsoft.com/office/drawing/2014/main" val="10004"/>
                  </a:ext>
                </a:extLst>
              </a:tr>
            </a:tbl>
          </a:graphicData>
        </a:graphic>
      </p:graphicFrame>
      <p:graphicFrame>
        <p:nvGraphicFramePr>
          <p:cNvPr id="7" name="object 6">
            <a:extLst>
              <a:ext uri="{FF2B5EF4-FFF2-40B4-BE49-F238E27FC236}">
                <a16:creationId xmlns:a16="http://schemas.microsoft.com/office/drawing/2014/main" id="{52E97E4A-8895-441F-BE91-AA3DED8CB5C7}"/>
              </a:ext>
            </a:extLst>
          </p:cNvPr>
          <p:cNvGraphicFramePr>
            <a:graphicFrameLocks noGrp="1"/>
          </p:cNvGraphicFramePr>
          <p:nvPr>
            <p:extLst>
              <p:ext uri="{D42A27DB-BD31-4B8C-83A1-F6EECF244321}">
                <p14:modId xmlns:p14="http://schemas.microsoft.com/office/powerpoint/2010/main" val="4156737175"/>
              </p:ext>
            </p:extLst>
          </p:nvPr>
        </p:nvGraphicFramePr>
        <p:xfrm>
          <a:off x="1547664" y="2390210"/>
          <a:ext cx="7121231" cy="2344214"/>
        </p:xfrm>
        <a:graphic>
          <a:graphicData uri="http://schemas.openxmlformats.org/drawingml/2006/table">
            <a:tbl>
              <a:tblPr firstRow="1" bandRow="1">
                <a:tableStyleId>{2D5ABB26-0587-4C30-8999-92F81FD0307C}</a:tableStyleId>
              </a:tblPr>
              <a:tblGrid>
                <a:gridCol w="1042970">
                  <a:extLst>
                    <a:ext uri="{9D8B030D-6E8A-4147-A177-3AD203B41FA5}">
                      <a16:colId xmlns:a16="http://schemas.microsoft.com/office/drawing/2014/main" val="20000"/>
                    </a:ext>
                  </a:extLst>
                </a:gridCol>
                <a:gridCol w="6078261">
                  <a:extLst>
                    <a:ext uri="{9D8B030D-6E8A-4147-A177-3AD203B41FA5}">
                      <a16:colId xmlns:a16="http://schemas.microsoft.com/office/drawing/2014/main" val="20001"/>
                    </a:ext>
                  </a:extLst>
                </a:gridCol>
              </a:tblGrid>
              <a:tr h="263333">
                <a:tc>
                  <a:txBody>
                    <a:bodyPr/>
                    <a:lstStyle/>
                    <a:p>
                      <a:pPr marL="57150">
                        <a:lnSpc>
                          <a:spcPct val="100000"/>
                        </a:lnSpc>
                        <a:spcBef>
                          <a:spcPts val="465"/>
                        </a:spcBef>
                      </a:pPr>
                      <a:r>
                        <a:rPr sz="800" dirty="0">
                          <a:solidFill>
                            <a:srgbClr val="231F20"/>
                          </a:solidFill>
                          <a:latin typeface="Neue Frutiger World" panose="020B0603040304020203" pitchFamily="34" charset="0"/>
                          <a:cs typeface="Neue Frutiger World" panose="020B0603040304020203" pitchFamily="34" charset="0"/>
                        </a:rPr>
                        <a:t>Whe</a:t>
                      </a:r>
                      <a:r>
                        <a:rPr sz="800" spc="-5" dirty="0">
                          <a:solidFill>
                            <a:srgbClr val="231F20"/>
                          </a:solidFill>
                          <a:latin typeface="Neue Frutiger World" panose="020B0603040304020203" pitchFamily="34" charset="0"/>
                          <a:cs typeface="Neue Frutiger World" panose="020B0603040304020203" pitchFamily="34" charset="0"/>
                        </a:rPr>
                        <a:t>r</a:t>
                      </a:r>
                      <a:r>
                        <a:rPr sz="800" dirty="0">
                          <a:solidFill>
                            <a:srgbClr val="231F20"/>
                          </a:solidFill>
                          <a:latin typeface="Neue Frutiger World" panose="020B0603040304020203" pitchFamily="34" charset="0"/>
                          <a:cs typeface="Neue Frutiger World" panose="020B0603040304020203" pitchFamily="34" charset="0"/>
                        </a:rPr>
                        <a:t>e</a:t>
                      </a:r>
                      <a:r>
                        <a:rPr sz="800" spc="-7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t</a:t>
                      </a:r>
                      <a:r>
                        <a:rPr sz="800" dirty="0">
                          <a:solidFill>
                            <a:srgbClr val="231F20"/>
                          </a:solidFill>
                          <a:latin typeface="Neue Frutiger World" panose="020B0603040304020203" pitchFamily="34" charset="0"/>
                          <a:cs typeface="Neue Frutiger World" panose="020B0603040304020203" pitchFamily="34" charset="0"/>
                        </a:rPr>
                        <a:t>o</a:t>
                      </a:r>
                      <a:r>
                        <a:rPr sz="800" spc="-70"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s</a:t>
                      </a:r>
                      <a:r>
                        <a:rPr sz="800" spc="-5" dirty="0">
                          <a:solidFill>
                            <a:srgbClr val="231F20"/>
                          </a:solidFill>
                          <a:latin typeface="Neue Frutiger World" panose="020B0603040304020203" pitchFamily="34" charset="0"/>
                          <a:cs typeface="Neue Frutiger World" panose="020B0603040304020203" pitchFamily="34" charset="0"/>
                        </a:rPr>
                        <a:t>t</a:t>
                      </a:r>
                      <a:r>
                        <a:rPr sz="800" dirty="0">
                          <a:solidFill>
                            <a:srgbClr val="231F20"/>
                          </a:solidFill>
                          <a:latin typeface="Neue Frutiger World" panose="020B0603040304020203" pitchFamily="34" charset="0"/>
                          <a:cs typeface="Neue Frutiger World" panose="020B0603040304020203" pitchFamily="34" charset="0"/>
                        </a:rPr>
                        <a:t>a</a:t>
                      </a:r>
                      <a:r>
                        <a:rPr sz="800" spc="10" dirty="0">
                          <a:solidFill>
                            <a:srgbClr val="231F20"/>
                          </a:solidFill>
                          <a:latin typeface="Neue Frutiger World" panose="020B0603040304020203" pitchFamily="34" charset="0"/>
                          <a:cs typeface="Neue Frutiger World" panose="020B0603040304020203" pitchFamily="34" charset="0"/>
                        </a:rPr>
                        <a:t>r</a:t>
                      </a:r>
                      <a:r>
                        <a:rPr sz="800" dirty="0">
                          <a:solidFill>
                            <a:srgbClr val="231F20"/>
                          </a:solidFill>
                          <a:latin typeface="Neue Frutiger World" panose="020B0603040304020203" pitchFamily="34" charset="0"/>
                          <a:cs typeface="Neue Frutiger World" panose="020B0603040304020203" pitchFamily="34" charset="0"/>
                        </a:rPr>
                        <a:t>t?</a:t>
                      </a:r>
                      <a:endParaRPr sz="800" dirty="0">
                        <a:latin typeface="Neue Frutiger World" panose="020B0603040304020203" pitchFamily="34" charset="0"/>
                        <a:cs typeface="Neue Frutiger World" panose="020B0603040304020203" pitchFamily="34" charset="0"/>
                      </a:endParaRPr>
                    </a:p>
                  </a:txBody>
                  <a:tcPr marL="0" marR="0" marT="59055" marB="0">
                    <a:lnB w="9525">
                      <a:solidFill>
                        <a:srgbClr val="989AA5"/>
                      </a:solidFill>
                      <a:prstDash val="solid"/>
                    </a:lnB>
                    <a:solidFill>
                      <a:srgbClr val="D9DAE4"/>
                    </a:solidFill>
                  </a:tcPr>
                </a:tc>
                <a:tc>
                  <a:txBody>
                    <a:bodyPr/>
                    <a:lstStyle/>
                    <a:p>
                      <a:pPr>
                        <a:lnSpc>
                          <a:spcPct val="100000"/>
                        </a:lnSpc>
                      </a:pPr>
                      <a:endParaRPr sz="700" dirty="0">
                        <a:latin typeface="Neue Frutiger World" panose="020B0603040304020203" pitchFamily="34" charset="0"/>
                        <a:cs typeface="Neue Frutiger World" panose="020B0603040304020203" pitchFamily="34" charset="0"/>
                      </a:endParaRPr>
                    </a:p>
                  </a:txBody>
                  <a:tcPr marL="0" marR="0" marT="0" marB="0">
                    <a:lnB w="9525">
                      <a:solidFill>
                        <a:srgbClr val="989AA5"/>
                      </a:solidFill>
                      <a:prstDash val="solid"/>
                    </a:lnB>
                    <a:solidFill>
                      <a:srgbClr val="D9DAE4"/>
                    </a:solidFill>
                  </a:tcPr>
                </a:tc>
                <a:extLst>
                  <a:ext uri="{0D108BD9-81ED-4DB2-BD59-A6C34878D82A}">
                    <a16:rowId xmlns:a16="http://schemas.microsoft.com/office/drawing/2014/main" val="10000"/>
                  </a:ext>
                </a:extLst>
              </a:tr>
              <a:tr h="600346">
                <a:tc>
                  <a:txBody>
                    <a:bodyPr/>
                    <a:lstStyle/>
                    <a:p>
                      <a:pPr marL="57150">
                        <a:lnSpc>
                          <a:spcPct val="100000"/>
                        </a:lnSpc>
                        <a:spcBef>
                          <a:spcPts val="700"/>
                        </a:spcBef>
                      </a:pPr>
                      <a:r>
                        <a:rPr lang="en-GB" sz="800" b="1" spc="-5" dirty="0">
                          <a:solidFill>
                            <a:srgbClr val="231F20"/>
                          </a:solidFill>
                          <a:latin typeface="Neue Frutiger World" panose="020B0603040304020203" pitchFamily="34" charset="0"/>
                          <a:cs typeface="Neue Frutiger World" panose="020B0603040304020203" pitchFamily="34" charset="0"/>
                        </a:rPr>
                        <a:t>Extracting Department</a:t>
                      </a:r>
                      <a:endParaRPr sz="800" dirty="0">
                        <a:latin typeface="Neue Frutiger World" panose="020B0603040304020203" pitchFamily="34" charset="0"/>
                        <a:cs typeface="Neue Frutiger World" panose="020B0603040304020203" pitchFamily="34" charset="0"/>
                      </a:endParaRPr>
                    </a:p>
                  </a:txBody>
                  <a:tcPr marL="0" marR="0" marT="88900" marB="0">
                    <a:lnT w="9525">
                      <a:solidFill>
                        <a:srgbClr val="989AA5"/>
                      </a:solidFill>
                      <a:prstDash val="solid"/>
                    </a:lnT>
                    <a:lnB w="3175">
                      <a:solidFill>
                        <a:srgbClr val="00A9EB"/>
                      </a:solidFill>
                      <a:prstDash val="solid"/>
                    </a:lnB>
                  </a:tcPr>
                </a:tc>
                <a:tc>
                  <a:txBody>
                    <a:bodyPr/>
                    <a:lstStyle/>
                    <a:p>
                      <a:pPr marL="208279" marR="198120" algn="just">
                        <a:lnSpc>
                          <a:spcPct val="104200"/>
                        </a:lnSpc>
                        <a:spcBef>
                          <a:spcPts val="660"/>
                        </a:spcBef>
                      </a:pPr>
                      <a:r>
                        <a:rPr sz="800" spc="-15" dirty="0">
                          <a:solidFill>
                            <a:schemeClr val="tx1"/>
                          </a:solidFill>
                          <a:latin typeface="Neue Frutiger World" panose="020B0603040304020203" pitchFamily="34" charset="0"/>
                          <a:cs typeface="Neue Frutiger World" panose="020B0603040304020203" pitchFamily="34" charset="0"/>
                        </a:rPr>
                        <a:t>Start</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with</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extractors</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not</a:t>
                      </a:r>
                      <a:r>
                        <a:rPr sz="800" spc="2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capturing</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ll</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infection</a:t>
                      </a:r>
                      <a:r>
                        <a:rPr sz="800" spc="2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patients </a:t>
                      </a:r>
                      <a:r>
                        <a:rPr sz="800" spc="-5" dirty="0">
                          <a:solidFill>
                            <a:schemeClr val="tx1"/>
                          </a:solidFill>
                          <a:latin typeface="Neue Frutiger World" panose="020B0603040304020203" pitchFamily="34" charset="0"/>
                          <a:cs typeface="Neue Frutiger World" panose="020B0603040304020203" pitchFamily="34" charset="0"/>
                        </a:rPr>
                        <a:t>within</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ir</a:t>
                      </a:r>
                      <a:r>
                        <a:rPr sz="800" spc="-5" dirty="0">
                          <a:solidFill>
                            <a:schemeClr val="tx1"/>
                          </a:solidFill>
                          <a:latin typeface="Neue Frutiger World" panose="020B0603040304020203" pitchFamily="34" charset="0"/>
                          <a:cs typeface="Neue Frutiger World" panose="020B0603040304020203" pitchFamily="34" charset="0"/>
                        </a:rPr>
                        <a:t> </a:t>
                      </a:r>
                      <a:r>
                        <a:rPr lang="en-GB" sz="800" spc="-10" dirty="0">
                          <a:solidFill>
                            <a:schemeClr val="tx1"/>
                          </a:solidFill>
                          <a:latin typeface="Neue Frutiger World" panose="020B0603040304020203" pitchFamily="34" charset="0"/>
                          <a:cs typeface="Neue Frutiger World" panose="020B0603040304020203" pitchFamily="34" charset="0"/>
                        </a:rPr>
                        <a:t>centre</a:t>
                      </a:r>
                      <a:r>
                        <a:rPr sz="800" spc="-10" dirty="0">
                          <a:solidFill>
                            <a:schemeClr val="tx1"/>
                          </a:solidFill>
                          <a:latin typeface="Neue Frutiger World" panose="020B0603040304020203" pitchFamily="34" charset="0"/>
                          <a:cs typeface="Neue Frutiger World" panose="020B0603040304020203" pitchFamily="34" charset="0"/>
                        </a:rPr>
                        <a:t>.</a:t>
                      </a:r>
                      <a:r>
                        <a:rPr sz="800" spc="2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nfection</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is</a:t>
                      </a:r>
                      <a:r>
                        <a:rPr sz="800" spc="2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Class</a:t>
                      </a:r>
                      <a:r>
                        <a:rPr sz="800" spc="15"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I</a:t>
                      </a:r>
                      <a:r>
                        <a:rPr sz="800" spc="2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indication</a:t>
                      </a:r>
                      <a:r>
                        <a:rPr sz="800" spc="10" dirty="0">
                          <a:solidFill>
                            <a:schemeClr val="tx1"/>
                          </a:solidFill>
                          <a:latin typeface="Neue Frutiger World" panose="020B0603040304020203" pitchFamily="34" charset="0"/>
                          <a:cs typeface="Neue Frutiger World" panose="020B0603040304020203" pitchFamily="34" charset="0"/>
                        </a:rPr>
                        <a:t> </a:t>
                      </a:r>
                      <a:r>
                        <a:rPr sz="800" spc="-20" dirty="0">
                          <a:solidFill>
                            <a:schemeClr val="tx1"/>
                          </a:solidFill>
                          <a:latin typeface="Neue Frutiger World" panose="020B0603040304020203" pitchFamily="34" charset="0"/>
                          <a:cs typeface="Neue Frutiger World" panose="020B0603040304020203" pitchFamily="34" charset="0"/>
                        </a:rPr>
                        <a:t>to</a:t>
                      </a:r>
                      <a:r>
                        <a:rPr sz="800" spc="15" dirty="0">
                          <a:solidFill>
                            <a:schemeClr val="tx1"/>
                          </a:solidFill>
                          <a:latin typeface="Neue Frutiger World" panose="020B0603040304020203" pitchFamily="34" charset="0"/>
                          <a:cs typeface="Neue Frutiger World" panose="020B0603040304020203" pitchFamily="34" charset="0"/>
                        </a:rPr>
                        <a:t> </a:t>
                      </a:r>
                      <a:r>
                        <a:rPr sz="800" spc="-15" dirty="0">
                          <a:solidFill>
                            <a:schemeClr val="tx1"/>
                          </a:solidFill>
                          <a:latin typeface="Neue Frutiger World" panose="020B0603040304020203" pitchFamily="34" charset="0"/>
                          <a:cs typeface="Neue Frutiger World" panose="020B0603040304020203" pitchFamily="34" charset="0"/>
                        </a:rPr>
                        <a:t>extract</a:t>
                      </a:r>
                      <a:r>
                        <a:rPr lang="sv-SE" sz="800" spc="-15" dirty="0">
                          <a:solidFill>
                            <a:schemeClr val="tx1"/>
                          </a:solidFill>
                          <a:latin typeface="Neue Frutiger World" panose="020B0603040304020203" pitchFamily="34" charset="0"/>
                          <a:cs typeface="Neue Frutiger World" panose="020B0603040304020203" pitchFamily="34" charset="0"/>
                        </a:rPr>
                        <a:t>,</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with</a:t>
                      </a:r>
                      <a:r>
                        <a:rPr sz="800" spc="2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n</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bundance</a:t>
                      </a:r>
                      <a:r>
                        <a:rPr lang="en-GB" sz="800" spc="-5"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of</a:t>
                      </a:r>
                      <a:r>
                        <a:rPr sz="800" spc="-10" dirty="0">
                          <a:solidFill>
                            <a:schemeClr val="tx1"/>
                          </a:solidFill>
                          <a:latin typeface="Neue Frutiger World" panose="020B0603040304020203" pitchFamily="34" charset="0"/>
                          <a:cs typeface="Neue Frutiger World" panose="020B0603040304020203" pitchFamily="34" charset="0"/>
                        </a:rPr>
                        <a:t> data</a:t>
                      </a:r>
                      <a:r>
                        <a:rPr sz="800" spc="5" dirty="0">
                          <a:solidFill>
                            <a:schemeClr val="tx1"/>
                          </a:solidFill>
                          <a:latin typeface="Neue Frutiger World" panose="020B0603040304020203" pitchFamily="34" charset="0"/>
                          <a:cs typeface="Neue Frutiger World" panose="020B0603040304020203" pitchFamily="34" charset="0"/>
                        </a:rPr>
                        <a:t> </a:t>
                      </a:r>
                      <a:r>
                        <a:rPr sz="800" spc="-20" dirty="0">
                          <a:solidFill>
                            <a:schemeClr val="tx1"/>
                          </a:solidFill>
                          <a:latin typeface="Neue Frutiger World" panose="020B0603040304020203" pitchFamily="34" charset="0"/>
                          <a:cs typeface="Neue Frutiger World" panose="020B0603040304020203" pitchFamily="34" charset="0"/>
                        </a:rPr>
                        <a:t>to</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support</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extraction.</a:t>
                      </a:r>
                      <a:r>
                        <a:rPr sz="800" spc="-15" dirty="0">
                          <a:solidFill>
                            <a:schemeClr val="tx1"/>
                          </a:solidFill>
                          <a:latin typeface="Neue Frutiger World" panose="020B0603040304020203" pitchFamily="34" charset="0"/>
                          <a:cs typeface="Neue Frutiger World" panose="020B0603040304020203" pitchFamily="34" charset="0"/>
                        </a:rPr>
                        <a:t> </a:t>
                      </a:r>
                      <a:r>
                        <a:rPr lang="en-GB" sz="800" dirty="0">
                          <a:solidFill>
                            <a:schemeClr val="tx1"/>
                          </a:solidFill>
                          <a:latin typeface="Neue Frutiger World" panose="020B0603040304020203" pitchFamily="34" charset="0"/>
                          <a:cs typeface="Neue Frutiger World" panose="020B0603040304020203" pitchFamily="34" charset="0"/>
                        </a:rPr>
                        <a:t>Make sure your extractor is committed</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before</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starting</a:t>
                      </a:r>
                      <a:r>
                        <a:rPr sz="800" spc="15" dirty="0">
                          <a:solidFill>
                            <a:schemeClr val="tx1"/>
                          </a:solidFill>
                          <a:latin typeface="Neue Frutiger World" panose="020B0603040304020203" pitchFamily="34" charset="0"/>
                          <a:cs typeface="Neue Frutiger World" panose="020B0603040304020203" pitchFamily="34" charset="0"/>
                        </a:rPr>
                        <a:t> </a:t>
                      </a:r>
                      <a:r>
                        <a:rPr sz="800" spc="-15" dirty="0">
                          <a:solidFill>
                            <a:schemeClr val="tx1"/>
                          </a:solidFill>
                          <a:latin typeface="Neue Frutiger World" panose="020B0603040304020203" pitchFamily="34" charset="0"/>
                          <a:cs typeface="Neue Frutiger World" panose="020B0603040304020203" pitchFamily="34" charset="0"/>
                        </a:rPr>
                        <a:t>market</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development</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activities</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n</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lang="sv-SE" sz="800" spc="-10" dirty="0">
                          <a:solidFill>
                            <a:schemeClr val="tx1"/>
                          </a:solidFill>
                          <a:latin typeface="Neue Frutiger World" panose="020B0603040304020203" pitchFamily="34" charset="0"/>
                          <a:cs typeface="Neue Frutiger World" panose="020B0603040304020203" pitchFamily="34" charset="0"/>
                        </a:rPr>
                        <a:t>ir</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hospital</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nd</a:t>
                      </a:r>
                      <a:r>
                        <a:rPr lang="en-GB"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surrounding</a:t>
                      </a:r>
                      <a:r>
                        <a:rPr sz="80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community.</a:t>
                      </a:r>
                      <a:r>
                        <a:rPr sz="700" spc="-7" baseline="30864" dirty="0">
                          <a:solidFill>
                            <a:schemeClr val="tx1"/>
                          </a:solidFill>
                          <a:latin typeface="Neue Frutiger World" panose="020B0603040304020203" pitchFamily="34" charset="0"/>
                          <a:cs typeface="Neue Frutiger World" panose="020B0603040304020203" pitchFamily="34" charset="0"/>
                        </a:rPr>
                        <a:t>17</a:t>
                      </a:r>
                      <a:endParaRPr sz="700" baseline="30864" dirty="0">
                        <a:solidFill>
                          <a:schemeClr val="tx1"/>
                        </a:solidFill>
                        <a:latin typeface="Neue Frutiger World" panose="020B0603040304020203" pitchFamily="34" charset="0"/>
                        <a:cs typeface="Neue Frutiger World" panose="020B0603040304020203" pitchFamily="34" charset="0"/>
                      </a:endParaRPr>
                    </a:p>
                  </a:txBody>
                  <a:tcPr marL="0" marR="0" marT="83820" marB="0">
                    <a:lnT w="9525">
                      <a:solidFill>
                        <a:srgbClr val="989AA5"/>
                      </a:solidFill>
                      <a:prstDash val="solid"/>
                    </a:lnT>
                    <a:lnB w="3175">
                      <a:solidFill>
                        <a:srgbClr val="00A9EB"/>
                      </a:solidFill>
                      <a:prstDash val="solid"/>
                    </a:lnB>
                  </a:tcPr>
                </a:tc>
                <a:extLst>
                  <a:ext uri="{0D108BD9-81ED-4DB2-BD59-A6C34878D82A}">
                    <a16:rowId xmlns:a16="http://schemas.microsoft.com/office/drawing/2014/main" val="10001"/>
                  </a:ext>
                </a:extLst>
              </a:tr>
              <a:tr h="936676">
                <a:tc>
                  <a:txBody>
                    <a:bodyPr/>
                    <a:lstStyle/>
                    <a:p>
                      <a:pPr marL="57150">
                        <a:lnSpc>
                          <a:spcPct val="100000"/>
                        </a:lnSpc>
                        <a:spcBef>
                          <a:spcPts val="700"/>
                        </a:spcBef>
                      </a:pPr>
                      <a:r>
                        <a:rPr lang="en-GB" sz="800" b="1" spc="-10" dirty="0">
                          <a:solidFill>
                            <a:srgbClr val="231F20"/>
                          </a:solidFill>
                          <a:latin typeface="Neue Frutiger World" panose="020B0603040304020203" pitchFamily="34" charset="0"/>
                          <a:cs typeface="Neue Frutiger World" panose="020B0603040304020203" pitchFamily="34" charset="0"/>
                        </a:rPr>
                        <a:t>Extracting Hospital</a:t>
                      </a:r>
                      <a:endParaRPr sz="800" dirty="0">
                        <a:latin typeface="Neue Frutiger World" panose="020B0603040304020203" pitchFamily="34" charset="0"/>
                        <a:cs typeface="Neue Frutiger World" panose="020B0603040304020203" pitchFamily="34" charset="0"/>
                      </a:endParaRPr>
                    </a:p>
                  </a:txBody>
                  <a:tcPr marL="0" marR="0" marT="88900" marB="0">
                    <a:lnT w="3175">
                      <a:solidFill>
                        <a:srgbClr val="00A9EB"/>
                      </a:solidFill>
                      <a:prstDash val="solid"/>
                    </a:lnT>
                    <a:lnB w="3175">
                      <a:solidFill>
                        <a:srgbClr val="00A9EB"/>
                      </a:solidFill>
                      <a:prstDash val="solid"/>
                    </a:lnB>
                  </a:tcPr>
                </a:tc>
                <a:tc>
                  <a:txBody>
                    <a:bodyPr/>
                    <a:lstStyle/>
                    <a:p>
                      <a:pPr marL="208279" marR="445770" algn="just">
                        <a:lnSpc>
                          <a:spcPct val="104200"/>
                        </a:lnSpc>
                        <a:spcBef>
                          <a:spcPts val="660"/>
                        </a:spcBef>
                      </a:pPr>
                      <a:r>
                        <a:rPr sz="800" spc="-5" dirty="0">
                          <a:solidFill>
                            <a:schemeClr val="tx1"/>
                          </a:solidFill>
                          <a:latin typeface="Neue Frutiger World" panose="020B0603040304020203" pitchFamily="34" charset="0"/>
                          <a:cs typeface="Neue Frutiger World" panose="020B0603040304020203" pitchFamily="34" charset="0"/>
                        </a:rPr>
                        <a:t>Once</a:t>
                      </a:r>
                      <a:r>
                        <a:rPr sz="800" spc="-10" dirty="0">
                          <a:solidFill>
                            <a:schemeClr val="tx1"/>
                          </a:solidFill>
                          <a:latin typeface="Neue Frutiger World" panose="020B0603040304020203" pitchFamily="34" charset="0"/>
                          <a:cs typeface="Neue Frutiger World" panose="020B0603040304020203" pitchFamily="34" charset="0"/>
                        </a:rPr>
                        <a:t> </a:t>
                      </a:r>
                      <a:r>
                        <a:rPr lang="en-GB" sz="800" dirty="0">
                          <a:solidFill>
                            <a:schemeClr val="tx1"/>
                          </a:solidFill>
                          <a:latin typeface="Neue Frutiger World" panose="020B0603040304020203" pitchFamily="34" charset="0"/>
                          <a:cs typeface="Neue Frutiger World" panose="020B0603040304020203" pitchFamily="34" charset="0"/>
                        </a:rPr>
                        <a:t>your extractor is committed and</a:t>
                      </a:r>
                      <a:r>
                        <a:rPr sz="800" spc="-10" dirty="0">
                          <a:solidFill>
                            <a:schemeClr val="tx1"/>
                          </a:solidFill>
                          <a:latin typeface="Neue Frutiger World" panose="020B0603040304020203" pitchFamily="34" charset="0"/>
                          <a:cs typeface="Neue Frutiger World" panose="020B0603040304020203" pitchFamily="34" charset="0"/>
                        </a:rPr>
                        <a:t> wants</a:t>
                      </a:r>
                      <a:r>
                        <a:rPr sz="800" spc="10" dirty="0">
                          <a:solidFill>
                            <a:schemeClr val="tx1"/>
                          </a:solidFill>
                          <a:latin typeface="Neue Frutiger World" panose="020B0603040304020203" pitchFamily="34" charset="0"/>
                          <a:cs typeface="Neue Frutiger World" panose="020B0603040304020203" pitchFamily="34" charset="0"/>
                        </a:rPr>
                        <a:t> </a:t>
                      </a:r>
                      <a:r>
                        <a:rPr sz="800" spc="-20" dirty="0">
                          <a:solidFill>
                            <a:schemeClr val="tx1"/>
                          </a:solidFill>
                          <a:latin typeface="Neue Frutiger World" panose="020B0603040304020203" pitchFamily="34" charset="0"/>
                          <a:cs typeface="Neue Frutiger World" panose="020B0603040304020203" pitchFamily="34" charset="0"/>
                        </a:rPr>
                        <a:t>to</a:t>
                      </a:r>
                      <a:r>
                        <a:rPr sz="800" spc="2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grow </a:t>
                      </a:r>
                      <a:r>
                        <a:rPr lang="en-GB" sz="800" spc="-10" dirty="0">
                          <a:solidFill>
                            <a:schemeClr val="tx1"/>
                          </a:solidFill>
                          <a:latin typeface="Neue Frutiger World" panose="020B0603040304020203" pitchFamily="34" charset="0"/>
                          <a:cs typeface="Neue Frutiger World" panose="020B0603040304020203" pitchFamily="34" charset="0"/>
                        </a:rPr>
                        <a:t>their service </a:t>
                      </a:r>
                      <a:r>
                        <a:rPr sz="800" spc="-5" dirty="0">
                          <a:solidFill>
                            <a:schemeClr val="tx1"/>
                          </a:solidFill>
                          <a:latin typeface="Neue Frutiger World" panose="020B0603040304020203" pitchFamily="34" charset="0"/>
                          <a:cs typeface="Neue Frutiger World" panose="020B0603040304020203" pitchFamily="34" charset="0"/>
                        </a:rPr>
                        <a:t>and</a:t>
                      </a:r>
                      <a:r>
                        <a:rPr sz="800" spc="10" dirty="0">
                          <a:solidFill>
                            <a:schemeClr val="tx1"/>
                          </a:solidFill>
                          <a:latin typeface="Neue Frutiger World" panose="020B0603040304020203" pitchFamily="34" charset="0"/>
                          <a:cs typeface="Neue Frutiger World" panose="020B0603040304020203" pitchFamily="34" charset="0"/>
                        </a:rPr>
                        <a:t> </a:t>
                      </a:r>
                      <a:r>
                        <a:rPr sz="800" spc="-20" dirty="0">
                          <a:solidFill>
                            <a:schemeClr val="tx1"/>
                          </a:solidFill>
                          <a:latin typeface="Neue Frutiger World" panose="020B0603040304020203" pitchFamily="34" charset="0"/>
                          <a:cs typeface="Neue Frutiger World" panose="020B0603040304020203" pitchFamily="34" charset="0"/>
                        </a:rPr>
                        <a:t>treat</a:t>
                      </a:r>
                      <a:r>
                        <a:rPr sz="800" spc="2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more</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patients,</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begin</a:t>
                      </a:r>
                      <a:r>
                        <a:rPr sz="800" spc="15" dirty="0">
                          <a:solidFill>
                            <a:schemeClr val="tx1"/>
                          </a:solidFill>
                          <a:latin typeface="Neue Frutiger World" panose="020B0603040304020203" pitchFamily="34" charset="0"/>
                          <a:cs typeface="Neue Frutiger World" panose="020B0603040304020203" pitchFamily="34" charset="0"/>
                        </a:rPr>
                        <a:t> </a:t>
                      </a:r>
                      <a:r>
                        <a:rPr sz="800" spc="-20" dirty="0">
                          <a:solidFill>
                            <a:schemeClr val="tx1"/>
                          </a:solidFill>
                          <a:latin typeface="Neue Frutiger World" panose="020B0603040304020203" pitchFamily="34" charset="0"/>
                          <a:cs typeface="Neue Frutiger World" panose="020B0603040304020203" pitchFamily="34" charset="0"/>
                        </a:rPr>
                        <a:t>to</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educate</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other</a:t>
                      </a:r>
                      <a:r>
                        <a:rPr sz="80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departments</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n</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2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hospital</a:t>
                      </a:r>
                      <a:r>
                        <a:rPr lang="en-GB"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about</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nfection.</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Other </a:t>
                      </a:r>
                      <a:r>
                        <a:rPr sz="800" spc="-5" dirty="0">
                          <a:solidFill>
                            <a:schemeClr val="tx1"/>
                          </a:solidFill>
                          <a:latin typeface="Neue Frutiger World" panose="020B0603040304020203" pitchFamily="34" charset="0"/>
                          <a:cs typeface="Neue Frutiger World" panose="020B0603040304020203" pitchFamily="34" charset="0"/>
                        </a:rPr>
                        <a:t>physicians</a:t>
                      </a:r>
                      <a:r>
                        <a:rPr sz="800" spc="10" dirty="0">
                          <a:solidFill>
                            <a:schemeClr val="tx1"/>
                          </a:solidFill>
                          <a:latin typeface="Neue Frutiger World" panose="020B0603040304020203" pitchFamily="34" charset="0"/>
                          <a:cs typeface="Neue Frutiger World" panose="020B0603040304020203" pitchFamily="34" charset="0"/>
                        </a:rPr>
                        <a:t> </a:t>
                      </a:r>
                      <a:r>
                        <a:rPr lang="en-GB" sz="800" spc="-15" dirty="0">
                          <a:solidFill>
                            <a:schemeClr val="tx1"/>
                          </a:solidFill>
                          <a:latin typeface="Neue Frutiger World" panose="020B0603040304020203" pitchFamily="34" charset="0"/>
                          <a:cs typeface="Neue Frutiger World" panose="020B0603040304020203" pitchFamily="34" charset="0"/>
                        </a:rPr>
                        <a:t>who see </a:t>
                      </a:r>
                      <a:r>
                        <a:rPr sz="800" dirty="0">
                          <a:solidFill>
                            <a:schemeClr val="tx1"/>
                          </a:solidFill>
                          <a:latin typeface="Neue Frutiger World" panose="020B0603040304020203" pitchFamily="34" charset="0"/>
                          <a:cs typeface="Neue Frutiger World" panose="020B0603040304020203" pitchFamily="34" charset="0"/>
                        </a:rPr>
                        <a:t>CRM</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patients</a:t>
                      </a:r>
                      <a:r>
                        <a:rPr sz="800" spc="15"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need</a:t>
                      </a:r>
                      <a:r>
                        <a:rPr sz="800" spc="5" dirty="0">
                          <a:solidFill>
                            <a:schemeClr val="tx1"/>
                          </a:solidFill>
                          <a:latin typeface="Neue Frutiger World" panose="020B0603040304020203" pitchFamily="34" charset="0"/>
                          <a:cs typeface="Neue Frutiger World" panose="020B0603040304020203" pitchFamily="34" charset="0"/>
                        </a:rPr>
                        <a:t> </a:t>
                      </a:r>
                      <a:r>
                        <a:rPr sz="800" spc="-20" dirty="0">
                          <a:solidFill>
                            <a:schemeClr val="tx1"/>
                          </a:solidFill>
                          <a:latin typeface="Neue Frutiger World" panose="020B0603040304020203" pitchFamily="34" charset="0"/>
                          <a:cs typeface="Neue Frutiger World" panose="020B0603040304020203" pitchFamily="34" charset="0"/>
                        </a:rPr>
                        <a:t>to</a:t>
                      </a:r>
                      <a:r>
                        <a:rPr sz="800" spc="15"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be</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aware</a:t>
                      </a:r>
                      <a:r>
                        <a:rPr sz="800" spc="10" dirty="0">
                          <a:solidFill>
                            <a:schemeClr val="tx1"/>
                          </a:solidFill>
                          <a:latin typeface="Neue Frutiger World" panose="020B0603040304020203" pitchFamily="34" charset="0"/>
                          <a:cs typeface="Neue Frutiger World" panose="020B0603040304020203" pitchFamily="34" charset="0"/>
                        </a:rPr>
                        <a:t> </a:t>
                      </a:r>
                      <a:r>
                        <a:rPr sz="800" spc="-15" dirty="0">
                          <a:solidFill>
                            <a:schemeClr val="tx1"/>
                          </a:solidFill>
                          <a:latin typeface="Neue Frutiger World" panose="020B0603040304020203" pitchFamily="34" charset="0"/>
                          <a:cs typeface="Neue Frutiger World" panose="020B0603040304020203" pitchFamily="34" charset="0"/>
                        </a:rPr>
                        <a:t>that</a:t>
                      </a:r>
                      <a:r>
                        <a:rPr sz="800" spc="1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any</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sign</a:t>
                      </a:r>
                      <a:r>
                        <a:rPr sz="800" spc="1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of</a:t>
                      </a:r>
                      <a:r>
                        <a:rPr sz="800" spc="-5" dirty="0">
                          <a:solidFill>
                            <a:schemeClr val="tx1"/>
                          </a:solidFill>
                          <a:latin typeface="Neue Frutiger World" panose="020B0603040304020203" pitchFamily="34" charset="0"/>
                          <a:cs typeface="Neue Frutiger World" panose="020B0603040304020203" pitchFamily="34" charset="0"/>
                        </a:rPr>
                        <a:t> device</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infection</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should</a:t>
                      </a:r>
                      <a:r>
                        <a:rPr sz="800" spc="1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be</a:t>
                      </a:r>
                      <a:r>
                        <a:rPr sz="800" spc="15" dirty="0">
                          <a:solidFill>
                            <a:schemeClr val="tx1"/>
                          </a:solidFill>
                          <a:latin typeface="Neue Frutiger World" panose="020B0603040304020203" pitchFamily="34" charset="0"/>
                          <a:cs typeface="Neue Frutiger World" panose="020B0603040304020203" pitchFamily="34" charset="0"/>
                        </a:rPr>
                        <a:t> </a:t>
                      </a:r>
                      <a:r>
                        <a:rPr lang="en-GB" sz="800" spc="-10" dirty="0">
                          <a:solidFill>
                            <a:schemeClr val="tx1"/>
                          </a:solidFill>
                          <a:latin typeface="Neue Frutiger World" panose="020B0603040304020203" pitchFamily="34" charset="0"/>
                          <a:cs typeface="Neue Frutiger World" panose="020B0603040304020203" pitchFamily="34" charset="0"/>
                        </a:rPr>
                        <a:t>referred</a:t>
                      </a:r>
                      <a:r>
                        <a:rPr sz="800" spc="5" dirty="0">
                          <a:solidFill>
                            <a:schemeClr val="tx1"/>
                          </a:solidFill>
                          <a:latin typeface="Neue Frutiger World" panose="020B0603040304020203" pitchFamily="34" charset="0"/>
                          <a:cs typeface="Neue Frutiger World" panose="020B0603040304020203" pitchFamily="34" charset="0"/>
                        </a:rPr>
                        <a:t> </a:t>
                      </a:r>
                      <a:r>
                        <a:rPr sz="800" spc="-20" dirty="0">
                          <a:solidFill>
                            <a:schemeClr val="tx1"/>
                          </a:solidFill>
                          <a:latin typeface="Neue Frutiger World" panose="020B0603040304020203" pitchFamily="34" charset="0"/>
                          <a:cs typeface="Neue Frutiger World" panose="020B0603040304020203" pitchFamily="34" charset="0"/>
                        </a:rPr>
                        <a:t>to</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 extractor</a:t>
                      </a:r>
                      <a:r>
                        <a:rPr sz="800" spc="-2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for</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a:t>
                      </a:r>
                      <a:r>
                        <a:rPr sz="800" spc="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consult</a:t>
                      </a:r>
                      <a:r>
                        <a:rPr lang="sv-SE" sz="800" spc="-5" dirty="0">
                          <a:solidFill>
                            <a:schemeClr val="tx1"/>
                          </a:solidFill>
                          <a:latin typeface="Neue Frutiger World" panose="020B0603040304020203" pitchFamily="34" charset="0"/>
                          <a:cs typeface="Neue Frutiger World" panose="020B0603040304020203" pitchFamily="34" charset="0"/>
                        </a:rPr>
                        <a:t>ation</a:t>
                      </a:r>
                      <a:r>
                        <a:rPr sz="800" spc="-5" dirty="0">
                          <a:solidFill>
                            <a:schemeClr val="tx1"/>
                          </a:solidFill>
                          <a:latin typeface="Neue Frutiger World" panose="020B0603040304020203" pitchFamily="34" charset="0"/>
                          <a:cs typeface="Neue Frutiger World" panose="020B0603040304020203" pitchFamily="34" charset="0"/>
                        </a:rPr>
                        <a:t>.</a:t>
                      </a:r>
                      <a:r>
                        <a:rPr sz="800" spc="5"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Good</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departments</a:t>
                      </a:r>
                      <a:r>
                        <a:rPr sz="800" dirty="0">
                          <a:solidFill>
                            <a:schemeClr val="tx1"/>
                          </a:solidFill>
                          <a:latin typeface="Neue Frutiger World" panose="020B0603040304020203" pitchFamily="34" charset="0"/>
                          <a:cs typeface="Neue Frutiger World" panose="020B0603040304020203" pitchFamily="34" charset="0"/>
                        </a:rPr>
                        <a:t> </a:t>
                      </a:r>
                      <a:r>
                        <a:rPr sz="800" spc="-20" dirty="0">
                          <a:solidFill>
                            <a:schemeClr val="tx1"/>
                          </a:solidFill>
                          <a:latin typeface="Neue Frutiger World" panose="020B0603040304020203" pitchFamily="34" charset="0"/>
                          <a:cs typeface="Neue Frutiger World" panose="020B0603040304020203" pitchFamily="34" charset="0"/>
                        </a:rPr>
                        <a:t>to</a:t>
                      </a:r>
                      <a:r>
                        <a:rPr sz="800" dirty="0">
                          <a:solidFill>
                            <a:schemeClr val="tx1"/>
                          </a:solidFill>
                          <a:latin typeface="Neue Frutiger World" panose="020B0603040304020203" pitchFamily="34" charset="0"/>
                          <a:cs typeface="Neue Frutiger World" panose="020B0603040304020203" pitchFamily="34" charset="0"/>
                        </a:rPr>
                        <a:t> </a:t>
                      </a:r>
                      <a:r>
                        <a:rPr sz="800" spc="-15" dirty="0">
                          <a:solidFill>
                            <a:schemeClr val="tx1"/>
                          </a:solidFill>
                          <a:latin typeface="Neue Frutiger World" panose="020B0603040304020203" pitchFamily="34" charset="0"/>
                          <a:cs typeface="Neue Frutiger World" panose="020B0603040304020203" pitchFamily="34" charset="0"/>
                        </a:rPr>
                        <a:t>start</a:t>
                      </a:r>
                      <a:r>
                        <a:rPr sz="800" spc="-2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with</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are:</a:t>
                      </a:r>
                      <a:endParaRPr sz="800" dirty="0">
                        <a:solidFill>
                          <a:schemeClr val="tx1"/>
                        </a:solidFill>
                        <a:latin typeface="Neue Frutiger World" panose="020B0603040304020203" pitchFamily="34" charset="0"/>
                        <a:cs typeface="Neue Frutiger World" panose="020B0603040304020203" pitchFamily="34" charset="0"/>
                      </a:endParaRPr>
                    </a:p>
                    <a:p>
                      <a:pPr marL="411480" indent="-76835" algn="just">
                        <a:lnSpc>
                          <a:spcPct val="100000"/>
                        </a:lnSpc>
                        <a:spcBef>
                          <a:spcPts val="270"/>
                        </a:spcBef>
                        <a:buChar char="•"/>
                        <a:tabLst>
                          <a:tab pos="412115" algn="l"/>
                        </a:tabLst>
                      </a:pPr>
                      <a:r>
                        <a:rPr sz="800" spc="-10" dirty="0">
                          <a:solidFill>
                            <a:schemeClr val="tx1"/>
                          </a:solidFill>
                          <a:latin typeface="Neue Frutiger World" panose="020B0603040304020203" pitchFamily="34" charset="0"/>
                          <a:cs typeface="Neue Frutiger World" panose="020B0603040304020203" pitchFamily="34" charset="0"/>
                        </a:rPr>
                        <a:t>Infectious</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Disease</a:t>
                      </a:r>
                      <a:r>
                        <a:rPr sz="800" spc="10" dirty="0">
                          <a:solidFill>
                            <a:schemeClr val="tx1"/>
                          </a:solidFill>
                          <a:latin typeface="Neue Frutiger World" panose="020B0603040304020203" pitchFamily="34" charset="0"/>
                          <a:cs typeface="Neue Frutiger World" panose="020B0603040304020203" pitchFamily="34" charset="0"/>
                        </a:rPr>
                        <a:t> </a:t>
                      </a:r>
                      <a:r>
                        <a:rPr sz="800" spc="90" dirty="0">
                          <a:solidFill>
                            <a:schemeClr val="tx1"/>
                          </a:solidFill>
                          <a:latin typeface="Neue Frutiger World" panose="020B0603040304020203" pitchFamily="34" charset="0"/>
                          <a:cs typeface="Neue Frutiger World" panose="020B0603040304020203" pitchFamily="34" charset="0"/>
                        </a:rPr>
                        <a:t>–</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dealing</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with</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infection</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daily</a:t>
                      </a:r>
                      <a:r>
                        <a:rPr lang="sv-SE"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but</a:t>
                      </a:r>
                      <a:r>
                        <a:rPr sz="800" spc="1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may</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not</a:t>
                      </a:r>
                      <a:r>
                        <a:rPr sz="800" spc="15" dirty="0">
                          <a:solidFill>
                            <a:schemeClr val="tx1"/>
                          </a:solidFill>
                          <a:latin typeface="Neue Frutiger World" panose="020B0603040304020203" pitchFamily="34" charset="0"/>
                          <a:cs typeface="Neue Frutiger World" panose="020B0603040304020203" pitchFamily="34" charset="0"/>
                        </a:rPr>
                        <a:t> </a:t>
                      </a:r>
                      <a:r>
                        <a:rPr lang="sv-SE" sz="800" dirty="0">
                          <a:solidFill>
                            <a:schemeClr val="tx1"/>
                          </a:solidFill>
                          <a:latin typeface="Neue Frutiger World" panose="020B0603040304020203" pitchFamily="34" charset="0"/>
                          <a:cs typeface="Neue Frutiger World" panose="020B0603040304020203" pitchFamily="34" charset="0"/>
                        </a:rPr>
                        <a:t>be quick at</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making</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link</a:t>
                      </a:r>
                      <a:r>
                        <a:rPr sz="800" spc="10" dirty="0">
                          <a:solidFill>
                            <a:schemeClr val="tx1"/>
                          </a:solidFill>
                          <a:latin typeface="Neue Frutiger World" panose="020B0603040304020203" pitchFamily="34" charset="0"/>
                          <a:cs typeface="Neue Frutiger World" panose="020B0603040304020203" pitchFamily="34" charset="0"/>
                        </a:rPr>
                        <a:t> </a:t>
                      </a:r>
                      <a:r>
                        <a:rPr sz="800" spc="-15" dirty="0">
                          <a:solidFill>
                            <a:schemeClr val="tx1"/>
                          </a:solidFill>
                          <a:latin typeface="Neue Frutiger World" panose="020B0603040304020203" pitchFamily="34" charset="0"/>
                          <a:cs typeface="Neue Frutiger World" panose="020B0603040304020203" pitchFamily="34" charset="0"/>
                        </a:rPr>
                        <a:t>that</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device</a:t>
                      </a:r>
                      <a:r>
                        <a:rPr sz="800" spc="1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may</a:t>
                      </a:r>
                      <a:r>
                        <a:rPr sz="800" spc="-15"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be</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involved.</a:t>
                      </a:r>
                      <a:endParaRPr sz="800" dirty="0">
                        <a:solidFill>
                          <a:schemeClr val="tx1"/>
                        </a:solidFill>
                        <a:latin typeface="Neue Frutiger World" panose="020B0603040304020203" pitchFamily="34" charset="0"/>
                        <a:cs typeface="Neue Frutiger World" panose="020B0603040304020203" pitchFamily="34" charset="0"/>
                      </a:endParaRPr>
                    </a:p>
                    <a:p>
                      <a:pPr marL="411480" indent="-76835" algn="just">
                        <a:lnSpc>
                          <a:spcPct val="100000"/>
                        </a:lnSpc>
                        <a:spcBef>
                          <a:spcPts val="275"/>
                        </a:spcBef>
                        <a:buChar char="•"/>
                        <a:tabLst>
                          <a:tab pos="412115" algn="l"/>
                        </a:tabLst>
                      </a:pPr>
                      <a:r>
                        <a:rPr sz="800" dirty="0">
                          <a:solidFill>
                            <a:schemeClr val="tx1"/>
                          </a:solidFill>
                          <a:latin typeface="Neue Frutiger World" panose="020B0603040304020203" pitchFamily="34" charset="0"/>
                          <a:cs typeface="Neue Frutiger World" panose="020B0603040304020203" pitchFamily="34" charset="0"/>
                        </a:rPr>
                        <a:t>Nephrology</a:t>
                      </a:r>
                    </a:p>
                  </a:txBody>
                  <a:tcPr marL="0" marR="0" marT="83820" marB="0">
                    <a:lnT w="3175">
                      <a:solidFill>
                        <a:srgbClr val="00A9EB"/>
                      </a:solidFill>
                      <a:prstDash val="solid"/>
                    </a:lnT>
                    <a:lnB w="3175">
                      <a:solidFill>
                        <a:srgbClr val="00A9EB"/>
                      </a:solidFill>
                      <a:prstDash val="solid"/>
                    </a:lnB>
                  </a:tcPr>
                </a:tc>
                <a:extLst>
                  <a:ext uri="{0D108BD9-81ED-4DB2-BD59-A6C34878D82A}">
                    <a16:rowId xmlns:a16="http://schemas.microsoft.com/office/drawing/2014/main" val="10002"/>
                  </a:ext>
                </a:extLst>
              </a:tr>
              <a:tr h="543859">
                <a:tc>
                  <a:txBody>
                    <a:bodyPr/>
                    <a:lstStyle/>
                    <a:p>
                      <a:pPr marL="57150">
                        <a:lnSpc>
                          <a:spcPct val="100000"/>
                        </a:lnSpc>
                        <a:spcBef>
                          <a:spcPts val="700"/>
                        </a:spcBef>
                      </a:pPr>
                      <a:r>
                        <a:rPr sz="800" b="1" dirty="0">
                          <a:solidFill>
                            <a:srgbClr val="231F20"/>
                          </a:solidFill>
                          <a:latin typeface="Neue Frutiger World" panose="020B0603040304020203" pitchFamily="34" charset="0"/>
                          <a:cs typeface="Neue Frutiger World" panose="020B0603040304020203" pitchFamily="34" charset="0"/>
                        </a:rPr>
                        <a:t>Community</a:t>
                      </a:r>
                      <a:endParaRPr sz="800" dirty="0">
                        <a:latin typeface="Neue Frutiger World" panose="020B0603040304020203" pitchFamily="34" charset="0"/>
                        <a:cs typeface="Neue Frutiger World" panose="020B0603040304020203" pitchFamily="34" charset="0"/>
                      </a:endParaRPr>
                    </a:p>
                  </a:txBody>
                  <a:tcPr marL="0" marR="0" marT="88900" marB="0">
                    <a:lnT w="3175">
                      <a:solidFill>
                        <a:srgbClr val="00A9EB"/>
                      </a:solidFill>
                      <a:prstDash val="solid"/>
                    </a:lnT>
                    <a:lnB w="3175">
                      <a:solidFill>
                        <a:srgbClr val="00A9EB"/>
                      </a:solidFill>
                      <a:prstDash val="solid"/>
                    </a:lnB>
                  </a:tcPr>
                </a:tc>
                <a:tc>
                  <a:txBody>
                    <a:bodyPr/>
                    <a:lstStyle/>
                    <a:p>
                      <a:pPr marL="208279" marR="368300" algn="just">
                        <a:lnSpc>
                          <a:spcPct val="104200"/>
                        </a:lnSpc>
                        <a:spcBef>
                          <a:spcPts val="660"/>
                        </a:spcBef>
                      </a:pPr>
                      <a:r>
                        <a:rPr sz="800" dirty="0">
                          <a:solidFill>
                            <a:schemeClr val="tx1"/>
                          </a:solidFill>
                          <a:latin typeface="Neue Frutiger World" panose="020B0603040304020203" pitchFamily="34" charset="0"/>
                          <a:cs typeface="Neue Frutiger World" panose="020B0603040304020203" pitchFamily="34" charset="0"/>
                        </a:rPr>
                        <a:t>The</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next</a:t>
                      </a:r>
                      <a:r>
                        <a:rPr sz="800" spc="2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step</a:t>
                      </a:r>
                      <a:r>
                        <a:rPr sz="800" spc="2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should</a:t>
                      </a:r>
                      <a:r>
                        <a:rPr sz="800" spc="15"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be</a:t>
                      </a:r>
                      <a:r>
                        <a:rPr sz="800" spc="20" dirty="0">
                          <a:solidFill>
                            <a:schemeClr val="tx1"/>
                          </a:solidFill>
                          <a:latin typeface="Neue Frutiger World" panose="020B0603040304020203" pitchFamily="34" charset="0"/>
                          <a:cs typeface="Neue Frutiger World" panose="020B0603040304020203" pitchFamily="34" charset="0"/>
                        </a:rPr>
                        <a:t> </a:t>
                      </a:r>
                      <a:r>
                        <a:rPr sz="800" spc="-15" dirty="0">
                          <a:solidFill>
                            <a:schemeClr val="tx1"/>
                          </a:solidFill>
                          <a:latin typeface="Neue Frutiger World" panose="020B0603040304020203" pitchFamily="34" charset="0"/>
                          <a:cs typeface="Neue Frutiger World" panose="020B0603040304020203" pitchFamily="34" charset="0"/>
                        </a:rPr>
                        <a:t>market</a:t>
                      </a:r>
                      <a:r>
                        <a:rPr sz="800" spc="2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development</a:t>
                      </a:r>
                      <a:r>
                        <a:rPr sz="800" spc="2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initiatives</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n</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20" dirty="0">
                          <a:solidFill>
                            <a:schemeClr val="tx1"/>
                          </a:solidFill>
                          <a:latin typeface="Neue Frutiger World" panose="020B0603040304020203" pitchFamily="34" charset="0"/>
                          <a:cs typeface="Neue Frutiger World" panose="020B0603040304020203" pitchFamily="34" charset="0"/>
                        </a:rPr>
                        <a:t> </a:t>
                      </a:r>
                      <a:r>
                        <a:rPr lang="en-GB" sz="800" spc="-10" dirty="0">
                          <a:solidFill>
                            <a:schemeClr val="tx1"/>
                          </a:solidFill>
                          <a:latin typeface="Neue Frutiger World" panose="020B0603040304020203" pitchFamily="34" charset="0"/>
                          <a:cs typeface="Neue Frutiger World" panose="020B0603040304020203" pitchFamily="34" charset="0"/>
                        </a:rPr>
                        <a:t>referring centres. Educate them </a:t>
                      </a:r>
                      <a:r>
                        <a:rPr sz="800" spc="-10" dirty="0">
                          <a:solidFill>
                            <a:schemeClr val="tx1"/>
                          </a:solidFill>
                          <a:latin typeface="Neue Frutiger World" panose="020B0603040304020203" pitchFamily="34" charset="0"/>
                          <a:cs typeface="Neue Frutiger World" panose="020B0603040304020203" pitchFamily="34" charset="0"/>
                        </a:rPr>
                        <a:t>about</a:t>
                      </a:r>
                      <a:r>
                        <a:rPr sz="800" spc="2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infection</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nd</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e</a:t>
                      </a:r>
                      <a:r>
                        <a:rPr sz="800" spc="2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need</a:t>
                      </a:r>
                      <a:r>
                        <a:rPr sz="800" spc="10" dirty="0">
                          <a:solidFill>
                            <a:schemeClr val="tx1"/>
                          </a:solidFill>
                          <a:latin typeface="Neue Frutiger World" panose="020B0603040304020203" pitchFamily="34" charset="0"/>
                          <a:cs typeface="Neue Frutiger World" panose="020B0603040304020203" pitchFamily="34" charset="0"/>
                        </a:rPr>
                        <a:t> </a:t>
                      </a:r>
                      <a:r>
                        <a:rPr sz="800" spc="-20" dirty="0">
                          <a:solidFill>
                            <a:schemeClr val="tx1"/>
                          </a:solidFill>
                          <a:latin typeface="Neue Frutiger World" panose="020B0603040304020203" pitchFamily="34" charset="0"/>
                          <a:cs typeface="Neue Frutiger World" panose="020B0603040304020203" pitchFamily="34" charset="0"/>
                        </a:rPr>
                        <a:t>to</a:t>
                      </a:r>
                      <a:r>
                        <a:rPr sz="800" spc="20" dirty="0">
                          <a:solidFill>
                            <a:schemeClr val="tx1"/>
                          </a:solidFill>
                          <a:latin typeface="Neue Frutiger World" panose="020B0603040304020203" pitchFamily="34" charset="0"/>
                          <a:cs typeface="Neue Frutiger World" panose="020B0603040304020203" pitchFamily="34" charset="0"/>
                        </a:rPr>
                        <a:t> </a:t>
                      </a:r>
                      <a:r>
                        <a:rPr lang="en-GB" sz="800" spc="-5" dirty="0">
                          <a:solidFill>
                            <a:schemeClr val="tx1"/>
                          </a:solidFill>
                          <a:latin typeface="Neue Frutiger World" panose="020B0603040304020203" pitchFamily="34" charset="0"/>
                          <a:cs typeface="Neue Frutiger World" panose="020B0603040304020203" pitchFamily="34" charset="0"/>
                        </a:rPr>
                        <a:t>appropriately </a:t>
                      </a:r>
                      <a:r>
                        <a:rPr sz="800" spc="-20" dirty="0">
                          <a:solidFill>
                            <a:schemeClr val="tx1"/>
                          </a:solidFill>
                          <a:latin typeface="Neue Frutiger World" panose="020B0603040304020203" pitchFamily="34" charset="0"/>
                          <a:cs typeface="Neue Frutiger World" panose="020B0603040304020203" pitchFamily="34" charset="0"/>
                        </a:rPr>
                        <a:t>treat</a:t>
                      </a:r>
                      <a:r>
                        <a:rPr sz="800" spc="10" dirty="0">
                          <a:solidFill>
                            <a:schemeClr val="tx1"/>
                          </a:solidFill>
                          <a:latin typeface="Neue Frutiger World" panose="020B0603040304020203" pitchFamily="34" charset="0"/>
                          <a:cs typeface="Neue Frutiger World" panose="020B0603040304020203" pitchFamily="34" charset="0"/>
                        </a:rPr>
                        <a:t> </a:t>
                      </a:r>
                      <a:r>
                        <a:rPr lang="en-GB" sz="800" spc="10" dirty="0">
                          <a:solidFill>
                            <a:schemeClr val="tx1"/>
                          </a:solidFill>
                          <a:latin typeface="Neue Frutiger World" panose="020B0603040304020203" pitchFamily="34" charset="0"/>
                          <a:cs typeface="Neue Frutiger World" panose="020B0603040304020203" pitchFamily="34" charset="0"/>
                        </a:rPr>
                        <a:t>patients </a:t>
                      </a:r>
                      <a:r>
                        <a:rPr sz="800" dirty="0">
                          <a:solidFill>
                            <a:schemeClr val="tx1"/>
                          </a:solidFill>
                          <a:latin typeface="Neue Frutiger World" panose="020B0603040304020203" pitchFamily="34" charset="0"/>
                          <a:cs typeface="Neue Frutiger World" panose="020B0603040304020203" pitchFamily="34" charset="0"/>
                        </a:rPr>
                        <a:t>by</a:t>
                      </a:r>
                      <a:r>
                        <a:rPr sz="800" spc="-1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removing</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all</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hardware.</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Extractor </a:t>
                      </a:r>
                      <a:r>
                        <a:rPr sz="800" spc="-5" dirty="0">
                          <a:solidFill>
                            <a:schemeClr val="tx1"/>
                          </a:solidFill>
                          <a:latin typeface="Neue Frutiger World" panose="020B0603040304020203" pitchFamily="34" charset="0"/>
                          <a:cs typeface="Neue Frutiger World" panose="020B0603040304020203" pitchFamily="34" charset="0"/>
                        </a:rPr>
                        <a:t>peer</a:t>
                      </a:r>
                      <a:r>
                        <a:rPr sz="800" spc="-10" dirty="0">
                          <a:solidFill>
                            <a:schemeClr val="tx1"/>
                          </a:solidFill>
                          <a:latin typeface="Neue Frutiger World" panose="020B0603040304020203" pitchFamily="34" charset="0"/>
                          <a:cs typeface="Neue Frutiger World" panose="020B0603040304020203" pitchFamily="34" charset="0"/>
                        </a:rPr>
                        <a:t> </a:t>
                      </a:r>
                      <a:r>
                        <a:rPr sz="800" spc="-20" dirty="0">
                          <a:solidFill>
                            <a:schemeClr val="tx1"/>
                          </a:solidFill>
                          <a:latin typeface="Neue Frutiger World" panose="020B0603040304020203" pitchFamily="34" charset="0"/>
                          <a:cs typeface="Neue Frutiger World" panose="020B0603040304020203" pitchFamily="34" charset="0"/>
                        </a:rPr>
                        <a:t>to</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peer</a:t>
                      </a:r>
                      <a:r>
                        <a:rPr sz="800" spc="-10" dirty="0">
                          <a:solidFill>
                            <a:schemeClr val="tx1"/>
                          </a:solidFill>
                          <a:latin typeface="Neue Frutiger World" panose="020B0603040304020203" pitchFamily="34" charset="0"/>
                          <a:cs typeface="Neue Frutiger World" panose="020B0603040304020203" pitchFamily="34" charset="0"/>
                        </a:rPr>
                        <a:t> involvement</a:t>
                      </a:r>
                      <a:r>
                        <a:rPr sz="800" spc="15"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in</a:t>
                      </a:r>
                      <a:r>
                        <a:rPr sz="800" spc="5"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this</a:t>
                      </a:r>
                      <a:r>
                        <a:rPr sz="800" spc="10" dirty="0">
                          <a:solidFill>
                            <a:schemeClr val="tx1"/>
                          </a:solidFill>
                          <a:latin typeface="Neue Frutiger World" panose="020B0603040304020203" pitchFamily="34" charset="0"/>
                          <a:cs typeface="Neue Frutiger World" panose="020B0603040304020203" pitchFamily="34" charset="0"/>
                        </a:rPr>
                        <a:t> </a:t>
                      </a:r>
                      <a:r>
                        <a:rPr sz="800" spc="-10" dirty="0">
                          <a:solidFill>
                            <a:schemeClr val="tx1"/>
                          </a:solidFill>
                          <a:latin typeface="Neue Frutiger World" panose="020B0603040304020203" pitchFamily="34" charset="0"/>
                          <a:cs typeface="Neue Frutiger World" panose="020B0603040304020203" pitchFamily="34" charset="0"/>
                        </a:rPr>
                        <a:t>process</a:t>
                      </a:r>
                      <a:r>
                        <a:rPr sz="800" spc="10" dirty="0">
                          <a:solidFill>
                            <a:schemeClr val="tx1"/>
                          </a:solidFill>
                          <a:latin typeface="Neue Frutiger World" panose="020B0603040304020203" pitchFamily="34" charset="0"/>
                          <a:cs typeface="Neue Frutiger World" panose="020B0603040304020203" pitchFamily="34" charset="0"/>
                        </a:rPr>
                        <a:t> </a:t>
                      </a:r>
                      <a:r>
                        <a:rPr sz="800" spc="-5" dirty="0">
                          <a:solidFill>
                            <a:schemeClr val="tx1"/>
                          </a:solidFill>
                          <a:latin typeface="Neue Frutiger World" panose="020B0603040304020203" pitchFamily="34" charset="0"/>
                          <a:cs typeface="Neue Frutiger World" panose="020B0603040304020203" pitchFamily="34" charset="0"/>
                        </a:rPr>
                        <a:t>should</a:t>
                      </a:r>
                      <a:r>
                        <a:rPr sz="800" spc="10" dirty="0">
                          <a:solidFill>
                            <a:schemeClr val="tx1"/>
                          </a:solidFill>
                          <a:latin typeface="Neue Frutiger World" panose="020B0603040304020203" pitchFamily="34" charset="0"/>
                          <a:cs typeface="Neue Frutiger World" panose="020B0603040304020203" pitchFamily="34" charset="0"/>
                        </a:rPr>
                        <a:t> </a:t>
                      </a:r>
                      <a:r>
                        <a:rPr sz="800" dirty="0">
                          <a:solidFill>
                            <a:schemeClr val="tx1"/>
                          </a:solidFill>
                          <a:latin typeface="Neue Frutiger World" panose="020B0603040304020203" pitchFamily="34" charset="0"/>
                          <a:cs typeface="Neue Frutiger World" panose="020B0603040304020203" pitchFamily="34" charset="0"/>
                        </a:rPr>
                        <a:t>be</a:t>
                      </a:r>
                      <a:r>
                        <a:rPr sz="800" spc="10" dirty="0">
                          <a:solidFill>
                            <a:schemeClr val="tx1"/>
                          </a:solidFill>
                          <a:latin typeface="Neue Frutiger World" panose="020B0603040304020203" pitchFamily="34" charset="0"/>
                          <a:cs typeface="Neue Frutiger World" panose="020B0603040304020203" pitchFamily="34" charset="0"/>
                        </a:rPr>
                        <a:t> </a:t>
                      </a:r>
                      <a:r>
                        <a:rPr lang="sv-SE" sz="800" spc="-10" dirty="0">
                          <a:solidFill>
                            <a:schemeClr val="tx1"/>
                          </a:solidFill>
                          <a:latin typeface="Neue Frutiger World" panose="020B0603040304020203" pitchFamily="34" charset="0"/>
                          <a:cs typeface="Neue Frutiger World" panose="020B0603040304020203" pitchFamily="34" charset="0"/>
                        </a:rPr>
                        <a:t>utilised </a:t>
                      </a:r>
                      <a:r>
                        <a:rPr sz="800" spc="-5" dirty="0">
                          <a:solidFill>
                            <a:schemeClr val="tx1"/>
                          </a:solidFill>
                          <a:latin typeface="Neue Frutiger World" panose="020B0603040304020203" pitchFamily="34" charset="0"/>
                          <a:cs typeface="Neue Frutiger World" panose="020B0603040304020203" pitchFamily="34" charset="0"/>
                        </a:rPr>
                        <a:t>whenever possible.</a:t>
                      </a:r>
                      <a:endParaRPr sz="800" dirty="0">
                        <a:solidFill>
                          <a:schemeClr val="tx1"/>
                        </a:solidFill>
                        <a:latin typeface="Neue Frutiger World" panose="020B0603040304020203" pitchFamily="34" charset="0"/>
                        <a:cs typeface="Neue Frutiger World" panose="020B0603040304020203" pitchFamily="34" charset="0"/>
                      </a:endParaRPr>
                    </a:p>
                  </a:txBody>
                  <a:tcPr marL="0" marR="0" marT="83820" marB="0">
                    <a:lnT w="3175">
                      <a:solidFill>
                        <a:srgbClr val="00A9EB"/>
                      </a:solidFill>
                      <a:prstDash val="solid"/>
                    </a:lnT>
                    <a:lnB w="3175">
                      <a:solidFill>
                        <a:srgbClr val="00A9EB"/>
                      </a:solidFill>
                      <a:prstDash val="solid"/>
                    </a:lnB>
                  </a:tcPr>
                </a:tc>
                <a:extLst>
                  <a:ext uri="{0D108BD9-81ED-4DB2-BD59-A6C34878D82A}">
                    <a16:rowId xmlns:a16="http://schemas.microsoft.com/office/drawing/2014/main" val="10003"/>
                  </a:ext>
                </a:extLst>
              </a:tr>
            </a:tbl>
          </a:graphicData>
        </a:graphic>
      </p:graphicFrame>
      <p:sp>
        <p:nvSpPr>
          <p:cNvPr id="8" name="TextBox 7">
            <a:extLst>
              <a:ext uri="{FF2B5EF4-FFF2-40B4-BE49-F238E27FC236}">
                <a16:creationId xmlns:a16="http://schemas.microsoft.com/office/drawing/2014/main" id="{14098949-24CC-4A46-8557-0CD28B79BC47}"/>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2" name="Rectangle 11">
            <a:hlinkClick r:id="rId2" action="ppaction://hlinksldjump"/>
            <a:extLst>
              <a:ext uri="{FF2B5EF4-FFF2-40B4-BE49-F238E27FC236}">
                <a16:creationId xmlns:a16="http://schemas.microsoft.com/office/drawing/2014/main" id="{073E5E7E-E2A1-451C-84E0-2711C61965CA}"/>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3" name="Rectangle 12">
            <a:hlinkClick r:id="rId3" action="ppaction://hlinksldjump"/>
            <a:extLst>
              <a:ext uri="{FF2B5EF4-FFF2-40B4-BE49-F238E27FC236}">
                <a16:creationId xmlns:a16="http://schemas.microsoft.com/office/drawing/2014/main" id="{498FC212-80E3-4A19-A52C-239AEC4BB6D3}"/>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4" action="ppaction://hlinksldjump"/>
            <a:extLst>
              <a:ext uri="{FF2B5EF4-FFF2-40B4-BE49-F238E27FC236}">
                <a16:creationId xmlns:a16="http://schemas.microsoft.com/office/drawing/2014/main" id="{308BCADB-D229-4B4F-BEC9-D5BB9C7D1CB5}"/>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5" action="ppaction://hlinksldjump"/>
            <a:extLst>
              <a:ext uri="{FF2B5EF4-FFF2-40B4-BE49-F238E27FC236}">
                <a16:creationId xmlns:a16="http://schemas.microsoft.com/office/drawing/2014/main" id="{F49D3514-5A5E-4994-8E7A-CEF1C5C7ADDB}"/>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6" action="ppaction://hlinksldjump"/>
            <a:extLst>
              <a:ext uri="{FF2B5EF4-FFF2-40B4-BE49-F238E27FC236}">
                <a16:creationId xmlns:a16="http://schemas.microsoft.com/office/drawing/2014/main" id="{FB410725-33E0-4738-BCAD-B0E0F3FCB906}"/>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7" action="ppaction://hlinksldjump"/>
            <a:extLst>
              <a:ext uri="{FF2B5EF4-FFF2-40B4-BE49-F238E27FC236}">
                <a16:creationId xmlns:a16="http://schemas.microsoft.com/office/drawing/2014/main" id="{F12C6E5E-9473-4F97-B3AF-828A4304A014}"/>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8" action="ppaction://hlinksldjump"/>
            <a:extLst>
              <a:ext uri="{FF2B5EF4-FFF2-40B4-BE49-F238E27FC236}">
                <a16:creationId xmlns:a16="http://schemas.microsoft.com/office/drawing/2014/main" id="{4C9FE044-D276-44B5-BE5C-A6C458D38E55}"/>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9" action="ppaction://hlinksldjump"/>
            <a:extLst>
              <a:ext uri="{FF2B5EF4-FFF2-40B4-BE49-F238E27FC236}">
                <a16:creationId xmlns:a16="http://schemas.microsoft.com/office/drawing/2014/main" id="{78E8036C-DA2C-4175-B38A-4F50A9E762A5}"/>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extLst>
              <a:ext uri="{FF2B5EF4-FFF2-40B4-BE49-F238E27FC236}">
                <a16:creationId xmlns:a16="http://schemas.microsoft.com/office/drawing/2014/main" id="{C1C235AC-AB3C-4DF3-B0B3-B80204D45133}"/>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0" action="ppaction://hlinksldjump"/>
            <a:extLst>
              <a:ext uri="{FF2B5EF4-FFF2-40B4-BE49-F238E27FC236}">
                <a16:creationId xmlns:a16="http://schemas.microsoft.com/office/drawing/2014/main" id="{F004683F-A33B-41E0-9656-95240C88DBC7}"/>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1" action="ppaction://hlinksldjump"/>
            <a:extLst>
              <a:ext uri="{FF2B5EF4-FFF2-40B4-BE49-F238E27FC236}">
                <a16:creationId xmlns:a16="http://schemas.microsoft.com/office/drawing/2014/main" id="{07535E2C-0DAC-4356-BA39-CDF2611115C9}"/>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2" action="ppaction://hlinksldjump"/>
            <a:extLst>
              <a:ext uri="{FF2B5EF4-FFF2-40B4-BE49-F238E27FC236}">
                <a16:creationId xmlns:a16="http://schemas.microsoft.com/office/drawing/2014/main" id="{F1B6A1CA-E9DC-43F0-A56C-2E63DD8A3DBD}"/>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3" action="ppaction://hlinksldjump"/>
            <a:extLst>
              <a:ext uri="{FF2B5EF4-FFF2-40B4-BE49-F238E27FC236}">
                <a16:creationId xmlns:a16="http://schemas.microsoft.com/office/drawing/2014/main" id="{5B077995-2D8D-4BA9-95EE-C8C788F5D032}"/>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4" action="ppaction://hlinksldjump"/>
            <a:extLst>
              <a:ext uri="{FF2B5EF4-FFF2-40B4-BE49-F238E27FC236}">
                <a16:creationId xmlns:a16="http://schemas.microsoft.com/office/drawing/2014/main" id="{6473FCBF-7AAD-4D3E-95F1-F89C77730F1A}"/>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5" action="ppaction://hlinksldjump"/>
            <a:extLst>
              <a:ext uri="{FF2B5EF4-FFF2-40B4-BE49-F238E27FC236}">
                <a16:creationId xmlns:a16="http://schemas.microsoft.com/office/drawing/2014/main" id="{630BF2EB-4E64-4E97-BC9A-6FD9A37608F4}"/>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6" action="ppaction://hlinksldjump"/>
            <a:extLst>
              <a:ext uri="{FF2B5EF4-FFF2-40B4-BE49-F238E27FC236}">
                <a16:creationId xmlns:a16="http://schemas.microsoft.com/office/drawing/2014/main" id="{ED3C91BC-3C4A-4BAA-9529-0811C081DFC8}"/>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7" action="ppaction://hlinksldjump"/>
            <a:extLst>
              <a:ext uri="{FF2B5EF4-FFF2-40B4-BE49-F238E27FC236}">
                <a16:creationId xmlns:a16="http://schemas.microsoft.com/office/drawing/2014/main" id="{9E1DDD18-0769-43F3-B463-D128441208CC}"/>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18" action="ppaction://hlinksldjump"/>
            <a:extLst>
              <a:ext uri="{FF2B5EF4-FFF2-40B4-BE49-F238E27FC236}">
                <a16:creationId xmlns:a16="http://schemas.microsoft.com/office/drawing/2014/main" id="{1274F082-47E7-4822-AC82-B0352D8F1747}"/>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19" action="ppaction://hlinksldjump"/>
            <a:extLst>
              <a:ext uri="{FF2B5EF4-FFF2-40B4-BE49-F238E27FC236}">
                <a16:creationId xmlns:a16="http://schemas.microsoft.com/office/drawing/2014/main" id="{83CD371B-8A0F-4FB8-AAD8-742E348F33C6}"/>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20" action="ppaction://hlinksldjump"/>
            <a:extLst>
              <a:ext uri="{FF2B5EF4-FFF2-40B4-BE49-F238E27FC236}">
                <a16:creationId xmlns:a16="http://schemas.microsoft.com/office/drawing/2014/main" id="{5BB43F89-1F3A-4157-82B3-7A09105E09A5}"/>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21" action="ppaction://hlinksldjump"/>
            <a:extLst>
              <a:ext uri="{FF2B5EF4-FFF2-40B4-BE49-F238E27FC236}">
                <a16:creationId xmlns:a16="http://schemas.microsoft.com/office/drawing/2014/main" id="{F3D69557-72E1-4AC5-91B1-D92DA3DC8B26}"/>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2" action="ppaction://hlinksldjump"/>
            <a:extLst>
              <a:ext uri="{FF2B5EF4-FFF2-40B4-BE49-F238E27FC236}">
                <a16:creationId xmlns:a16="http://schemas.microsoft.com/office/drawing/2014/main" id="{89D191DA-E81F-4C40-9D17-F283AC94297F}"/>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extLst>
              <a:ext uri="{FF2B5EF4-FFF2-40B4-BE49-F238E27FC236}">
                <a16:creationId xmlns:a16="http://schemas.microsoft.com/office/drawing/2014/main" id="{8F81FBA7-0C54-49DA-ACC4-F15D89246DB8}"/>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23" action="ppaction://hlinksldjump"/>
            <a:extLst>
              <a:ext uri="{FF2B5EF4-FFF2-40B4-BE49-F238E27FC236}">
                <a16:creationId xmlns:a16="http://schemas.microsoft.com/office/drawing/2014/main" id="{B46EFDF3-507E-4E8C-94D9-147A9C746CB5}"/>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24" action="ppaction://hlinksldjump"/>
            <a:extLst>
              <a:ext uri="{FF2B5EF4-FFF2-40B4-BE49-F238E27FC236}">
                <a16:creationId xmlns:a16="http://schemas.microsoft.com/office/drawing/2014/main" id="{0471D3A9-64DD-474E-B46E-40E349463346}"/>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25" action="ppaction://hlinksldjump"/>
            <a:extLst>
              <a:ext uri="{FF2B5EF4-FFF2-40B4-BE49-F238E27FC236}">
                <a16:creationId xmlns:a16="http://schemas.microsoft.com/office/drawing/2014/main" id="{259C812C-ED21-47D3-AC84-74A38AE445F4}"/>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extLst>
              <a:ext uri="{FF2B5EF4-FFF2-40B4-BE49-F238E27FC236}">
                <a16:creationId xmlns:a16="http://schemas.microsoft.com/office/drawing/2014/main" id="{4EDAF5B1-60FE-4F8B-9DC9-355A542D5251}"/>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67" name="Table 66">
            <a:extLst>
              <a:ext uri="{FF2B5EF4-FFF2-40B4-BE49-F238E27FC236}">
                <a16:creationId xmlns:a16="http://schemas.microsoft.com/office/drawing/2014/main" id="{589E714B-033F-4C98-8C8B-DCCDDABDFC3F}"/>
              </a:ext>
            </a:extLst>
          </p:cNvPr>
          <p:cNvGraphicFramePr>
            <a:graphicFrameLocks noGrp="1"/>
          </p:cNvGraphicFramePr>
          <p:nvPr>
            <p:extLst>
              <p:ext uri="{D42A27DB-BD31-4B8C-83A1-F6EECF244321}">
                <p14:modId xmlns:p14="http://schemas.microsoft.com/office/powerpoint/2010/main" val="3401314437"/>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68" name="Rectangle 67">
            <a:hlinkClick r:id="rId2" action="ppaction://hlinksldjump"/>
            <a:extLst>
              <a:ext uri="{FF2B5EF4-FFF2-40B4-BE49-F238E27FC236}">
                <a16:creationId xmlns:a16="http://schemas.microsoft.com/office/drawing/2014/main" id="{BA00EC5A-9F23-42DA-BF0B-6131EBA8C3C2}"/>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9" name="Rectangle 68">
            <a:hlinkClick r:id="rId3" action="ppaction://hlinksldjump"/>
            <a:extLst>
              <a:ext uri="{FF2B5EF4-FFF2-40B4-BE49-F238E27FC236}">
                <a16:creationId xmlns:a16="http://schemas.microsoft.com/office/drawing/2014/main" id="{7BDC9027-CD1A-42FE-B320-3C2A5F0C476A}"/>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0" name="Rectangle 69">
            <a:hlinkClick r:id="rId4" action="ppaction://hlinksldjump"/>
            <a:extLst>
              <a:ext uri="{FF2B5EF4-FFF2-40B4-BE49-F238E27FC236}">
                <a16:creationId xmlns:a16="http://schemas.microsoft.com/office/drawing/2014/main" id="{EA593968-B159-465D-A219-67BA371B36B5}"/>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1" name="Rectangle 70">
            <a:hlinkClick r:id="rId5" action="ppaction://hlinksldjump"/>
            <a:extLst>
              <a:ext uri="{FF2B5EF4-FFF2-40B4-BE49-F238E27FC236}">
                <a16:creationId xmlns:a16="http://schemas.microsoft.com/office/drawing/2014/main" id="{EA1BE7B1-C6F7-4E2C-B75B-A89F3EB256F3}"/>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2" name="Rectangle 71">
            <a:hlinkClick r:id="rId6" action="ppaction://hlinksldjump"/>
            <a:extLst>
              <a:ext uri="{FF2B5EF4-FFF2-40B4-BE49-F238E27FC236}">
                <a16:creationId xmlns:a16="http://schemas.microsoft.com/office/drawing/2014/main" id="{AEADCD9C-8D5F-44B0-AE8C-191D44145A26}"/>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3" name="Rectangle 72">
            <a:hlinkClick r:id="rId7" action="ppaction://hlinksldjump"/>
            <a:extLst>
              <a:ext uri="{FF2B5EF4-FFF2-40B4-BE49-F238E27FC236}">
                <a16:creationId xmlns:a16="http://schemas.microsoft.com/office/drawing/2014/main" id="{B765B59C-602D-4310-AFE9-AB1A0B3C87E3}"/>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4" name="Rectangle 73">
            <a:hlinkClick r:id="rId8" action="ppaction://hlinksldjump"/>
            <a:extLst>
              <a:ext uri="{FF2B5EF4-FFF2-40B4-BE49-F238E27FC236}">
                <a16:creationId xmlns:a16="http://schemas.microsoft.com/office/drawing/2014/main" id="{F3C87F05-508F-4920-9C45-2A65987DF71C}"/>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5" name="Rectangle 74">
            <a:hlinkClick r:id="rId9" action="ppaction://hlinksldjump"/>
            <a:extLst>
              <a:ext uri="{FF2B5EF4-FFF2-40B4-BE49-F238E27FC236}">
                <a16:creationId xmlns:a16="http://schemas.microsoft.com/office/drawing/2014/main" id="{25F92E9E-0DBE-41D1-9DE1-5C8CCAE75F28}"/>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6" name="Rectangle 75">
            <a:extLst>
              <a:ext uri="{FF2B5EF4-FFF2-40B4-BE49-F238E27FC236}">
                <a16:creationId xmlns:a16="http://schemas.microsoft.com/office/drawing/2014/main" id="{3E659081-D27C-4BBE-A095-439A72D6D53E}"/>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7" name="Rectangle 76">
            <a:hlinkClick r:id="rId10" action="ppaction://hlinksldjump"/>
            <a:extLst>
              <a:ext uri="{FF2B5EF4-FFF2-40B4-BE49-F238E27FC236}">
                <a16:creationId xmlns:a16="http://schemas.microsoft.com/office/drawing/2014/main" id="{EB9E3AC9-EF16-4C5B-8AC4-4A3DDE9CA4CC}"/>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8" name="Rectangle 77">
            <a:hlinkClick r:id="rId11" action="ppaction://hlinksldjump"/>
            <a:extLst>
              <a:ext uri="{FF2B5EF4-FFF2-40B4-BE49-F238E27FC236}">
                <a16:creationId xmlns:a16="http://schemas.microsoft.com/office/drawing/2014/main" id="{1537C84C-25DF-483F-A197-64408152BE93}"/>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9" name="Rectangle 78">
            <a:hlinkClick r:id="rId12" action="ppaction://hlinksldjump"/>
            <a:extLst>
              <a:ext uri="{FF2B5EF4-FFF2-40B4-BE49-F238E27FC236}">
                <a16:creationId xmlns:a16="http://schemas.microsoft.com/office/drawing/2014/main" id="{8C8E831F-FB71-485F-8E10-C6BDE7211050}"/>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0" name="Rectangle 79">
            <a:hlinkClick r:id="rId13" action="ppaction://hlinksldjump"/>
            <a:extLst>
              <a:ext uri="{FF2B5EF4-FFF2-40B4-BE49-F238E27FC236}">
                <a16:creationId xmlns:a16="http://schemas.microsoft.com/office/drawing/2014/main" id="{580F8ED4-4127-4E98-923F-37C8F40B47BA}"/>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1" name="Rectangle 80">
            <a:hlinkClick r:id="rId14" action="ppaction://hlinksldjump"/>
            <a:extLst>
              <a:ext uri="{FF2B5EF4-FFF2-40B4-BE49-F238E27FC236}">
                <a16:creationId xmlns:a16="http://schemas.microsoft.com/office/drawing/2014/main" id="{67A1939E-611A-459A-A4E1-9F8EC84BA0BA}"/>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2" name="Rectangle 81">
            <a:hlinkClick r:id="rId15" action="ppaction://hlinksldjump"/>
            <a:extLst>
              <a:ext uri="{FF2B5EF4-FFF2-40B4-BE49-F238E27FC236}">
                <a16:creationId xmlns:a16="http://schemas.microsoft.com/office/drawing/2014/main" id="{7BF89F97-6B46-4E2C-9BA9-3928C434ACAF}"/>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3" name="Rectangle 82">
            <a:hlinkClick r:id="rId16" action="ppaction://hlinksldjump"/>
            <a:extLst>
              <a:ext uri="{FF2B5EF4-FFF2-40B4-BE49-F238E27FC236}">
                <a16:creationId xmlns:a16="http://schemas.microsoft.com/office/drawing/2014/main" id="{AA994946-0BE0-4211-B40B-1591FFA7C815}"/>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4" name="Rectangle 83">
            <a:hlinkClick r:id="rId17" action="ppaction://hlinksldjump"/>
            <a:extLst>
              <a:ext uri="{FF2B5EF4-FFF2-40B4-BE49-F238E27FC236}">
                <a16:creationId xmlns:a16="http://schemas.microsoft.com/office/drawing/2014/main" id="{72A77786-9AE5-4189-93CA-DF060BC7EBF5}"/>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5" name="Rectangle 84">
            <a:hlinkClick r:id="rId18" action="ppaction://hlinksldjump"/>
            <a:extLst>
              <a:ext uri="{FF2B5EF4-FFF2-40B4-BE49-F238E27FC236}">
                <a16:creationId xmlns:a16="http://schemas.microsoft.com/office/drawing/2014/main" id="{B289E3F0-27BB-4583-A4ED-AC8BA51297BE}"/>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6" name="Rectangle 85">
            <a:hlinkClick r:id="rId19" action="ppaction://hlinksldjump"/>
            <a:extLst>
              <a:ext uri="{FF2B5EF4-FFF2-40B4-BE49-F238E27FC236}">
                <a16:creationId xmlns:a16="http://schemas.microsoft.com/office/drawing/2014/main" id="{03D3B90B-84F5-4A59-82FC-7D7327FEB097}"/>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7" name="Rectangle 86">
            <a:hlinkClick r:id="rId20" action="ppaction://hlinksldjump"/>
            <a:extLst>
              <a:ext uri="{FF2B5EF4-FFF2-40B4-BE49-F238E27FC236}">
                <a16:creationId xmlns:a16="http://schemas.microsoft.com/office/drawing/2014/main" id="{EE59138F-7B44-4229-8B15-F451DB904CF7}"/>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8" name="Rectangle 87">
            <a:hlinkClick r:id="rId21" action="ppaction://hlinksldjump"/>
            <a:extLst>
              <a:ext uri="{FF2B5EF4-FFF2-40B4-BE49-F238E27FC236}">
                <a16:creationId xmlns:a16="http://schemas.microsoft.com/office/drawing/2014/main" id="{1FBA0B9F-15AB-451F-93B0-5DCC60A1BEF4}"/>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89" name="Rectangle 88">
            <a:hlinkClick r:id="rId22" action="ppaction://hlinksldjump"/>
            <a:extLst>
              <a:ext uri="{FF2B5EF4-FFF2-40B4-BE49-F238E27FC236}">
                <a16:creationId xmlns:a16="http://schemas.microsoft.com/office/drawing/2014/main" id="{BCD3F926-41A1-4D9D-969C-1E0403FE54C0}"/>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0" name="Rectangle 89">
            <a:extLst>
              <a:ext uri="{FF2B5EF4-FFF2-40B4-BE49-F238E27FC236}">
                <a16:creationId xmlns:a16="http://schemas.microsoft.com/office/drawing/2014/main" id="{4B177FD6-43A0-43D1-AE54-B127544A6F42}"/>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1" name="Rectangle 90">
            <a:hlinkClick r:id="rId23" action="ppaction://hlinksldjump"/>
            <a:extLst>
              <a:ext uri="{FF2B5EF4-FFF2-40B4-BE49-F238E27FC236}">
                <a16:creationId xmlns:a16="http://schemas.microsoft.com/office/drawing/2014/main" id="{BC1E43B8-3374-4722-8AA0-9D61431B2ADE}"/>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2" name="Rectangle 91">
            <a:hlinkClick r:id="rId24" action="ppaction://hlinksldjump"/>
            <a:extLst>
              <a:ext uri="{FF2B5EF4-FFF2-40B4-BE49-F238E27FC236}">
                <a16:creationId xmlns:a16="http://schemas.microsoft.com/office/drawing/2014/main" id="{79B3B691-AAEF-4DC3-9128-18EC070D3BA3}"/>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93" name="Rectangle 92">
            <a:hlinkClick r:id="rId25" action="ppaction://hlinksldjump"/>
            <a:extLst>
              <a:ext uri="{FF2B5EF4-FFF2-40B4-BE49-F238E27FC236}">
                <a16:creationId xmlns:a16="http://schemas.microsoft.com/office/drawing/2014/main" id="{63BE3A13-72C5-4AE3-8B7F-CA08936877A5}"/>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115194598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34E2C-E5ED-4BE2-B8DD-90C2CF5031BD}"/>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Targeting</a:t>
            </a:r>
          </a:p>
        </p:txBody>
      </p:sp>
      <p:sp>
        <p:nvSpPr>
          <p:cNvPr id="4" name="Slide Number Placeholder 3">
            <a:extLst>
              <a:ext uri="{FF2B5EF4-FFF2-40B4-BE49-F238E27FC236}">
                <a16:creationId xmlns:a16="http://schemas.microsoft.com/office/drawing/2014/main" id="{99A79755-A96C-4E2B-8301-8384073BC692}"/>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6</a:t>
            </a:fld>
            <a:endParaRPr lang="en-US" noProof="0" dirty="0">
              <a:latin typeface="Neue Frutiger World" panose="020B0603040304020203" pitchFamily="34" charset="0"/>
              <a:cs typeface="Neue Frutiger World" panose="020B0603040304020203" pitchFamily="34" charset="0"/>
            </a:endParaRPr>
          </a:p>
        </p:txBody>
      </p:sp>
      <p:sp>
        <p:nvSpPr>
          <p:cNvPr id="5" name="Text Placeholder 4">
            <a:extLst>
              <a:ext uri="{FF2B5EF4-FFF2-40B4-BE49-F238E27FC236}">
                <a16:creationId xmlns:a16="http://schemas.microsoft.com/office/drawing/2014/main" id="{2B74A316-8FDB-40DA-93F1-78504F58FAC9}"/>
              </a:ext>
            </a:extLst>
          </p:cNvPr>
          <p:cNvSpPr>
            <a:spLocks noGrp="1"/>
          </p:cNvSpPr>
          <p:nvPr>
            <p:ph type="body" sz="quarter" idx="14"/>
          </p:nvPr>
        </p:nvSpPr>
        <p:spPr>
          <a:xfrm>
            <a:off x="1547664" y="843558"/>
            <a:ext cx="4104456" cy="3852505"/>
          </a:xfrm>
        </p:spPr>
        <p:txBody>
          <a:bodyPr/>
          <a:lstStyle/>
          <a:p>
            <a:pPr marL="114290" marR="5079" indent="-101592">
              <a:lnSpc>
                <a:spcPct val="104200"/>
              </a:lnSpc>
              <a:spcBef>
                <a:spcPts val="60"/>
              </a:spcBef>
              <a:buChar char="•"/>
              <a:tabLst>
                <a:tab pos="114290" algn="l"/>
              </a:tabLst>
            </a:pPr>
            <a:r>
              <a:rPr lang="en-GB" sz="800" b="1" noProof="0" dirty="0">
                <a:solidFill>
                  <a:srgbClr val="231F20"/>
                </a:solidFill>
                <a:latin typeface="Neue Frutiger World" panose="020B0603040304020203" pitchFamily="34" charset="0"/>
                <a:cs typeface="Neue Frutiger World" panose="020B0603040304020203" pitchFamily="34" charset="0"/>
              </a:rPr>
              <a:t>It is vital our Extractors understand our approach, they need:</a:t>
            </a:r>
          </a:p>
          <a:p>
            <a:pPr marL="358775" marR="5079" lvl="1" indent="-100013">
              <a:spcBef>
                <a:spcPts val="60"/>
              </a:spcBef>
              <a:buChar char="•"/>
              <a:tabLst>
                <a:tab pos="114290" algn="l"/>
              </a:tabLst>
            </a:pPr>
            <a:r>
              <a:rPr lang="en-GB" sz="800" noProof="0" dirty="0">
                <a:solidFill>
                  <a:srgbClr val="231F20"/>
                </a:solidFill>
                <a:latin typeface="Neue Frutiger World" panose="020B0603040304020203" pitchFamily="34" charset="0"/>
                <a:cs typeface="Neue Frutiger World" panose="020B0603040304020203" pitchFamily="34" charset="0"/>
              </a:rPr>
              <a:t>To be ready to extract and see the value in early vs late extraction</a:t>
            </a:r>
          </a:p>
          <a:p>
            <a:pPr marL="358775" marR="5079" lvl="1" indent="-100013">
              <a:spcBef>
                <a:spcPts val="60"/>
              </a:spcBef>
              <a:buChar char="•"/>
              <a:tabLst>
                <a:tab pos="114290" algn="l"/>
              </a:tabLst>
            </a:pPr>
            <a:r>
              <a:rPr lang="en-GB" sz="800" noProof="0" dirty="0">
                <a:solidFill>
                  <a:srgbClr val="231F20"/>
                </a:solidFill>
                <a:latin typeface="Neue Frutiger World" panose="020B0603040304020203" pitchFamily="34" charset="0"/>
                <a:cs typeface="Neue Frutiger World" panose="020B0603040304020203" pitchFamily="34" charset="0"/>
              </a:rPr>
              <a:t>They must have the capacity to extract more patients (General Anaesthetics)</a:t>
            </a:r>
          </a:p>
          <a:p>
            <a:pPr marL="358775" marR="5079" lvl="1" indent="-100013">
              <a:spcBef>
                <a:spcPts val="60"/>
              </a:spcBef>
              <a:buChar char="•"/>
              <a:tabLst>
                <a:tab pos="114290" algn="l"/>
              </a:tabLst>
            </a:pPr>
            <a:r>
              <a:rPr lang="en-GB" sz="800" noProof="0" dirty="0">
                <a:solidFill>
                  <a:srgbClr val="231F20"/>
                </a:solidFill>
                <a:latin typeface="Neue Frutiger World" panose="020B0603040304020203" pitchFamily="34" charset="0"/>
                <a:cs typeface="Neue Frutiger World" panose="020B0603040304020203" pitchFamily="34" charset="0"/>
              </a:rPr>
              <a:t>Be willing to work with us and referring hospitals</a:t>
            </a:r>
          </a:p>
          <a:p>
            <a:pPr marL="358775" marR="5079" lvl="1" indent="-100013">
              <a:spcBef>
                <a:spcPts val="60"/>
              </a:spcBef>
              <a:buChar char="•"/>
              <a:tabLst>
                <a:tab pos="114290" algn="l"/>
              </a:tabLst>
            </a:pPr>
            <a:r>
              <a:rPr lang="en-GB" sz="800" noProof="0" dirty="0">
                <a:solidFill>
                  <a:srgbClr val="231F20"/>
                </a:solidFill>
                <a:latin typeface="Neue Frutiger World" panose="020B0603040304020203" pitchFamily="34" charset="0"/>
                <a:cs typeface="Neue Frutiger World" panose="020B0603040304020203" pitchFamily="34" charset="0"/>
              </a:rPr>
              <a:t>Have the desire to do more extractions</a:t>
            </a:r>
            <a:endParaRPr lang="en-GB" sz="800" noProof="0" dirty="0">
              <a:latin typeface="Neue Frutiger World" panose="020B0603040304020203" pitchFamily="34" charset="0"/>
              <a:cs typeface="Neue Frutiger World" panose="020B0603040304020203" pitchFamily="34" charset="0"/>
            </a:endParaRPr>
          </a:p>
          <a:p>
            <a:pPr marL="114290" marR="183500" indent="-101592" algn="just">
              <a:lnSpc>
                <a:spcPct val="104200"/>
              </a:lnSpc>
              <a:spcBef>
                <a:spcPts val="450"/>
              </a:spcBef>
              <a:buChar char="•"/>
              <a:tabLst>
                <a:tab pos="114290" algn="l"/>
              </a:tabLst>
            </a:pPr>
            <a:r>
              <a:rPr lang="en-GB" sz="800" b="1" noProof="0" dirty="0">
                <a:solidFill>
                  <a:srgbClr val="231F20"/>
                </a:solidFill>
                <a:latin typeface="Neue Frutiger World" panose="020B0603040304020203" pitchFamily="34" charset="0"/>
                <a:cs typeface="Neue Frutiger World" panose="020B0603040304020203" pitchFamily="34" charset="0"/>
              </a:rPr>
              <a:t>We need to spread our message to more HCP’s within the hospital setting. </a:t>
            </a:r>
            <a:r>
              <a:rPr lang="en-GB" sz="800" b="1" noProof="0" dirty="0">
                <a:latin typeface="Neue Frutiger World" panose="020B0603040304020203" pitchFamily="34" charset="0"/>
                <a:cs typeface="Neue Frutiger World" panose="020B0603040304020203" pitchFamily="34" charset="0"/>
              </a:rPr>
              <a:t>The Pacemaker team includes:</a:t>
            </a:r>
            <a:endParaRPr lang="en-GB" sz="800" b="1" noProof="0" dirty="0">
              <a:solidFill>
                <a:srgbClr val="231F20"/>
              </a:solidFill>
              <a:latin typeface="Neue Frutiger World" panose="020B0603040304020203" pitchFamily="34" charset="0"/>
              <a:cs typeface="Neue Frutiger World" panose="020B0603040304020203" pitchFamily="34" charset="0"/>
            </a:endParaRPr>
          </a:p>
          <a:p>
            <a:pPr marL="358775" marR="5079" lvl="1" indent="-100013">
              <a:spcBef>
                <a:spcPts val="60"/>
              </a:spcBef>
              <a:buChar char="•"/>
              <a:tabLst>
                <a:tab pos="114290" algn="l"/>
              </a:tabLst>
            </a:pPr>
            <a:r>
              <a:rPr lang="en-GB" sz="800" noProof="0" dirty="0">
                <a:latin typeface="Neue Frutiger World" panose="020B0603040304020203" pitchFamily="34" charset="0"/>
                <a:cs typeface="Neue Frutiger World" panose="020B0603040304020203" pitchFamily="34" charset="0"/>
              </a:rPr>
              <a:t>Cardiac Technicians</a:t>
            </a:r>
          </a:p>
          <a:p>
            <a:pPr marL="358775" marR="5079" lvl="1" indent="-100013">
              <a:spcBef>
                <a:spcPts val="60"/>
              </a:spcBef>
              <a:buChar char="•"/>
              <a:tabLst>
                <a:tab pos="114290" algn="l"/>
              </a:tabLst>
            </a:pPr>
            <a:r>
              <a:rPr lang="en-GB" sz="800" noProof="0" dirty="0">
                <a:latin typeface="Neue Frutiger World" panose="020B0603040304020203" pitchFamily="34" charset="0"/>
                <a:cs typeface="Neue Frutiger World" panose="020B0603040304020203" pitchFamily="34" charset="0"/>
              </a:rPr>
              <a:t>Cardiac Catheter Lab Teams </a:t>
            </a:r>
          </a:p>
          <a:p>
            <a:pPr marL="358775" marR="5079" lvl="1" indent="-100013">
              <a:spcBef>
                <a:spcPts val="60"/>
              </a:spcBef>
              <a:buChar char="•"/>
              <a:tabLst>
                <a:tab pos="114290" algn="l"/>
              </a:tabLst>
            </a:pPr>
            <a:r>
              <a:rPr lang="en-GB" sz="800" noProof="0" dirty="0">
                <a:latin typeface="Neue Frutiger World" panose="020B0603040304020203" pitchFamily="34" charset="0"/>
                <a:cs typeface="Neue Frutiger World" panose="020B0603040304020203" pitchFamily="34" charset="0"/>
              </a:rPr>
              <a:t>Cardiac Nursing</a:t>
            </a:r>
          </a:p>
          <a:p>
            <a:pPr marL="114290" marR="5079" indent="-101592">
              <a:lnSpc>
                <a:spcPct val="150000"/>
              </a:lnSpc>
              <a:spcBef>
                <a:spcPts val="60"/>
              </a:spcBef>
              <a:buChar char="•"/>
              <a:tabLst>
                <a:tab pos="114290" algn="l"/>
              </a:tabLst>
            </a:pPr>
            <a:r>
              <a:rPr lang="en-GB" sz="800" b="1" noProof="0" dirty="0">
                <a:latin typeface="Neue Frutiger World" panose="020B0603040304020203" pitchFamily="34" charset="0"/>
                <a:cs typeface="Neue Frutiger World" panose="020B0603040304020203" pitchFamily="34" charset="0"/>
              </a:rPr>
              <a:t>Our Extractors must be willing to work with referring centres</a:t>
            </a:r>
          </a:p>
          <a:p>
            <a:pPr marL="358775" marR="5079" lvl="1" indent="-100013">
              <a:spcBef>
                <a:spcPts val="60"/>
              </a:spcBef>
              <a:buChar char="•"/>
              <a:tabLst>
                <a:tab pos="114290" algn="l"/>
              </a:tabLst>
            </a:pPr>
            <a:r>
              <a:rPr lang="en-GB" sz="800" noProof="0" dirty="0">
                <a:latin typeface="Neue Frutiger World" panose="020B0603040304020203" pitchFamily="34" charset="0"/>
                <a:cs typeface="Neue Frutiger World" panose="020B0603040304020203" pitchFamily="34" charset="0"/>
              </a:rPr>
              <a:t>Including the referral centre physicians</a:t>
            </a:r>
          </a:p>
          <a:p>
            <a:pPr marL="358775" marR="5079" lvl="1" indent="-100013">
              <a:spcBef>
                <a:spcPts val="60"/>
              </a:spcBef>
              <a:buChar char="•"/>
              <a:tabLst>
                <a:tab pos="114290" algn="l"/>
              </a:tabLst>
            </a:pPr>
            <a:r>
              <a:rPr lang="en-GB" sz="800" noProof="0" dirty="0">
                <a:latin typeface="Neue Frutiger World" panose="020B0603040304020203" pitchFamily="34" charset="0"/>
                <a:cs typeface="Neue Frutiger World" panose="020B0603040304020203" pitchFamily="34" charset="0"/>
              </a:rPr>
              <a:t>Referral centre Pacemaker Team</a:t>
            </a:r>
          </a:p>
          <a:p>
            <a:pPr marL="358775" marR="5079" lvl="1" indent="-100013">
              <a:spcBef>
                <a:spcPts val="60"/>
              </a:spcBef>
              <a:buChar char="•"/>
              <a:tabLst>
                <a:tab pos="114290" algn="l"/>
              </a:tabLst>
            </a:pPr>
            <a:r>
              <a:rPr lang="en-GB" sz="800" noProof="0" dirty="0">
                <a:latin typeface="Neue Frutiger World" panose="020B0603040304020203" pitchFamily="34" charset="0"/>
                <a:cs typeface="Neue Frutiger World" panose="020B0603040304020203" pitchFamily="34" charset="0"/>
              </a:rPr>
              <a:t>Referral centre Cardiac Catheter and Nursing Teams</a:t>
            </a:r>
          </a:p>
          <a:p>
            <a:pPr marL="114290" marR="34922" indent="-101592">
              <a:lnSpc>
                <a:spcPct val="104200"/>
              </a:lnSpc>
              <a:spcBef>
                <a:spcPts val="450"/>
              </a:spcBef>
              <a:buFont typeface="CentraleSans Book"/>
              <a:buChar char="•"/>
              <a:tabLst>
                <a:tab pos="114290" algn="l"/>
              </a:tabLst>
            </a:pPr>
            <a:r>
              <a:rPr lang="en-GB" sz="800" b="1" spc="-5" noProof="0" dirty="0">
                <a:solidFill>
                  <a:srgbClr val="231F20"/>
                </a:solidFill>
                <a:latin typeface="Neue Frutiger World" panose="020B0603040304020203" pitchFamily="34" charset="0"/>
                <a:cs typeface="Neue Frutiger World" panose="020B0603040304020203" pitchFamily="34" charset="0"/>
              </a:rPr>
              <a:t>Other</a:t>
            </a:r>
            <a:r>
              <a:rPr lang="en-GB" sz="800" b="1" spc="10"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hospital</a:t>
            </a:r>
            <a:r>
              <a:rPr lang="en-GB" sz="800" b="1" spc="25"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departments</a:t>
            </a:r>
            <a:r>
              <a:rPr lang="en-GB" sz="800" b="1" spc="2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lso</a:t>
            </a:r>
            <a:r>
              <a:rPr lang="en-GB" sz="800" spc="2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see</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device</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patients:</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Infectious Diseases/</a:t>
            </a:r>
            <a:r>
              <a:rPr lang="en-GB" sz="800" spc="-5" noProof="0" dirty="0" err="1">
                <a:solidFill>
                  <a:srgbClr val="231F20"/>
                </a:solidFill>
                <a:latin typeface="Neue Frutiger World" panose="020B0603040304020203" pitchFamily="34" charset="0"/>
                <a:cs typeface="Neue Frutiger World" panose="020B0603040304020203" pitchFamily="34" charset="0"/>
              </a:rPr>
              <a:t>Infectiologists</a:t>
            </a:r>
            <a:r>
              <a:rPr lang="en-GB" sz="800" spc="-5" noProof="0" dirty="0">
                <a:solidFill>
                  <a:srgbClr val="231F20"/>
                </a:solidFill>
                <a:latin typeface="Neue Frutiger World" panose="020B0603040304020203" pitchFamily="34" charset="0"/>
                <a:cs typeface="Neue Frutiger World" panose="020B0603040304020203" pitchFamily="34" charset="0"/>
              </a:rPr>
              <a:t>, Renal</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nd</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Emergency</a:t>
            </a:r>
            <a:r>
              <a:rPr lang="en-GB" sz="800" spc="2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department </a:t>
            </a:r>
            <a:r>
              <a:rPr lang="en-GB" sz="800" spc="-5" noProof="0" dirty="0">
                <a:solidFill>
                  <a:srgbClr val="231F20"/>
                </a:solidFill>
                <a:latin typeface="Neue Frutiger World" panose="020B0603040304020203" pitchFamily="34" charset="0"/>
                <a:cs typeface="Neue Frutiger World" panose="020B0603040304020203" pitchFamily="34" charset="0"/>
              </a:rPr>
              <a:t>can</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ll</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be</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source</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of</a:t>
            </a:r>
            <a:r>
              <a:rPr lang="en-GB" sz="800" spc="-10" noProof="0" dirty="0">
                <a:solidFill>
                  <a:srgbClr val="231F20"/>
                </a:solidFill>
                <a:latin typeface="Neue Frutiger World" panose="020B0603040304020203" pitchFamily="34" charset="0"/>
                <a:cs typeface="Neue Frutiger World" panose="020B0603040304020203" pitchFamily="34" charset="0"/>
              </a:rPr>
              <a:t> patients.</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5" noProof="0" dirty="0">
                <a:solidFill>
                  <a:srgbClr val="231F20"/>
                </a:solidFill>
                <a:latin typeface="Neue Frutiger World" panose="020B0603040304020203" pitchFamily="34" charset="0"/>
                <a:cs typeface="Neue Frutiger World" panose="020B0603040304020203" pitchFamily="34" charset="0"/>
              </a:rPr>
              <a:t>It</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s</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mportant</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20" noProof="0" dirty="0">
                <a:solidFill>
                  <a:srgbClr val="231F20"/>
                </a:solidFill>
                <a:latin typeface="Neue Frutiger World" panose="020B0603040304020203" pitchFamily="34" charset="0"/>
                <a:cs typeface="Neue Frutiger World" panose="020B0603040304020203" pitchFamily="34" charset="0"/>
              </a:rPr>
              <a:t>to</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educat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them</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on</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symptoms</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of</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systemic</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nd </a:t>
            </a:r>
            <a:r>
              <a:rPr lang="en-GB" sz="800" spc="-10" noProof="0" dirty="0">
                <a:solidFill>
                  <a:srgbClr val="231F20"/>
                </a:solidFill>
                <a:latin typeface="Neue Frutiger World" panose="020B0603040304020203" pitchFamily="34" charset="0"/>
                <a:cs typeface="Neue Frutiger World" panose="020B0603040304020203" pitchFamily="34" charset="0"/>
              </a:rPr>
              <a:t>pocket</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nfection</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nd</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need </a:t>
            </a:r>
            <a:r>
              <a:rPr lang="en-GB" sz="800" spc="-20" noProof="0" dirty="0">
                <a:solidFill>
                  <a:srgbClr val="231F20"/>
                </a:solidFill>
                <a:latin typeface="Neue Frutiger World" panose="020B0603040304020203" pitchFamily="34" charset="0"/>
                <a:cs typeface="Neue Frutiger World" panose="020B0603040304020203" pitchFamily="34" charset="0"/>
              </a:rPr>
              <a:t>to</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immediately</a:t>
            </a:r>
            <a:r>
              <a:rPr lang="en-GB" sz="800" spc="-2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contact</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ir Referring EP or Extraction Centre</a:t>
            </a:r>
            <a:endParaRPr lang="en-GB" sz="800" noProof="0" dirty="0">
              <a:latin typeface="Neue Frutiger World" panose="020B0603040304020203" pitchFamily="34" charset="0"/>
              <a:cs typeface="Neue Frutiger World" panose="020B0603040304020203" pitchFamily="34" charset="0"/>
            </a:endParaRPr>
          </a:p>
          <a:p>
            <a:pPr marL="114290" marR="188579" indent="-101592">
              <a:lnSpc>
                <a:spcPct val="104200"/>
              </a:lnSpc>
              <a:spcBef>
                <a:spcPts val="445"/>
              </a:spcBef>
              <a:buChar char="•"/>
              <a:tabLst>
                <a:tab pos="114290" algn="l"/>
              </a:tabLst>
            </a:pPr>
            <a:r>
              <a:rPr lang="en-GB" sz="800" b="1" spc="-5" noProof="0" dirty="0">
                <a:solidFill>
                  <a:srgbClr val="231F20"/>
                </a:solidFill>
                <a:latin typeface="Neue Frutiger World" panose="020B0603040304020203" pitchFamily="34" charset="0"/>
                <a:cs typeface="Neue Frutiger World" panose="020B0603040304020203" pitchFamily="34" charset="0"/>
              </a:rPr>
              <a:t>If</a:t>
            </a:r>
            <a:r>
              <a:rPr lang="en-GB" sz="800" b="1" spc="-10" noProof="0" dirty="0">
                <a:solidFill>
                  <a:srgbClr val="231F20"/>
                </a:solidFill>
                <a:latin typeface="Neue Frutiger World" panose="020B0603040304020203" pitchFamily="34" charset="0"/>
                <a:cs typeface="Neue Frutiger World" panose="020B0603040304020203" pitchFamily="34" charset="0"/>
              </a:rPr>
              <a:t> you identify suitable Extraction Centres and Extractors</a:t>
            </a:r>
            <a:r>
              <a:rPr lang="en-GB" sz="800" spc="-5" noProof="0" dirty="0">
                <a:solidFill>
                  <a:srgbClr val="231F20"/>
                </a:solidFill>
                <a:latin typeface="Neue Frutiger World" panose="020B0603040304020203" pitchFamily="34" charset="0"/>
                <a:cs typeface="Neue Frutiger World" panose="020B0603040304020203" pitchFamily="34" charset="0"/>
              </a:rPr>
              <a:t>,</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then</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5" noProof="0" dirty="0">
                <a:solidFill>
                  <a:srgbClr val="231F20"/>
                </a:solidFill>
                <a:latin typeface="Neue Frutiger World" panose="020B0603040304020203" pitchFamily="34" charset="0"/>
                <a:cs typeface="Neue Frutiger World" panose="020B0603040304020203" pitchFamily="34" charset="0"/>
              </a:rPr>
              <a:t>market</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development</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nitiatives </a:t>
            </a:r>
            <a:r>
              <a:rPr lang="en-GB" sz="800" spc="-5" noProof="0" dirty="0">
                <a:solidFill>
                  <a:srgbClr val="231F20"/>
                </a:solidFill>
                <a:latin typeface="Neue Frutiger World" panose="020B0603040304020203" pitchFamily="34" charset="0"/>
                <a:cs typeface="Neue Frutiger World" panose="020B0603040304020203" pitchFamily="34" charset="0"/>
              </a:rPr>
              <a:t>should</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begin.</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Focus</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should</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b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20" noProof="0" dirty="0">
                <a:solidFill>
                  <a:srgbClr val="231F20"/>
                </a:solidFill>
                <a:latin typeface="Neue Frutiger World" panose="020B0603040304020203" pitchFamily="34" charset="0"/>
                <a:cs typeface="Neue Frutiger World" panose="020B0603040304020203" pitchFamily="34" charset="0"/>
              </a:rPr>
              <a:t>to</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educat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ir</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b="1" noProof="0" dirty="0">
                <a:solidFill>
                  <a:srgbClr val="231F20"/>
                </a:solidFill>
                <a:latin typeface="Neue Frutiger World" panose="020B0603040304020203" pitchFamily="34" charset="0"/>
                <a:cs typeface="Neue Frutiger World" panose="020B0603040304020203" pitchFamily="34" charset="0"/>
              </a:rPr>
              <a:t>surrounding</a:t>
            </a:r>
            <a:r>
              <a:rPr lang="en-GB" sz="800" b="1" spc="20" noProof="0" dirty="0">
                <a:solidFill>
                  <a:srgbClr val="231F20"/>
                </a:solidFill>
                <a:latin typeface="Neue Frutiger World" panose="020B0603040304020203" pitchFamily="34" charset="0"/>
                <a:cs typeface="Neue Frutiger World" panose="020B0603040304020203" pitchFamily="34" charset="0"/>
              </a:rPr>
              <a:t> </a:t>
            </a:r>
            <a:r>
              <a:rPr lang="en-GB" sz="800" b="1" noProof="0" dirty="0">
                <a:solidFill>
                  <a:srgbClr val="231F20"/>
                </a:solidFill>
                <a:latin typeface="Neue Frutiger World" panose="020B0603040304020203" pitchFamily="34" charset="0"/>
                <a:cs typeface="Neue Frutiger World" panose="020B0603040304020203" pitchFamily="34" charset="0"/>
              </a:rPr>
              <a:t>community </a:t>
            </a:r>
            <a:r>
              <a:rPr lang="en-GB" sz="800" noProof="0" dirty="0">
                <a:solidFill>
                  <a:srgbClr val="231F20"/>
                </a:solidFill>
                <a:latin typeface="Neue Frutiger World" panose="020B0603040304020203" pitchFamily="34" charset="0"/>
                <a:cs typeface="Neue Frutiger World" panose="020B0603040304020203" pitchFamily="34" charset="0"/>
              </a:rPr>
              <a:t>on</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CIED</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nfection</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nd lead</a:t>
            </a:r>
            <a:r>
              <a:rPr lang="en-GB" sz="80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removal.</a:t>
            </a:r>
            <a:endParaRPr lang="en-GB" sz="800" noProof="0" dirty="0">
              <a:latin typeface="Neue Frutiger World" panose="020B0603040304020203" pitchFamily="34" charset="0"/>
              <a:cs typeface="Neue Frutiger World" panose="020B0603040304020203" pitchFamily="34" charset="0"/>
            </a:endParaRPr>
          </a:p>
          <a:p>
            <a:endParaRPr lang="en-GB" noProof="0" dirty="0">
              <a:latin typeface="Neue Frutiger World" panose="020B0603040304020203" pitchFamily="34" charset="0"/>
              <a:cs typeface="Neue Frutiger World" panose="020B0603040304020203" pitchFamily="34" charset="0"/>
            </a:endParaRPr>
          </a:p>
        </p:txBody>
      </p:sp>
      <p:sp>
        <p:nvSpPr>
          <p:cNvPr id="6" name="object 13">
            <a:extLst>
              <a:ext uri="{FF2B5EF4-FFF2-40B4-BE49-F238E27FC236}">
                <a16:creationId xmlns:a16="http://schemas.microsoft.com/office/drawing/2014/main" id="{882519DF-F9BF-4C2C-848D-EEB8515DCFF2}"/>
              </a:ext>
            </a:extLst>
          </p:cNvPr>
          <p:cNvSpPr txBox="1"/>
          <p:nvPr/>
        </p:nvSpPr>
        <p:spPr>
          <a:xfrm>
            <a:off x="6081199" y="3116376"/>
            <a:ext cx="2711424" cy="1497013"/>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0" tIns="62865" rIns="0" bIns="0" rtlCol="0">
            <a:spAutoFit/>
          </a:bodyPr>
          <a:lstStyle/>
          <a:p>
            <a:pPr marL="46351">
              <a:spcBef>
                <a:spcPts val="495"/>
              </a:spcBef>
            </a:pPr>
            <a:r>
              <a:rPr sz="1300" b="1" spc="-10" dirty="0">
                <a:solidFill>
                  <a:srgbClr val="0077CD"/>
                </a:solidFill>
                <a:latin typeface="Neue Frutiger World" panose="020B0603040304020203" pitchFamily="34" charset="0"/>
                <a:cs typeface="Neue Frutiger World" panose="020B0603040304020203" pitchFamily="34" charset="0"/>
              </a:rPr>
              <a:t>Success</a:t>
            </a:r>
            <a:r>
              <a:rPr sz="1300" b="1" dirty="0">
                <a:solidFill>
                  <a:srgbClr val="0077CD"/>
                </a:solidFill>
                <a:latin typeface="Neue Frutiger World" panose="020B0603040304020203" pitchFamily="34" charset="0"/>
                <a:cs typeface="Neue Frutiger World" panose="020B0603040304020203" pitchFamily="34" charset="0"/>
              </a:rPr>
              <a:t> </a:t>
            </a:r>
            <a:r>
              <a:rPr sz="1300" b="1" spc="-10" dirty="0">
                <a:solidFill>
                  <a:srgbClr val="0077CD"/>
                </a:solidFill>
                <a:latin typeface="Neue Frutiger World" panose="020B0603040304020203" pitchFamily="34" charset="0"/>
                <a:cs typeface="Neue Frutiger World" panose="020B0603040304020203" pitchFamily="34" charset="0"/>
              </a:rPr>
              <a:t>stories</a:t>
            </a:r>
            <a:endParaRPr sz="1300" dirty="0">
              <a:solidFill>
                <a:srgbClr val="0077CD"/>
              </a:solidFill>
              <a:latin typeface="Neue Frutiger World" panose="020B0603040304020203" pitchFamily="34" charset="0"/>
              <a:cs typeface="Neue Frutiger World" panose="020B0603040304020203" pitchFamily="34" charset="0"/>
            </a:endParaRPr>
          </a:p>
          <a:p>
            <a:pPr marL="60320" marR="43812" indent="-48256">
              <a:lnSpc>
                <a:spcPct val="109400"/>
              </a:lnSpc>
              <a:spcBef>
                <a:spcPts val="150"/>
              </a:spcBef>
            </a:pPr>
            <a:r>
              <a:rPr sz="800" spc="15" dirty="0">
                <a:solidFill>
                  <a:srgbClr val="0077CD"/>
                </a:solidFill>
                <a:latin typeface="Neue Frutiger World" panose="020B0603040304020203" pitchFamily="34" charset="0"/>
                <a:cs typeface="Neue Frutiger World" panose="020B0603040304020203" pitchFamily="34" charset="0"/>
              </a:rPr>
              <a:t>“</a:t>
            </a:r>
            <a:r>
              <a:rPr lang="en-GB" sz="800" spc="15" dirty="0">
                <a:solidFill>
                  <a:srgbClr val="0077CD"/>
                </a:solidFill>
                <a:latin typeface="Neue Frutiger World" panose="020B0603040304020203" pitchFamily="34" charset="0"/>
                <a:cs typeface="Neue Frutiger World" panose="020B0603040304020203" pitchFamily="34" charset="0"/>
              </a:rPr>
              <a:t>My physician discovered there were few patients coming from a handful of referring centres and after discussing the HRS guidance, a meeting was set up with referring centres to help educate the referring physicians. I was invited to discuss how to identify patients with the Cardiac Investigations unit of the referring hospitals and I was able to highlight the safety of extraction and the benefits of treating infection patients.</a:t>
            </a:r>
            <a:r>
              <a:rPr sz="800" spc="-10" dirty="0">
                <a:solidFill>
                  <a:srgbClr val="0077CD"/>
                </a:solidFill>
                <a:latin typeface="Neue Frutiger World" panose="020B0603040304020203" pitchFamily="34" charset="0"/>
                <a:cs typeface="Neue Frutiger World" panose="020B0603040304020203" pitchFamily="34" charset="0"/>
              </a:rPr>
              <a:t>”</a:t>
            </a:r>
            <a:endParaRPr sz="800" dirty="0">
              <a:solidFill>
                <a:srgbClr val="0077CD"/>
              </a:solidFill>
              <a:latin typeface="Neue Frutiger World" panose="020B0603040304020203" pitchFamily="34" charset="0"/>
              <a:cs typeface="Neue Frutiger World" panose="020B0603040304020203" pitchFamily="34" charset="0"/>
            </a:endParaRPr>
          </a:p>
        </p:txBody>
      </p:sp>
      <p:pic>
        <p:nvPicPr>
          <p:cNvPr id="7" name="Picture 6">
            <a:extLst>
              <a:ext uri="{FF2B5EF4-FFF2-40B4-BE49-F238E27FC236}">
                <a16:creationId xmlns:a16="http://schemas.microsoft.com/office/drawing/2014/main" id="{AC5CA946-7363-4095-9185-23F399B2E28B}"/>
              </a:ext>
            </a:extLst>
          </p:cNvPr>
          <p:cNvPicPr>
            <a:picLocks noChangeAspect="1"/>
          </p:cNvPicPr>
          <p:nvPr/>
        </p:nvPicPr>
        <p:blipFill>
          <a:blip r:embed="rId2"/>
          <a:stretch>
            <a:fillRect/>
          </a:stretch>
        </p:blipFill>
        <p:spPr>
          <a:xfrm>
            <a:off x="5774548" y="843558"/>
            <a:ext cx="3018075" cy="2016224"/>
          </a:xfrm>
          <a:prstGeom prst="rect">
            <a:avLst/>
          </a:prstGeom>
        </p:spPr>
      </p:pic>
      <p:grpSp>
        <p:nvGrpSpPr>
          <p:cNvPr id="8" name="object 5">
            <a:extLst>
              <a:ext uri="{FF2B5EF4-FFF2-40B4-BE49-F238E27FC236}">
                <a16:creationId xmlns:a16="http://schemas.microsoft.com/office/drawing/2014/main" id="{DBDC56E1-8EF8-4053-8119-21258A96480D}"/>
              </a:ext>
            </a:extLst>
          </p:cNvPr>
          <p:cNvGrpSpPr>
            <a:grpSpLocks noChangeAspect="1"/>
          </p:cNvGrpSpPr>
          <p:nvPr/>
        </p:nvGrpSpPr>
        <p:grpSpPr>
          <a:xfrm>
            <a:off x="1619665" y="3927262"/>
            <a:ext cx="4104456" cy="804728"/>
            <a:chOff x="350202" y="5720252"/>
            <a:chExt cx="4578033" cy="897578"/>
          </a:xfrm>
        </p:grpSpPr>
        <p:sp>
          <p:nvSpPr>
            <p:cNvPr id="9" name="object 6">
              <a:extLst>
                <a:ext uri="{FF2B5EF4-FFF2-40B4-BE49-F238E27FC236}">
                  <a16:creationId xmlns:a16="http://schemas.microsoft.com/office/drawing/2014/main" id="{FE0D9E23-4775-425E-A92D-CAE7EB3E4F82}"/>
                </a:ext>
              </a:extLst>
            </p:cNvPr>
            <p:cNvSpPr>
              <a:spLocks noChangeAspect="1"/>
            </p:cNvSpPr>
            <p:nvPr/>
          </p:nvSpPr>
          <p:spPr>
            <a:xfrm>
              <a:off x="4020434" y="5720252"/>
              <a:ext cx="898326" cy="897578"/>
            </a:xfrm>
            <a:custGeom>
              <a:avLst/>
              <a:gdLst/>
              <a:ahLst/>
              <a:cxnLst/>
              <a:rect l="l" t="t" r="r" b="b"/>
              <a:pathLst>
                <a:path w="1525270" h="1524000">
                  <a:moveTo>
                    <a:pt x="904689" y="1511300"/>
                  </a:moveTo>
                  <a:lnTo>
                    <a:pt x="620322" y="1511300"/>
                  </a:lnTo>
                  <a:lnTo>
                    <a:pt x="666861" y="1524000"/>
                  </a:lnTo>
                  <a:lnTo>
                    <a:pt x="858152" y="1524000"/>
                  </a:lnTo>
                  <a:lnTo>
                    <a:pt x="904689" y="1511300"/>
                  </a:lnTo>
                  <a:close/>
                </a:path>
                <a:path w="1525270" h="1524000">
                  <a:moveTo>
                    <a:pt x="78790" y="431800"/>
                  </a:moveTo>
                  <a:lnTo>
                    <a:pt x="58554" y="469900"/>
                  </a:lnTo>
                  <a:lnTo>
                    <a:pt x="41126" y="520700"/>
                  </a:lnTo>
                  <a:lnTo>
                    <a:pt x="26618" y="571500"/>
                  </a:lnTo>
                  <a:lnTo>
                    <a:pt x="15139" y="622300"/>
                  </a:lnTo>
                  <a:lnTo>
                    <a:pt x="6802" y="660400"/>
                  </a:lnTo>
                  <a:lnTo>
                    <a:pt x="1719" y="711200"/>
                  </a:lnTo>
                  <a:lnTo>
                    <a:pt x="0" y="762000"/>
                  </a:lnTo>
                  <a:lnTo>
                    <a:pt x="1500" y="812800"/>
                  </a:lnTo>
                  <a:lnTo>
                    <a:pt x="5941" y="863600"/>
                  </a:lnTo>
                  <a:lnTo>
                    <a:pt x="13233" y="914400"/>
                  </a:lnTo>
                  <a:lnTo>
                    <a:pt x="23287" y="952500"/>
                  </a:lnTo>
                  <a:lnTo>
                    <a:pt x="36015" y="1003300"/>
                  </a:lnTo>
                  <a:lnTo>
                    <a:pt x="51325" y="1041400"/>
                  </a:lnTo>
                  <a:lnTo>
                    <a:pt x="69130" y="1079500"/>
                  </a:lnTo>
                  <a:lnTo>
                    <a:pt x="89340" y="1130300"/>
                  </a:lnTo>
                  <a:lnTo>
                    <a:pt x="111865" y="1168400"/>
                  </a:lnTo>
                  <a:lnTo>
                    <a:pt x="136616" y="1206500"/>
                  </a:lnTo>
                  <a:lnTo>
                    <a:pt x="163504" y="1244600"/>
                  </a:lnTo>
                  <a:lnTo>
                    <a:pt x="192440" y="1270000"/>
                  </a:lnTo>
                  <a:lnTo>
                    <a:pt x="223334" y="1308100"/>
                  </a:lnTo>
                  <a:lnTo>
                    <a:pt x="256096" y="1333500"/>
                  </a:lnTo>
                  <a:lnTo>
                    <a:pt x="290639" y="1371600"/>
                  </a:lnTo>
                  <a:lnTo>
                    <a:pt x="326871" y="1397000"/>
                  </a:lnTo>
                  <a:lnTo>
                    <a:pt x="364705" y="1422400"/>
                  </a:lnTo>
                  <a:lnTo>
                    <a:pt x="404050" y="1435100"/>
                  </a:lnTo>
                  <a:lnTo>
                    <a:pt x="444817" y="1460500"/>
                  </a:lnTo>
                  <a:lnTo>
                    <a:pt x="486917" y="1473200"/>
                  </a:lnTo>
                  <a:lnTo>
                    <a:pt x="530261" y="1498600"/>
                  </a:lnTo>
                  <a:lnTo>
                    <a:pt x="574759" y="1511300"/>
                  </a:lnTo>
                  <a:lnTo>
                    <a:pt x="950251" y="1511300"/>
                  </a:lnTo>
                  <a:lnTo>
                    <a:pt x="994748" y="1498600"/>
                  </a:lnTo>
                  <a:lnTo>
                    <a:pt x="1038091" y="1473200"/>
                  </a:lnTo>
                  <a:lnTo>
                    <a:pt x="1080190" y="1460500"/>
                  </a:lnTo>
                  <a:lnTo>
                    <a:pt x="1100574" y="1447800"/>
                  </a:lnTo>
                  <a:lnTo>
                    <a:pt x="713398" y="1447800"/>
                  </a:lnTo>
                  <a:lnTo>
                    <a:pt x="664968" y="1435100"/>
                  </a:lnTo>
                  <a:lnTo>
                    <a:pt x="617358" y="1435100"/>
                  </a:lnTo>
                  <a:lnTo>
                    <a:pt x="525167" y="1409700"/>
                  </a:lnTo>
                  <a:lnTo>
                    <a:pt x="480868" y="1384300"/>
                  </a:lnTo>
                  <a:lnTo>
                    <a:pt x="437955" y="1358900"/>
                  </a:lnTo>
                  <a:lnTo>
                    <a:pt x="396569" y="1333500"/>
                  </a:lnTo>
                  <a:lnTo>
                    <a:pt x="356853" y="1308100"/>
                  </a:lnTo>
                  <a:lnTo>
                    <a:pt x="318947" y="1282700"/>
                  </a:lnTo>
                  <a:lnTo>
                    <a:pt x="282994" y="1244600"/>
                  </a:lnTo>
                  <a:lnTo>
                    <a:pt x="249499" y="1206500"/>
                  </a:lnTo>
                  <a:lnTo>
                    <a:pt x="218916" y="1168400"/>
                  </a:lnTo>
                  <a:lnTo>
                    <a:pt x="191303" y="1130300"/>
                  </a:lnTo>
                  <a:lnTo>
                    <a:pt x="166719" y="1092200"/>
                  </a:lnTo>
                  <a:lnTo>
                    <a:pt x="145222" y="1054100"/>
                  </a:lnTo>
                  <a:lnTo>
                    <a:pt x="126871" y="1003300"/>
                  </a:lnTo>
                  <a:lnTo>
                    <a:pt x="111726" y="965200"/>
                  </a:lnTo>
                  <a:lnTo>
                    <a:pt x="99844" y="914400"/>
                  </a:lnTo>
                  <a:lnTo>
                    <a:pt x="91284" y="863600"/>
                  </a:lnTo>
                  <a:lnTo>
                    <a:pt x="86105" y="812800"/>
                  </a:lnTo>
                  <a:lnTo>
                    <a:pt x="84366" y="762000"/>
                  </a:lnTo>
                  <a:lnTo>
                    <a:pt x="86145" y="723900"/>
                  </a:lnTo>
                  <a:lnTo>
                    <a:pt x="91440" y="673100"/>
                  </a:lnTo>
                  <a:lnTo>
                    <a:pt x="100190" y="622300"/>
                  </a:lnTo>
                  <a:lnTo>
                    <a:pt x="112330" y="571500"/>
                  </a:lnTo>
                  <a:lnTo>
                    <a:pt x="127798" y="533400"/>
                  </a:lnTo>
                  <a:lnTo>
                    <a:pt x="146532" y="482600"/>
                  </a:lnTo>
                  <a:lnTo>
                    <a:pt x="78790" y="431800"/>
                  </a:lnTo>
                  <a:close/>
                </a:path>
                <a:path w="1525270" h="1524000">
                  <a:moveTo>
                    <a:pt x="1120957" y="88900"/>
                  </a:moveTo>
                  <a:lnTo>
                    <a:pt x="811614" y="88900"/>
                  </a:lnTo>
                  <a:lnTo>
                    <a:pt x="860041" y="101600"/>
                  </a:lnTo>
                  <a:lnTo>
                    <a:pt x="907649" y="101600"/>
                  </a:lnTo>
                  <a:lnTo>
                    <a:pt x="999837" y="127000"/>
                  </a:lnTo>
                  <a:lnTo>
                    <a:pt x="1044136" y="152400"/>
                  </a:lnTo>
                  <a:lnTo>
                    <a:pt x="1087048" y="177800"/>
                  </a:lnTo>
                  <a:lnTo>
                    <a:pt x="1128433" y="190500"/>
                  </a:lnTo>
                  <a:lnTo>
                    <a:pt x="1168149" y="228600"/>
                  </a:lnTo>
                  <a:lnTo>
                    <a:pt x="1206055" y="254000"/>
                  </a:lnTo>
                  <a:lnTo>
                    <a:pt x="1242009" y="292100"/>
                  </a:lnTo>
                  <a:lnTo>
                    <a:pt x="1275506" y="330200"/>
                  </a:lnTo>
                  <a:lnTo>
                    <a:pt x="1306091" y="368300"/>
                  </a:lnTo>
                  <a:lnTo>
                    <a:pt x="1333705" y="406400"/>
                  </a:lnTo>
                  <a:lnTo>
                    <a:pt x="1358289" y="444500"/>
                  </a:lnTo>
                  <a:lnTo>
                    <a:pt x="1379785" y="482600"/>
                  </a:lnTo>
                  <a:lnTo>
                    <a:pt x="1398135" y="533400"/>
                  </a:lnTo>
                  <a:lnTo>
                    <a:pt x="1413280" y="571500"/>
                  </a:lnTo>
                  <a:lnTo>
                    <a:pt x="1425161" y="622300"/>
                  </a:lnTo>
                  <a:lnTo>
                    <a:pt x="1433719" y="673100"/>
                  </a:lnTo>
                  <a:lnTo>
                    <a:pt x="1438898" y="723900"/>
                  </a:lnTo>
                  <a:lnTo>
                    <a:pt x="1440637" y="762000"/>
                  </a:lnTo>
                  <a:lnTo>
                    <a:pt x="1438898" y="812800"/>
                  </a:lnTo>
                  <a:lnTo>
                    <a:pt x="1433719" y="863600"/>
                  </a:lnTo>
                  <a:lnTo>
                    <a:pt x="1425161" y="914400"/>
                  </a:lnTo>
                  <a:lnTo>
                    <a:pt x="1413280" y="965200"/>
                  </a:lnTo>
                  <a:lnTo>
                    <a:pt x="1398135" y="1003300"/>
                  </a:lnTo>
                  <a:lnTo>
                    <a:pt x="1379785" y="1054100"/>
                  </a:lnTo>
                  <a:lnTo>
                    <a:pt x="1358289" y="1092200"/>
                  </a:lnTo>
                  <a:lnTo>
                    <a:pt x="1333705" y="1130300"/>
                  </a:lnTo>
                  <a:lnTo>
                    <a:pt x="1306091" y="1168400"/>
                  </a:lnTo>
                  <a:lnTo>
                    <a:pt x="1275506" y="1206500"/>
                  </a:lnTo>
                  <a:lnTo>
                    <a:pt x="1242009" y="1244600"/>
                  </a:lnTo>
                  <a:lnTo>
                    <a:pt x="1206055" y="1282700"/>
                  </a:lnTo>
                  <a:lnTo>
                    <a:pt x="1168149" y="1308100"/>
                  </a:lnTo>
                  <a:lnTo>
                    <a:pt x="1128433" y="1333500"/>
                  </a:lnTo>
                  <a:lnTo>
                    <a:pt x="1087048" y="1358900"/>
                  </a:lnTo>
                  <a:lnTo>
                    <a:pt x="1044136" y="1384300"/>
                  </a:lnTo>
                  <a:lnTo>
                    <a:pt x="999837" y="1409700"/>
                  </a:lnTo>
                  <a:lnTo>
                    <a:pt x="907649" y="1435100"/>
                  </a:lnTo>
                  <a:lnTo>
                    <a:pt x="860041" y="1435100"/>
                  </a:lnTo>
                  <a:lnTo>
                    <a:pt x="811614" y="1447800"/>
                  </a:lnTo>
                  <a:lnTo>
                    <a:pt x="1100574" y="1447800"/>
                  </a:lnTo>
                  <a:lnTo>
                    <a:pt x="1120957" y="1435100"/>
                  </a:lnTo>
                  <a:lnTo>
                    <a:pt x="1160301" y="1422400"/>
                  </a:lnTo>
                  <a:lnTo>
                    <a:pt x="1198134" y="1397000"/>
                  </a:lnTo>
                  <a:lnTo>
                    <a:pt x="1234366" y="1371600"/>
                  </a:lnTo>
                  <a:lnTo>
                    <a:pt x="1268908" y="1333500"/>
                  </a:lnTo>
                  <a:lnTo>
                    <a:pt x="1301670" y="1308100"/>
                  </a:lnTo>
                  <a:lnTo>
                    <a:pt x="1332564" y="1270000"/>
                  </a:lnTo>
                  <a:lnTo>
                    <a:pt x="1361499" y="1244600"/>
                  </a:lnTo>
                  <a:lnTo>
                    <a:pt x="1388387" y="1206500"/>
                  </a:lnTo>
                  <a:lnTo>
                    <a:pt x="1413138" y="1168400"/>
                  </a:lnTo>
                  <a:lnTo>
                    <a:pt x="1435663" y="1130300"/>
                  </a:lnTo>
                  <a:lnTo>
                    <a:pt x="1455872" y="1079500"/>
                  </a:lnTo>
                  <a:lnTo>
                    <a:pt x="1473677" y="1041400"/>
                  </a:lnTo>
                  <a:lnTo>
                    <a:pt x="1488988" y="1003300"/>
                  </a:lnTo>
                  <a:lnTo>
                    <a:pt x="1501715" y="952500"/>
                  </a:lnTo>
                  <a:lnTo>
                    <a:pt x="1511769" y="914400"/>
                  </a:lnTo>
                  <a:lnTo>
                    <a:pt x="1519062" y="863600"/>
                  </a:lnTo>
                  <a:lnTo>
                    <a:pt x="1523503" y="812800"/>
                  </a:lnTo>
                  <a:lnTo>
                    <a:pt x="1525003" y="762000"/>
                  </a:lnTo>
                  <a:lnTo>
                    <a:pt x="1523503" y="723900"/>
                  </a:lnTo>
                  <a:lnTo>
                    <a:pt x="1519062" y="673100"/>
                  </a:lnTo>
                  <a:lnTo>
                    <a:pt x="1511769" y="622300"/>
                  </a:lnTo>
                  <a:lnTo>
                    <a:pt x="1501715" y="584200"/>
                  </a:lnTo>
                  <a:lnTo>
                    <a:pt x="1488988" y="533400"/>
                  </a:lnTo>
                  <a:lnTo>
                    <a:pt x="1473677" y="495300"/>
                  </a:lnTo>
                  <a:lnTo>
                    <a:pt x="1455872" y="444500"/>
                  </a:lnTo>
                  <a:lnTo>
                    <a:pt x="1435663" y="406400"/>
                  </a:lnTo>
                  <a:lnTo>
                    <a:pt x="1413138" y="368300"/>
                  </a:lnTo>
                  <a:lnTo>
                    <a:pt x="1388387" y="330200"/>
                  </a:lnTo>
                  <a:lnTo>
                    <a:pt x="1361499" y="292100"/>
                  </a:lnTo>
                  <a:lnTo>
                    <a:pt x="1332564" y="266700"/>
                  </a:lnTo>
                  <a:lnTo>
                    <a:pt x="1301670" y="228600"/>
                  </a:lnTo>
                  <a:lnTo>
                    <a:pt x="1268908" y="203200"/>
                  </a:lnTo>
                  <a:lnTo>
                    <a:pt x="1234366" y="165100"/>
                  </a:lnTo>
                  <a:lnTo>
                    <a:pt x="1198134" y="139700"/>
                  </a:lnTo>
                  <a:lnTo>
                    <a:pt x="1160301" y="114300"/>
                  </a:lnTo>
                  <a:lnTo>
                    <a:pt x="1120957" y="88900"/>
                  </a:lnTo>
                  <a:close/>
                </a:path>
                <a:path w="1525270" h="1524000">
                  <a:moveTo>
                    <a:pt x="469823" y="596900"/>
                  </a:moveTo>
                  <a:lnTo>
                    <a:pt x="368185" y="609600"/>
                  </a:lnTo>
                  <a:lnTo>
                    <a:pt x="356041" y="647700"/>
                  </a:lnTo>
                  <a:lnTo>
                    <a:pt x="347154" y="685800"/>
                  </a:lnTo>
                  <a:lnTo>
                    <a:pt x="341696" y="723900"/>
                  </a:lnTo>
                  <a:lnTo>
                    <a:pt x="339839" y="762000"/>
                  </a:lnTo>
                  <a:lnTo>
                    <a:pt x="342684" y="812800"/>
                  </a:lnTo>
                  <a:lnTo>
                    <a:pt x="351007" y="863600"/>
                  </a:lnTo>
                  <a:lnTo>
                    <a:pt x="364491" y="914400"/>
                  </a:lnTo>
                  <a:lnTo>
                    <a:pt x="382818" y="952500"/>
                  </a:lnTo>
                  <a:lnTo>
                    <a:pt x="405672" y="990600"/>
                  </a:lnTo>
                  <a:lnTo>
                    <a:pt x="432735" y="1028700"/>
                  </a:lnTo>
                  <a:lnTo>
                    <a:pt x="463689" y="1066800"/>
                  </a:lnTo>
                  <a:lnTo>
                    <a:pt x="498218" y="1092200"/>
                  </a:lnTo>
                  <a:lnTo>
                    <a:pt x="536004" y="1130300"/>
                  </a:lnTo>
                  <a:lnTo>
                    <a:pt x="576730" y="1143000"/>
                  </a:lnTo>
                  <a:lnTo>
                    <a:pt x="620078" y="1168400"/>
                  </a:lnTo>
                  <a:lnTo>
                    <a:pt x="665732" y="1181100"/>
                  </a:lnTo>
                  <a:lnTo>
                    <a:pt x="713373" y="1193800"/>
                  </a:lnTo>
                  <a:lnTo>
                    <a:pt x="811997" y="1193800"/>
                  </a:lnTo>
                  <a:lnTo>
                    <a:pt x="859638" y="1181100"/>
                  </a:lnTo>
                  <a:lnTo>
                    <a:pt x="905291" y="1168400"/>
                  </a:lnTo>
                  <a:lnTo>
                    <a:pt x="948638" y="1143000"/>
                  </a:lnTo>
                  <a:lnTo>
                    <a:pt x="989363" y="1130300"/>
                  </a:lnTo>
                  <a:lnTo>
                    <a:pt x="1014553" y="1104900"/>
                  </a:lnTo>
                  <a:lnTo>
                    <a:pt x="716818" y="1104900"/>
                  </a:lnTo>
                  <a:lnTo>
                    <a:pt x="672807" y="1092200"/>
                  </a:lnTo>
                  <a:lnTo>
                    <a:pt x="631059" y="1079500"/>
                  </a:lnTo>
                  <a:lnTo>
                    <a:pt x="591980" y="1054100"/>
                  </a:lnTo>
                  <a:lnTo>
                    <a:pt x="555977" y="1041400"/>
                  </a:lnTo>
                  <a:lnTo>
                    <a:pt x="523455" y="1003300"/>
                  </a:lnTo>
                  <a:lnTo>
                    <a:pt x="494822" y="977900"/>
                  </a:lnTo>
                  <a:lnTo>
                    <a:pt x="470484" y="939800"/>
                  </a:lnTo>
                  <a:lnTo>
                    <a:pt x="450846" y="901700"/>
                  </a:lnTo>
                  <a:lnTo>
                    <a:pt x="436316" y="863600"/>
                  </a:lnTo>
                  <a:lnTo>
                    <a:pt x="427301" y="812800"/>
                  </a:lnTo>
                  <a:lnTo>
                    <a:pt x="424205" y="762000"/>
                  </a:lnTo>
                  <a:lnTo>
                    <a:pt x="427255" y="723900"/>
                  </a:lnTo>
                  <a:lnTo>
                    <a:pt x="436141" y="673100"/>
                  </a:lnTo>
                  <a:lnTo>
                    <a:pt x="450464" y="635000"/>
                  </a:lnTo>
                  <a:lnTo>
                    <a:pt x="469823" y="596900"/>
                  </a:lnTo>
                  <a:close/>
                </a:path>
                <a:path w="1525270" h="1524000">
                  <a:moveTo>
                    <a:pt x="1027148" y="431800"/>
                  </a:moveTo>
                  <a:lnTo>
                    <a:pt x="808552" y="431800"/>
                  </a:lnTo>
                  <a:lnTo>
                    <a:pt x="852563" y="444500"/>
                  </a:lnTo>
                  <a:lnTo>
                    <a:pt x="894311" y="457200"/>
                  </a:lnTo>
                  <a:lnTo>
                    <a:pt x="933390" y="469900"/>
                  </a:lnTo>
                  <a:lnTo>
                    <a:pt x="969394" y="495300"/>
                  </a:lnTo>
                  <a:lnTo>
                    <a:pt x="1001915" y="533400"/>
                  </a:lnTo>
                  <a:lnTo>
                    <a:pt x="1030548" y="558800"/>
                  </a:lnTo>
                  <a:lnTo>
                    <a:pt x="1054887" y="596900"/>
                  </a:lnTo>
                  <a:lnTo>
                    <a:pt x="1074524" y="635000"/>
                  </a:lnTo>
                  <a:lnTo>
                    <a:pt x="1089054" y="673100"/>
                  </a:lnTo>
                  <a:lnTo>
                    <a:pt x="1098070" y="723900"/>
                  </a:lnTo>
                  <a:lnTo>
                    <a:pt x="1101166" y="762000"/>
                  </a:lnTo>
                  <a:lnTo>
                    <a:pt x="1098070" y="812800"/>
                  </a:lnTo>
                  <a:lnTo>
                    <a:pt x="1089054" y="863600"/>
                  </a:lnTo>
                  <a:lnTo>
                    <a:pt x="1074524" y="901700"/>
                  </a:lnTo>
                  <a:lnTo>
                    <a:pt x="1054887" y="939800"/>
                  </a:lnTo>
                  <a:lnTo>
                    <a:pt x="1030548" y="977900"/>
                  </a:lnTo>
                  <a:lnTo>
                    <a:pt x="1001915" y="1003300"/>
                  </a:lnTo>
                  <a:lnTo>
                    <a:pt x="969394" y="1041400"/>
                  </a:lnTo>
                  <a:lnTo>
                    <a:pt x="933390" y="1054100"/>
                  </a:lnTo>
                  <a:lnTo>
                    <a:pt x="894311" y="1079500"/>
                  </a:lnTo>
                  <a:lnTo>
                    <a:pt x="852563" y="1092200"/>
                  </a:lnTo>
                  <a:lnTo>
                    <a:pt x="808552" y="1104900"/>
                  </a:lnTo>
                  <a:lnTo>
                    <a:pt x="1014553" y="1104900"/>
                  </a:lnTo>
                  <a:lnTo>
                    <a:pt x="1027148" y="1092200"/>
                  </a:lnTo>
                  <a:lnTo>
                    <a:pt x="1061675" y="1066800"/>
                  </a:lnTo>
                  <a:lnTo>
                    <a:pt x="1092628" y="1028700"/>
                  </a:lnTo>
                  <a:lnTo>
                    <a:pt x="1119690" y="990600"/>
                  </a:lnTo>
                  <a:lnTo>
                    <a:pt x="1142542" y="952500"/>
                  </a:lnTo>
                  <a:lnTo>
                    <a:pt x="1160869" y="914400"/>
                  </a:lnTo>
                  <a:lnTo>
                    <a:pt x="1174352" y="863600"/>
                  </a:lnTo>
                  <a:lnTo>
                    <a:pt x="1182674" y="812800"/>
                  </a:lnTo>
                  <a:lnTo>
                    <a:pt x="1185519" y="762000"/>
                  </a:lnTo>
                  <a:lnTo>
                    <a:pt x="1182674" y="723900"/>
                  </a:lnTo>
                  <a:lnTo>
                    <a:pt x="1174352" y="673100"/>
                  </a:lnTo>
                  <a:lnTo>
                    <a:pt x="1160869" y="622300"/>
                  </a:lnTo>
                  <a:lnTo>
                    <a:pt x="1142542" y="584200"/>
                  </a:lnTo>
                  <a:lnTo>
                    <a:pt x="1119690" y="546100"/>
                  </a:lnTo>
                  <a:lnTo>
                    <a:pt x="1092628" y="508000"/>
                  </a:lnTo>
                  <a:lnTo>
                    <a:pt x="1061675" y="469900"/>
                  </a:lnTo>
                  <a:lnTo>
                    <a:pt x="1027148" y="431800"/>
                  </a:lnTo>
                  <a:close/>
                </a:path>
                <a:path w="1525270" h="1524000">
                  <a:moveTo>
                    <a:pt x="590372" y="711200"/>
                  </a:moveTo>
                  <a:lnTo>
                    <a:pt x="587097" y="723900"/>
                  </a:lnTo>
                  <a:lnTo>
                    <a:pt x="584709" y="736600"/>
                  </a:lnTo>
                  <a:lnTo>
                    <a:pt x="583248" y="749300"/>
                  </a:lnTo>
                  <a:lnTo>
                    <a:pt x="582752" y="762000"/>
                  </a:lnTo>
                  <a:lnTo>
                    <a:pt x="589181" y="812800"/>
                  </a:lnTo>
                  <a:lnTo>
                    <a:pt x="607324" y="863600"/>
                  </a:lnTo>
                  <a:lnTo>
                    <a:pt x="635466" y="889000"/>
                  </a:lnTo>
                  <a:lnTo>
                    <a:pt x="671891" y="927100"/>
                  </a:lnTo>
                  <a:lnTo>
                    <a:pt x="714882" y="939800"/>
                  </a:lnTo>
                  <a:lnTo>
                    <a:pt x="762723" y="952500"/>
                  </a:lnTo>
                  <a:lnTo>
                    <a:pt x="810565" y="939800"/>
                  </a:lnTo>
                  <a:lnTo>
                    <a:pt x="853556" y="927100"/>
                  </a:lnTo>
                  <a:lnTo>
                    <a:pt x="889981" y="889000"/>
                  </a:lnTo>
                  <a:lnTo>
                    <a:pt x="918122" y="863600"/>
                  </a:lnTo>
                  <a:lnTo>
                    <a:pt x="922658" y="850900"/>
                  </a:lnTo>
                  <a:lnTo>
                    <a:pt x="728186" y="850900"/>
                  </a:lnTo>
                  <a:lnTo>
                    <a:pt x="713531" y="838200"/>
                  </a:lnTo>
                  <a:lnTo>
                    <a:pt x="700493" y="825500"/>
                  </a:lnTo>
                  <a:lnTo>
                    <a:pt x="590372" y="711200"/>
                  </a:lnTo>
                  <a:close/>
                </a:path>
                <a:path w="1525270" h="1524000">
                  <a:moveTo>
                    <a:pt x="762723" y="584200"/>
                  </a:moveTo>
                  <a:lnTo>
                    <a:pt x="736392" y="584200"/>
                  </a:lnTo>
                  <a:lnTo>
                    <a:pt x="723656" y="596900"/>
                  </a:lnTo>
                  <a:lnTo>
                    <a:pt x="711250" y="596900"/>
                  </a:lnTo>
                  <a:lnTo>
                    <a:pt x="821232" y="711200"/>
                  </a:lnTo>
                  <a:lnTo>
                    <a:pt x="839963" y="736600"/>
                  </a:lnTo>
                  <a:lnTo>
                    <a:pt x="846205" y="762000"/>
                  </a:lnTo>
                  <a:lnTo>
                    <a:pt x="839958" y="800100"/>
                  </a:lnTo>
                  <a:lnTo>
                    <a:pt x="821220" y="825500"/>
                  </a:lnTo>
                  <a:lnTo>
                    <a:pt x="808197" y="838200"/>
                  </a:lnTo>
                  <a:lnTo>
                    <a:pt x="793549" y="850900"/>
                  </a:lnTo>
                  <a:lnTo>
                    <a:pt x="922658" y="850900"/>
                  </a:lnTo>
                  <a:lnTo>
                    <a:pt x="936266" y="812800"/>
                  </a:lnTo>
                  <a:lnTo>
                    <a:pt x="942695" y="762000"/>
                  </a:lnTo>
                  <a:lnTo>
                    <a:pt x="936266" y="723900"/>
                  </a:lnTo>
                  <a:lnTo>
                    <a:pt x="918122" y="673100"/>
                  </a:lnTo>
                  <a:lnTo>
                    <a:pt x="889981" y="635000"/>
                  </a:lnTo>
                  <a:lnTo>
                    <a:pt x="853556" y="609600"/>
                  </a:lnTo>
                  <a:lnTo>
                    <a:pt x="810565" y="596900"/>
                  </a:lnTo>
                  <a:lnTo>
                    <a:pt x="762723" y="584200"/>
                  </a:lnTo>
                  <a:close/>
                </a:path>
                <a:path w="1525270" h="1524000">
                  <a:moveTo>
                    <a:pt x="569469" y="533400"/>
                  </a:moveTo>
                  <a:lnTo>
                    <a:pt x="491756" y="533400"/>
                  </a:lnTo>
                  <a:lnTo>
                    <a:pt x="746302" y="787400"/>
                  </a:lnTo>
                  <a:lnTo>
                    <a:pt x="753579" y="800100"/>
                  </a:lnTo>
                  <a:lnTo>
                    <a:pt x="768146" y="800100"/>
                  </a:lnTo>
                  <a:lnTo>
                    <a:pt x="775436" y="787400"/>
                  </a:lnTo>
                  <a:lnTo>
                    <a:pt x="780986" y="787400"/>
                  </a:lnTo>
                  <a:lnTo>
                    <a:pt x="787237" y="774700"/>
                  </a:lnTo>
                  <a:lnTo>
                    <a:pt x="789320" y="762000"/>
                  </a:lnTo>
                  <a:lnTo>
                    <a:pt x="787237" y="749300"/>
                  </a:lnTo>
                  <a:lnTo>
                    <a:pt x="780986" y="749300"/>
                  </a:lnTo>
                  <a:lnTo>
                    <a:pt x="569469" y="533400"/>
                  </a:lnTo>
                  <a:close/>
                </a:path>
                <a:path w="1525270" h="1524000">
                  <a:moveTo>
                    <a:pt x="291503" y="0"/>
                  </a:moveTo>
                  <a:lnTo>
                    <a:pt x="223596" y="228600"/>
                  </a:lnTo>
                  <a:lnTo>
                    <a:pt x="330" y="292100"/>
                  </a:lnTo>
                  <a:lnTo>
                    <a:pt x="338924" y="558800"/>
                  </a:lnTo>
                  <a:lnTo>
                    <a:pt x="491756" y="533400"/>
                  </a:lnTo>
                  <a:lnTo>
                    <a:pt x="569469" y="533400"/>
                  </a:lnTo>
                  <a:lnTo>
                    <a:pt x="532142" y="495300"/>
                  </a:lnTo>
                  <a:lnTo>
                    <a:pt x="557123" y="342900"/>
                  </a:lnTo>
                  <a:lnTo>
                    <a:pt x="291503" y="0"/>
                  </a:lnTo>
                  <a:close/>
                </a:path>
                <a:path w="1525270" h="1524000">
                  <a:moveTo>
                    <a:pt x="811997" y="342900"/>
                  </a:moveTo>
                  <a:lnTo>
                    <a:pt x="722722" y="342900"/>
                  </a:lnTo>
                  <a:lnTo>
                    <a:pt x="683812" y="355600"/>
                  </a:lnTo>
                  <a:lnTo>
                    <a:pt x="646121" y="355600"/>
                  </a:lnTo>
                  <a:lnTo>
                    <a:pt x="609815" y="368300"/>
                  </a:lnTo>
                  <a:lnTo>
                    <a:pt x="593369" y="469900"/>
                  </a:lnTo>
                  <a:lnTo>
                    <a:pt x="632174" y="457200"/>
                  </a:lnTo>
                  <a:lnTo>
                    <a:pt x="673593" y="444500"/>
                  </a:lnTo>
                  <a:lnTo>
                    <a:pt x="717229" y="431800"/>
                  </a:lnTo>
                  <a:lnTo>
                    <a:pt x="1027148" y="431800"/>
                  </a:lnTo>
                  <a:lnTo>
                    <a:pt x="989363" y="406400"/>
                  </a:lnTo>
                  <a:lnTo>
                    <a:pt x="948638" y="393700"/>
                  </a:lnTo>
                  <a:lnTo>
                    <a:pt x="905291" y="368300"/>
                  </a:lnTo>
                  <a:lnTo>
                    <a:pt x="859638" y="355600"/>
                  </a:lnTo>
                  <a:lnTo>
                    <a:pt x="811997" y="342900"/>
                  </a:lnTo>
                  <a:close/>
                </a:path>
                <a:path w="1525270" h="1524000">
                  <a:moveTo>
                    <a:pt x="904689" y="12700"/>
                  </a:moveTo>
                  <a:lnTo>
                    <a:pt x="660792" y="12700"/>
                  </a:lnTo>
                  <a:lnTo>
                    <a:pt x="611410" y="25400"/>
                  </a:lnTo>
                  <a:lnTo>
                    <a:pt x="563154" y="25400"/>
                  </a:lnTo>
                  <a:lnTo>
                    <a:pt x="516131" y="50800"/>
                  </a:lnTo>
                  <a:lnTo>
                    <a:pt x="470448" y="63500"/>
                  </a:lnTo>
                  <a:lnTo>
                    <a:pt x="426211" y="88900"/>
                  </a:lnTo>
                  <a:lnTo>
                    <a:pt x="479386" y="152400"/>
                  </a:lnTo>
                  <a:lnTo>
                    <a:pt x="523897" y="127000"/>
                  </a:lnTo>
                  <a:lnTo>
                    <a:pt x="616556" y="101600"/>
                  </a:lnTo>
                  <a:lnTo>
                    <a:pt x="664420" y="101600"/>
                  </a:lnTo>
                  <a:lnTo>
                    <a:pt x="713118" y="88900"/>
                  </a:lnTo>
                  <a:lnTo>
                    <a:pt x="1120957" y="88900"/>
                  </a:lnTo>
                  <a:lnTo>
                    <a:pt x="1080190" y="76200"/>
                  </a:lnTo>
                  <a:lnTo>
                    <a:pt x="1038091" y="50800"/>
                  </a:lnTo>
                  <a:lnTo>
                    <a:pt x="950251" y="25400"/>
                  </a:lnTo>
                  <a:lnTo>
                    <a:pt x="904689" y="12700"/>
                  </a:lnTo>
                  <a:close/>
                </a:path>
                <a:path w="1525270" h="1524000">
                  <a:moveTo>
                    <a:pt x="762507" y="0"/>
                  </a:moveTo>
                  <a:lnTo>
                    <a:pt x="711194" y="12700"/>
                  </a:lnTo>
                  <a:lnTo>
                    <a:pt x="810728" y="12700"/>
                  </a:lnTo>
                  <a:lnTo>
                    <a:pt x="762507" y="0"/>
                  </a:lnTo>
                  <a:close/>
                </a:path>
              </a:pathLst>
            </a:custGeom>
            <a:solidFill>
              <a:srgbClr val="9AD7F9"/>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0" name="object 7">
              <a:extLst>
                <a:ext uri="{FF2B5EF4-FFF2-40B4-BE49-F238E27FC236}">
                  <a16:creationId xmlns:a16="http://schemas.microsoft.com/office/drawing/2014/main" id="{C3A81252-E779-4A12-AE9D-A607CF636EB1}"/>
                </a:ext>
              </a:extLst>
            </p:cNvPr>
            <p:cNvSpPr/>
            <p:nvPr/>
          </p:nvSpPr>
          <p:spPr>
            <a:xfrm>
              <a:off x="1476375" y="6273025"/>
              <a:ext cx="3451860" cy="344805"/>
            </a:xfrm>
            <a:custGeom>
              <a:avLst/>
              <a:gdLst/>
              <a:ahLst/>
              <a:cxnLst/>
              <a:rect l="l" t="t" r="r" b="b"/>
              <a:pathLst>
                <a:path w="3451860" h="344804">
                  <a:moveTo>
                    <a:pt x="1199095" y="172161"/>
                  </a:moveTo>
                  <a:lnTo>
                    <a:pt x="1092949" y="0"/>
                  </a:lnTo>
                  <a:lnTo>
                    <a:pt x="0" y="0"/>
                  </a:lnTo>
                  <a:lnTo>
                    <a:pt x="103619" y="172161"/>
                  </a:lnTo>
                  <a:lnTo>
                    <a:pt x="0" y="344322"/>
                  </a:lnTo>
                  <a:lnTo>
                    <a:pt x="1092949" y="344322"/>
                  </a:lnTo>
                  <a:lnTo>
                    <a:pt x="1199095" y="172161"/>
                  </a:lnTo>
                  <a:close/>
                </a:path>
                <a:path w="3451860" h="344804">
                  <a:moveTo>
                    <a:pt x="3451402" y="172161"/>
                  </a:moveTo>
                  <a:lnTo>
                    <a:pt x="3345256" y="0"/>
                  </a:lnTo>
                  <a:lnTo>
                    <a:pt x="2252294" y="0"/>
                  </a:lnTo>
                  <a:lnTo>
                    <a:pt x="2355926" y="172161"/>
                  </a:lnTo>
                  <a:lnTo>
                    <a:pt x="2252294" y="344322"/>
                  </a:lnTo>
                  <a:lnTo>
                    <a:pt x="3345256" y="344322"/>
                  </a:lnTo>
                  <a:lnTo>
                    <a:pt x="3451402" y="172161"/>
                  </a:lnTo>
                  <a:close/>
                </a:path>
              </a:pathLst>
            </a:custGeom>
            <a:solidFill>
              <a:srgbClr val="00A9EB"/>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1" name="object 8">
              <a:extLst>
                <a:ext uri="{FF2B5EF4-FFF2-40B4-BE49-F238E27FC236}">
                  <a16:creationId xmlns:a16="http://schemas.microsoft.com/office/drawing/2014/main" id="{1125896C-7868-4CDA-91C6-F10C8046E0E4}"/>
                </a:ext>
              </a:extLst>
            </p:cNvPr>
            <p:cNvSpPr/>
            <p:nvPr/>
          </p:nvSpPr>
          <p:spPr>
            <a:xfrm>
              <a:off x="350202" y="6273025"/>
              <a:ext cx="3451860" cy="344805"/>
            </a:xfrm>
            <a:custGeom>
              <a:avLst/>
              <a:gdLst/>
              <a:ahLst/>
              <a:cxnLst/>
              <a:rect l="l" t="t" r="r" b="b"/>
              <a:pathLst>
                <a:path w="3451860" h="344804">
                  <a:moveTo>
                    <a:pt x="1199108" y="172161"/>
                  </a:moveTo>
                  <a:lnTo>
                    <a:pt x="1092962" y="0"/>
                  </a:lnTo>
                  <a:lnTo>
                    <a:pt x="0" y="0"/>
                  </a:lnTo>
                  <a:lnTo>
                    <a:pt x="103632" y="172161"/>
                  </a:lnTo>
                  <a:lnTo>
                    <a:pt x="0" y="344322"/>
                  </a:lnTo>
                  <a:lnTo>
                    <a:pt x="1092962" y="344322"/>
                  </a:lnTo>
                  <a:lnTo>
                    <a:pt x="1199108" y="172161"/>
                  </a:lnTo>
                  <a:close/>
                </a:path>
                <a:path w="3451860" h="344804">
                  <a:moveTo>
                    <a:pt x="3451415" y="172161"/>
                  </a:moveTo>
                  <a:lnTo>
                    <a:pt x="3345269" y="0"/>
                  </a:lnTo>
                  <a:lnTo>
                    <a:pt x="2252307" y="0"/>
                  </a:lnTo>
                  <a:lnTo>
                    <a:pt x="2355939" y="172161"/>
                  </a:lnTo>
                  <a:lnTo>
                    <a:pt x="2252307" y="344322"/>
                  </a:lnTo>
                  <a:lnTo>
                    <a:pt x="3345269" y="344322"/>
                  </a:lnTo>
                  <a:lnTo>
                    <a:pt x="3451415" y="172161"/>
                  </a:lnTo>
                  <a:close/>
                </a:path>
              </a:pathLst>
            </a:custGeom>
            <a:solidFill>
              <a:srgbClr val="00629F"/>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grpSp>
      <p:sp>
        <p:nvSpPr>
          <p:cNvPr id="12" name="object 9">
            <a:extLst>
              <a:ext uri="{FF2B5EF4-FFF2-40B4-BE49-F238E27FC236}">
                <a16:creationId xmlns:a16="http://schemas.microsoft.com/office/drawing/2014/main" id="{7A713C78-D14A-4986-B00E-FEDEC519E9B8}"/>
              </a:ext>
            </a:extLst>
          </p:cNvPr>
          <p:cNvSpPr txBox="1"/>
          <p:nvPr/>
        </p:nvSpPr>
        <p:spPr>
          <a:xfrm>
            <a:off x="1913167" y="4475601"/>
            <a:ext cx="539750" cy="151323"/>
          </a:xfrm>
          <a:prstGeom prst="rect">
            <a:avLst/>
          </a:prstGeom>
        </p:spPr>
        <p:txBody>
          <a:bodyPr vert="horz" wrap="square" lIns="0" tIns="12700" rIns="0" bIns="0" rtlCol="0">
            <a:spAutoFit/>
          </a:bodyPr>
          <a:lstStyle/>
          <a:p>
            <a:pPr marL="12699">
              <a:spcBef>
                <a:spcPts val="100"/>
              </a:spcBef>
            </a:pPr>
            <a:r>
              <a:rPr sz="900" b="1" spc="-5" dirty="0">
                <a:solidFill>
                  <a:srgbClr val="FFFFFF"/>
                </a:solidFill>
                <a:latin typeface="Neue Frutiger World" panose="020B0603040304020203" pitchFamily="34" charset="0"/>
                <a:cs typeface="Neue Frutiger World" panose="020B0603040304020203" pitchFamily="34" charset="0"/>
              </a:rPr>
              <a:t>Extractor</a:t>
            </a:r>
            <a:endParaRPr sz="900" dirty="0">
              <a:latin typeface="Neue Frutiger World" panose="020B0603040304020203" pitchFamily="34" charset="0"/>
              <a:cs typeface="Neue Frutiger World" panose="020B0603040304020203" pitchFamily="34" charset="0"/>
            </a:endParaRPr>
          </a:p>
        </p:txBody>
      </p:sp>
      <p:sp>
        <p:nvSpPr>
          <p:cNvPr id="13" name="object 10">
            <a:extLst>
              <a:ext uri="{FF2B5EF4-FFF2-40B4-BE49-F238E27FC236}">
                <a16:creationId xmlns:a16="http://schemas.microsoft.com/office/drawing/2014/main" id="{ED1067DB-86E1-4057-A57C-4C1EE758893B}"/>
              </a:ext>
            </a:extLst>
          </p:cNvPr>
          <p:cNvSpPr txBox="1"/>
          <p:nvPr/>
        </p:nvSpPr>
        <p:spPr>
          <a:xfrm>
            <a:off x="2818491" y="4435089"/>
            <a:ext cx="693339" cy="289823"/>
          </a:xfrm>
          <a:prstGeom prst="rect">
            <a:avLst/>
          </a:prstGeom>
        </p:spPr>
        <p:txBody>
          <a:bodyPr vert="horz" wrap="square" lIns="0" tIns="12700" rIns="0" bIns="0" rtlCol="0">
            <a:spAutoFit/>
          </a:bodyPr>
          <a:lstStyle/>
          <a:p>
            <a:pPr marL="12699" marR="5079">
              <a:spcBef>
                <a:spcPts val="100"/>
              </a:spcBef>
            </a:pPr>
            <a:r>
              <a:rPr lang="en-GB" sz="900" b="1" spc="-5" dirty="0">
                <a:solidFill>
                  <a:srgbClr val="FFFFFF"/>
                </a:solidFill>
                <a:latin typeface="Neue Frutiger World" panose="020B0603040304020203" pitchFamily="34" charset="0"/>
                <a:cs typeface="Neue Frutiger World" panose="020B0603040304020203" pitchFamily="34" charset="0"/>
              </a:rPr>
              <a:t>Pacemaker Team</a:t>
            </a:r>
            <a:endParaRPr sz="900" dirty="0">
              <a:latin typeface="Neue Frutiger World" panose="020B0603040304020203" pitchFamily="34" charset="0"/>
              <a:cs typeface="Neue Frutiger World" panose="020B0603040304020203" pitchFamily="34" charset="0"/>
            </a:endParaRPr>
          </a:p>
        </p:txBody>
      </p:sp>
      <p:sp>
        <p:nvSpPr>
          <p:cNvPr id="14" name="object 11">
            <a:extLst>
              <a:ext uri="{FF2B5EF4-FFF2-40B4-BE49-F238E27FC236}">
                <a16:creationId xmlns:a16="http://schemas.microsoft.com/office/drawing/2014/main" id="{4C6BF1FE-2E86-400D-BFF6-F8F832DB4F63}"/>
              </a:ext>
            </a:extLst>
          </p:cNvPr>
          <p:cNvSpPr txBox="1"/>
          <p:nvPr/>
        </p:nvSpPr>
        <p:spPr>
          <a:xfrm>
            <a:off x="4901733" y="4422853"/>
            <a:ext cx="647700" cy="289823"/>
          </a:xfrm>
          <a:prstGeom prst="rect">
            <a:avLst/>
          </a:prstGeom>
        </p:spPr>
        <p:txBody>
          <a:bodyPr vert="horz" wrap="square" lIns="0" tIns="12700" rIns="0" bIns="0" rtlCol="0">
            <a:spAutoFit/>
          </a:bodyPr>
          <a:lstStyle/>
          <a:p>
            <a:pPr marL="12699" marR="5079">
              <a:spcBef>
                <a:spcPts val="100"/>
              </a:spcBef>
            </a:pPr>
            <a:r>
              <a:rPr sz="900" b="1" dirty="0">
                <a:solidFill>
                  <a:srgbClr val="FFFFFF"/>
                </a:solidFill>
                <a:latin typeface="Neue Frutiger World" panose="020B0603040304020203" pitchFamily="34" charset="0"/>
                <a:cs typeface="Neue Frutiger World" panose="020B0603040304020203" pitchFamily="34" charset="0"/>
              </a:rPr>
              <a:t>Referring</a:t>
            </a:r>
            <a:r>
              <a:rPr lang="en-GB" sz="900" b="1" dirty="0">
                <a:solidFill>
                  <a:srgbClr val="FFFFFF"/>
                </a:solidFill>
                <a:latin typeface="Neue Frutiger World" panose="020B0603040304020203" pitchFamily="34" charset="0"/>
                <a:cs typeface="Neue Frutiger World" panose="020B0603040304020203" pitchFamily="34" charset="0"/>
              </a:rPr>
              <a:t> </a:t>
            </a:r>
            <a:r>
              <a:rPr lang="en-GB" sz="900" b="1" spc="-15" dirty="0">
                <a:solidFill>
                  <a:srgbClr val="FFFFFF"/>
                </a:solidFill>
                <a:latin typeface="Neue Frutiger World" panose="020B0603040304020203" pitchFamily="34" charset="0"/>
                <a:cs typeface="Neue Frutiger World" panose="020B0603040304020203" pitchFamily="34" charset="0"/>
              </a:rPr>
              <a:t>Hospitals</a:t>
            </a:r>
            <a:endParaRPr sz="900" dirty="0">
              <a:latin typeface="Neue Frutiger World" panose="020B0603040304020203" pitchFamily="34" charset="0"/>
              <a:cs typeface="Neue Frutiger World" panose="020B0603040304020203" pitchFamily="34" charset="0"/>
            </a:endParaRPr>
          </a:p>
        </p:txBody>
      </p:sp>
      <p:sp>
        <p:nvSpPr>
          <p:cNvPr id="15" name="object 12">
            <a:extLst>
              <a:ext uri="{FF2B5EF4-FFF2-40B4-BE49-F238E27FC236}">
                <a16:creationId xmlns:a16="http://schemas.microsoft.com/office/drawing/2014/main" id="{5CBDA5BF-C1B0-4FE7-9855-725D3FA81782}"/>
              </a:ext>
            </a:extLst>
          </p:cNvPr>
          <p:cNvSpPr txBox="1"/>
          <p:nvPr/>
        </p:nvSpPr>
        <p:spPr>
          <a:xfrm>
            <a:off x="3868908" y="4430951"/>
            <a:ext cx="739775" cy="289823"/>
          </a:xfrm>
          <a:prstGeom prst="rect">
            <a:avLst/>
          </a:prstGeom>
        </p:spPr>
        <p:txBody>
          <a:bodyPr vert="horz" wrap="square" lIns="0" tIns="12700" rIns="0" bIns="0" rtlCol="0">
            <a:spAutoFit/>
          </a:bodyPr>
          <a:lstStyle/>
          <a:p>
            <a:pPr marL="12699" marR="5079">
              <a:spcBef>
                <a:spcPts val="100"/>
              </a:spcBef>
            </a:pPr>
            <a:r>
              <a:rPr sz="900" b="1" spc="-5" dirty="0">
                <a:solidFill>
                  <a:srgbClr val="FFFFFF"/>
                </a:solidFill>
                <a:latin typeface="Neue Frutiger World" panose="020B0603040304020203" pitchFamily="34" charset="0"/>
                <a:cs typeface="Neue Frutiger World" panose="020B0603040304020203" pitchFamily="34" charset="0"/>
              </a:rPr>
              <a:t>Other</a:t>
            </a:r>
            <a:r>
              <a:rPr lang="en-GB" sz="900" b="1" spc="-5" dirty="0">
                <a:solidFill>
                  <a:srgbClr val="FFFFFF"/>
                </a:solidFill>
                <a:latin typeface="Neue Frutiger World" panose="020B0603040304020203" pitchFamily="34" charset="0"/>
                <a:cs typeface="Neue Frutiger World" panose="020B0603040304020203" pitchFamily="34" charset="0"/>
              </a:rPr>
              <a:t> </a:t>
            </a:r>
            <a:r>
              <a:rPr lang="en-GB" sz="900" b="1" dirty="0">
                <a:solidFill>
                  <a:srgbClr val="FFFFFF"/>
                </a:solidFill>
                <a:latin typeface="Neue Frutiger World" panose="020B0603040304020203" pitchFamily="34" charset="0"/>
                <a:cs typeface="Neue Frutiger World" panose="020B0603040304020203" pitchFamily="34" charset="0"/>
              </a:rPr>
              <a:t>D</a:t>
            </a:r>
            <a:r>
              <a:rPr sz="900" b="1" dirty="0" err="1">
                <a:solidFill>
                  <a:srgbClr val="FFFFFF"/>
                </a:solidFill>
                <a:latin typeface="Neue Frutiger World" panose="020B0603040304020203" pitchFamily="34" charset="0"/>
                <a:cs typeface="Neue Frutiger World" panose="020B0603040304020203" pitchFamily="34" charset="0"/>
              </a:rPr>
              <a:t>epa</a:t>
            </a:r>
            <a:r>
              <a:rPr sz="900" b="1" spc="10" dirty="0" err="1">
                <a:solidFill>
                  <a:srgbClr val="FFFFFF"/>
                </a:solidFill>
                <a:latin typeface="Neue Frutiger World" panose="020B0603040304020203" pitchFamily="34" charset="0"/>
                <a:cs typeface="Neue Frutiger World" panose="020B0603040304020203" pitchFamily="34" charset="0"/>
              </a:rPr>
              <a:t>r</a:t>
            </a:r>
            <a:r>
              <a:rPr sz="900" b="1" spc="-5" dirty="0" err="1">
                <a:solidFill>
                  <a:srgbClr val="FFFFFF"/>
                </a:solidFill>
                <a:latin typeface="Neue Frutiger World" panose="020B0603040304020203" pitchFamily="34" charset="0"/>
                <a:cs typeface="Neue Frutiger World" panose="020B0603040304020203" pitchFamily="34" charset="0"/>
              </a:rPr>
              <a:t>tme</a:t>
            </a:r>
            <a:r>
              <a:rPr sz="900" b="1" spc="-10" dirty="0" err="1">
                <a:solidFill>
                  <a:srgbClr val="FFFFFF"/>
                </a:solidFill>
                <a:latin typeface="Neue Frutiger World" panose="020B0603040304020203" pitchFamily="34" charset="0"/>
                <a:cs typeface="Neue Frutiger World" panose="020B0603040304020203" pitchFamily="34" charset="0"/>
              </a:rPr>
              <a:t>n</a:t>
            </a:r>
            <a:r>
              <a:rPr sz="900" b="1" spc="-15" dirty="0" err="1">
                <a:solidFill>
                  <a:srgbClr val="FFFFFF"/>
                </a:solidFill>
                <a:latin typeface="Neue Frutiger World" panose="020B0603040304020203" pitchFamily="34" charset="0"/>
                <a:cs typeface="Neue Frutiger World" panose="020B0603040304020203" pitchFamily="34" charset="0"/>
              </a:rPr>
              <a:t>ts</a:t>
            </a:r>
            <a:endParaRPr sz="900" dirty="0">
              <a:latin typeface="Neue Frutiger World" panose="020B0603040304020203" pitchFamily="34" charset="0"/>
              <a:cs typeface="Neue Frutiger World" panose="020B0603040304020203" pitchFamily="34" charset="0"/>
            </a:endParaRPr>
          </a:p>
        </p:txBody>
      </p:sp>
      <p:sp>
        <p:nvSpPr>
          <p:cNvPr id="16" name="TextBox 15">
            <a:extLst>
              <a:ext uri="{FF2B5EF4-FFF2-40B4-BE49-F238E27FC236}">
                <a16:creationId xmlns:a16="http://schemas.microsoft.com/office/drawing/2014/main" id="{901CC56D-26AF-4659-9BFB-BCBB8861924E}"/>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55" name="Rectangle 154">
            <a:hlinkClick r:id="rId3" action="ppaction://hlinksldjump"/>
            <a:extLst>
              <a:ext uri="{FF2B5EF4-FFF2-40B4-BE49-F238E27FC236}">
                <a16:creationId xmlns:a16="http://schemas.microsoft.com/office/drawing/2014/main" id="{EE1578B1-A20F-4E05-80E2-40216798727F}"/>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6" name="Rectangle 155">
            <a:hlinkClick r:id="rId4" action="ppaction://hlinksldjump"/>
            <a:extLst>
              <a:ext uri="{FF2B5EF4-FFF2-40B4-BE49-F238E27FC236}">
                <a16:creationId xmlns:a16="http://schemas.microsoft.com/office/drawing/2014/main" id="{6349443E-7F47-4E5C-A2C9-13E5D5F36D16}"/>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7" name="Rectangle 156">
            <a:hlinkClick r:id="rId5" action="ppaction://hlinksldjump"/>
            <a:extLst>
              <a:ext uri="{FF2B5EF4-FFF2-40B4-BE49-F238E27FC236}">
                <a16:creationId xmlns:a16="http://schemas.microsoft.com/office/drawing/2014/main" id="{38FAC91A-D445-47AD-8350-0E903DB75C30}"/>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8" name="Rectangle 157">
            <a:hlinkClick r:id="rId6" action="ppaction://hlinksldjump"/>
            <a:extLst>
              <a:ext uri="{FF2B5EF4-FFF2-40B4-BE49-F238E27FC236}">
                <a16:creationId xmlns:a16="http://schemas.microsoft.com/office/drawing/2014/main" id="{059AB0C3-953F-4C40-9768-DC643B6D24B5}"/>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9" name="Rectangle 158">
            <a:hlinkClick r:id="rId7" action="ppaction://hlinksldjump"/>
            <a:extLst>
              <a:ext uri="{FF2B5EF4-FFF2-40B4-BE49-F238E27FC236}">
                <a16:creationId xmlns:a16="http://schemas.microsoft.com/office/drawing/2014/main" id="{4FDD471D-07DD-42A2-A2C7-3D2CDA5E0C23}"/>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0" name="Rectangle 159">
            <a:hlinkClick r:id="rId8" action="ppaction://hlinksldjump"/>
            <a:extLst>
              <a:ext uri="{FF2B5EF4-FFF2-40B4-BE49-F238E27FC236}">
                <a16:creationId xmlns:a16="http://schemas.microsoft.com/office/drawing/2014/main" id="{2A2F8D0A-8C30-4E04-8BA5-52EDE7A7263D}"/>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1" name="Rectangle 160">
            <a:hlinkClick r:id="rId9" action="ppaction://hlinksldjump"/>
            <a:extLst>
              <a:ext uri="{FF2B5EF4-FFF2-40B4-BE49-F238E27FC236}">
                <a16:creationId xmlns:a16="http://schemas.microsoft.com/office/drawing/2014/main" id="{DB05ED1D-D4C0-4325-96B6-E823F3A61735}"/>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2" name="Rectangle 161">
            <a:hlinkClick r:id="rId10" action="ppaction://hlinksldjump"/>
            <a:extLst>
              <a:ext uri="{FF2B5EF4-FFF2-40B4-BE49-F238E27FC236}">
                <a16:creationId xmlns:a16="http://schemas.microsoft.com/office/drawing/2014/main" id="{44F02483-4E87-4061-8969-7488D8801133}"/>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3" name="Rectangle 162">
            <a:extLst>
              <a:ext uri="{FF2B5EF4-FFF2-40B4-BE49-F238E27FC236}">
                <a16:creationId xmlns:a16="http://schemas.microsoft.com/office/drawing/2014/main" id="{E995A542-9189-44A2-B6E0-29F2A09ECC11}"/>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4" name="Rectangle 163">
            <a:hlinkClick r:id="rId11" action="ppaction://hlinksldjump"/>
            <a:extLst>
              <a:ext uri="{FF2B5EF4-FFF2-40B4-BE49-F238E27FC236}">
                <a16:creationId xmlns:a16="http://schemas.microsoft.com/office/drawing/2014/main" id="{5521B682-6A80-4295-B8F2-4A0119D72BD9}"/>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5" name="Rectangle 164">
            <a:hlinkClick r:id="rId12" action="ppaction://hlinksldjump"/>
            <a:extLst>
              <a:ext uri="{FF2B5EF4-FFF2-40B4-BE49-F238E27FC236}">
                <a16:creationId xmlns:a16="http://schemas.microsoft.com/office/drawing/2014/main" id="{55989CC7-FC5F-46EC-BC21-0FDDB2A6DBAF}"/>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6" name="Rectangle 165">
            <a:hlinkClick r:id="rId13" action="ppaction://hlinksldjump"/>
            <a:extLst>
              <a:ext uri="{FF2B5EF4-FFF2-40B4-BE49-F238E27FC236}">
                <a16:creationId xmlns:a16="http://schemas.microsoft.com/office/drawing/2014/main" id="{AA162DDF-A30D-4152-9F22-014D4C37703D}"/>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7" name="Rectangle 166">
            <a:hlinkClick r:id="rId14" action="ppaction://hlinksldjump"/>
            <a:extLst>
              <a:ext uri="{FF2B5EF4-FFF2-40B4-BE49-F238E27FC236}">
                <a16:creationId xmlns:a16="http://schemas.microsoft.com/office/drawing/2014/main" id="{0DC4D7C3-6E04-4D17-A577-389ADE0A4557}"/>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8" name="Rectangle 167">
            <a:hlinkClick r:id="rId15" action="ppaction://hlinksldjump"/>
            <a:extLst>
              <a:ext uri="{FF2B5EF4-FFF2-40B4-BE49-F238E27FC236}">
                <a16:creationId xmlns:a16="http://schemas.microsoft.com/office/drawing/2014/main" id="{87EF5441-EAC5-424B-A78D-2AA7689703D3}"/>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9" name="Rectangle 168">
            <a:hlinkClick r:id="rId16" action="ppaction://hlinksldjump"/>
            <a:extLst>
              <a:ext uri="{FF2B5EF4-FFF2-40B4-BE49-F238E27FC236}">
                <a16:creationId xmlns:a16="http://schemas.microsoft.com/office/drawing/2014/main" id="{C5F6DA64-7EA2-406C-B8D6-6DDCF7E2165A}"/>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0" name="Rectangle 169">
            <a:hlinkClick r:id="rId17" action="ppaction://hlinksldjump"/>
            <a:extLst>
              <a:ext uri="{FF2B5EF4-FFF2-40B4-BE49-F238E27FC236}">
                <a16:creationId xmlns:a16="http://schemas.microsoft.com/office/drawing/2014/main" id="{AE5CC3A4-F280-4381-B310-D3C12765A4ED}"/>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1" name="Rectangle 170">
            <a:hlinkClick r:id="rId18" action="ppaction://hlinksldjump"/>
            <a:extLst>
              <a:ext uri="{FF2B5EF4-FFF2-40B4-BE49-F238E27FC236}">
                <a16:creationId xmlns:a16="http://schemas.microsoft.com/office/drawing/2014/main" id="{9153F8A5-74BF-433E-90D0-2B9732AA043D}"/>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2" name="Rectangle 171">
            <a:hlinkClick r:id="rId19" action="ppaction://hlinksldjump"/>
            <a:extLst>
              <a:ext uri="{FF2B5EF4-FFF2-40B4-BE49-F238E27FC236}">
                <a16:creationId xmlns:a16="http://schemas.microsoft.com/office/drawing/2014/main" id="{E4654230-51ED-458D-89D1-9ED3FF91EE1B}"/>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3" name="Rectangle 172">
            <a:hlinkClick r:id="rId20" action="ppaction://hlinksldjump"/>
            <a:extLst>
              <a:ext uri="{FF2B5EF4-FFF2-40B4-BE49-F238E27FC236}">
                <a16:creationId xmlns:a16="http://schemas.microsoft.com/office/drawing/2014/main" id="{025A23E6-33C1-4760-AB3E-F76A162ED8B6}"/>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4" name="Rectangle 173">
            <a:hlinkClick r:id="rId21" action="ppaction://hlinksldjump"/>
            <a:extLst>
              <a:ext uri="{FF2B5EF4-FFF2-40B4-BE49-F238E27FC236}">
                <a16:creationId xmlns:a16="http://schemas.microsoft.com/office/drawing/2014/main" id="{DBC3F464-F59B-45A3-B0D3-0A8C2763CC21}"/>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5" name="Rectangle 174">
            <a:hlinkClick r:id="rId22" action="ppaction://hlinksldjump"/>
            <a:extLst>
              <a:ext uri="{FF2B5EF4-FFF2-40B4-BE49-F238E27FC236}">
                <a16:creationId xmlns:a16="http://schemas.microsoft.com/office/drawing/2014/main" id="{2C6ADAB7-FF66-45BB-B599-F77DEF74551A}"/>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6" name="Rectangle 175">
            <a:hlinkClick r:id="rId23" action="ppaction://hlinksldjump"/>
            <a:extLst>
              <a:ext uri="{FF2B5EF4-FFF2-40B4-BE49-F238E27FC236}">
                <a16:creationId xmlns:a16="http://schemas.microsoft.com/office/drawing/2014/main" id="{5C6685D7-0AAE-4687-9668-59A04BD93461}"/>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7" name="Rectangle 176">
            <a:extLst>
              <a:ext uri="{FF2B5EF4-FFF2-40B4-BE49-F238E27FC236}">
                <a16:creationId xmlns:a16="http://schemas.microsoft.com/office/drawing/2014/main" id="{BE6F3078-9393-4EF2-B6C5-8D4189F699B4}"/>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8" name="Rectangle 177">
            <a:hlinkClick r:id="rId24" action="ppaction://hlinksldjump"/>
            <a:extLst>
              <a:ext uri="{FF2B5EF4-FFF2-40B4-BE49-F238E27FC236}">
                <a16:creationId xmlns:a16="http://schemas.microsoft.com/office/drawing/2014/main" id="{6BB2613A-644E-4A55-A5D8-80EB1D157D82}"/>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9" name="Rectangle 178">
            <a:hlinkClick r:id="rId25" action="ppaction://hlinksldjump"/>
            <a:extLst>
              <a:ext uri="{FF2B5EF4-FFF2-40B4-BE49-F238E27FC236}">
                <a16:creationId xmlns:a16="http://schemas.microsoft.com/office/drawing/2014/main" id="{2176F924-4CE4-462A-93C4-968A5F2F67CF}"/>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0" name="Rectangle 179">
            <a:hlinkClick r:id="rId26" action="ppaction://hlinksldjump"/>
            <a:extLst>
              <a:ext uri="{FF2B5EF4-FFF2-40B4-BE49-F238E27FC236}">
                <a16:creationId xmlns:a16="http://schemas.microsoft.com/office/drawing/2014/main" id="{341EE944-0F44-4D6E-8CF9-F7AC6558EA70}"/>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1" name="Rectangle 180">
            <a:extLst>
              <a:ext uri="{FF2B5EF4-FFF2-40B4-BE49-F238E27FC236}">
                <a16:creationId xmlns:a16="http://schemas.microsoft.com/office/drawing/2014/main" id="{0F8DA980-0017-4E7F-B795-052BCBDB109F}"/>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182" name="Table 181">
            <a:extLst>
              <a:ext uri="{FF2B5EF4-FFF2-40B4-BE49-F238E27FC236}">
                <a16:creationId xmlns:a16="http://schemas.microsoft.com/office/drawing/2014/main" id="{9393ED05-102C-4422-BE3C-6BDA95CD4BA5}"/>
              </a:ext>
            </a:extLst>
          </p:cNvPr>
          <p:cNvGraphicFramePr>
            <a:graphicFrameLocks noGrp="1"/>
          </p:cNvGraphicFramePr>
          <p:nvPr>
            <p:extLst>
              <p:ext uri="{D42A27DB-BD31-4B8C-83A1-F6EECF244321}">
                <p14:modId xmlns:p14="http://schemas.microsoft.com/office/powerpoint/2010/main" val="2778061514"/>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183" name="Rectangle 182">
            <a:hlinkClick r:id="rId3" action="ppaction://hlinksldjump"/>
            <a:extLst>
              <a:ext uri="{FF2B5EF4-FFF2-40B4-BE49-F238E27FC236}">
                <a16:creationId xmlns:a16="http://schemas.microsoft.com/office/drawing/2014/main" id="{B6069D45-AD40-4FA2-B6B7-A75A20B458CF}"/>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4" name="Rectangle 183">
            <a:hlinkClick r:id="rId4" action="ppaction://hlinksldjump"/>
            <a:extLst>
              <a:ext uri="{FF2B5EF4-FFF2-40B4-BE49-F238E27FC236}">
                <a16:creationId xmlns:a16="http://schemas.microsoft.com/office/drawing/2014/main" id="{399363BD-1673-4C6E-ACA5-50BEE197BEC9}"/>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5" name="Rectangle 184">
            <a:hlinkClick r:id="rId5" action="ppaction://hlinksldjump"/>
            <a:extLst>
              <a:ext uri="{FF2B5EF4-FFF2-40B4-BE49-F238E27FC236}">
                <a16:creationId xmlns:a16="http://schemas.microsoft.com/office/drawing/2014/main" id="{44B2C7E3-2CD3-4CEE-8715-F393DD32673F}"/>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6" name="Rectangle 185">
            <a:hlinkClick r:id="rId6" action="ppaction://hlinksldjump"/>
            <a:extLst>
              <a:ext uri="{FF2B5EF4-FFF2-40B4-BE49-F238E27FC236}">
                <a16:creationId xmlns:a16="http://schemas.microsoft.com/office/drawing/2014/main" id="{D1C6CD5F-A232-4690-8BF0-64059AD39591}"/>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7" name="Rectangle 186">
            <a:hlinkClick r:id="rId7" action="ppaction://hlinksldjump"/>
            <a:extLst>
              <a:ext uri="{FF2B5EF4-FFF2-40B4-BE49-F238E27FC236}">
                <a16:creationId xmlns:a16="http://schemas.microsoft.com/office/drawing/2014/main" id="{02D4C490-D462-470F-B199-A4B0C1E76673}"/>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8" name="Rectangle 187">
            <a:hlinkClick r:id="rId8" action="ppaction://hlinksldjump"/>
            <a:extLst>
              <a:ext uri="{FF2B5EF4-FFF2-40B4-BE49-F238E27FC236}">
                <a16:creationId xmlns:a16="http://schemas.microsoft.com/office/drawing/2014/main" id="{67C4E4CC-34D7-478C-8E39-5783D83F80AC}"/>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9" name="Rectangle 188">
            <a:hlinkClick r:id="rId9" action="ppaction://hlinksldjump"/>
            <a:extLst>
              <a:ext uri="{FF2B5EF4-FFF2-40B4-BE49-F238E27FC236}">
                <a16:creationId xmlns:a16="http://schemas.microsoft.com/office/drawing/2014/main" id="{22592139-FC3E-47DC-98B7-789788D300D3}"/>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0" name="Rectangle 189">
            <a:hlinkClick r:id="rId10" action="ppaction://hlinksldjump"/>
            <a:extLst>
              <a:ext uri="{FF2B5EF4-FFF2-40B4-BE49-F238E27FC236}">
                <a16:creationId xmlns:a16="http://schemas.microsoft.com/office/drawing/2014/main" id="{C504B965-9AE3-48CA-A0FE-CF7C5FB8F9F4}"/>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1" name="Rectangle 190">
            <a:extLst>
              <a:ext uri="{FF2B5EF4-FFF2-40B4-BE49-F238E27FC236}">
                <a16:creationId xmlns:a16="http://schemas.microsoft.com/office/drawing/2014/main" id="{47A07C07-CCC1-41C1-9CBA-4B38C38AA8E0}"/>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2" name="Rectangle 191">
            <a:hlinkClick r:id="rId11" action="ppaction://hlinksldjump"/>
            <a:extLst>
              <a:ext uri="{FF2B5EF4-FFF2-40B4-BE49-F238E27FC236}">
                <a16:creationId xmlns:a16="http://schemas.microsoft.com/office/drawing/2014/main" id="{CA6EE757-9F7C-4ED3-8388-D2DFB63A3846}"/>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3" name="Rectangle 192">
            <a:hlinkClick r:id="rId12" action="ppaction://hlinksldjump"/>
            <a:extLst>
              <a:ext uri="{FF2B5EF4-FFF2-40B4-BE49-F238E27FC236}">
                <a16:creationId xmlns:a16="http://schemas.microsoft.com/office/drawing/2014/main" id="{B20A3C0F-2405-417F-835D-86A5EEC8D808}"/>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4" name="Rectangle 193">
            <a:hlinkClick r:id="rId13" action="ppaction://hlinksldjump"/>
            <a:extLst>
              <a:ext uri="{FF2B5EF4-FFF2-40B4-BE49-F238E27FC236}">
                <a16:creationId xmlns:a16="http://schemas.microsoft.com/office/drawing/2014/main" id="{CF097BD4-39D8-447D-93E1-330496AD3CE0}"/>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5" name="Rectangle 194">
            <a:hlinkClick r:id="rId14" action="ppaction://hlinksldjump"/>
            <a:extLst>
              <a:ext uri="{FF2B5EF4-FFF2-40B4-BE49-F238E27FC236}">
                <a16:creationId xmlns:a16="http://schemas.microsoft.com/office/drawing/2014/main" id="{1F40C8AE-AB75-4B1B-86AF-E6AFFC6B4191}"/>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6" name="Rectangle 195">
            <a:hlinkClick r:id="rId15" action="ppaction://hlinksldjump"/>
            <a:extLst>
              <a:ext uri="{FF2B5EF4-FFF2-40B4-BE49-F238E27FC236}">
                <a16:creationId xmlns:a16="http://schemas.microsoft.com/office/drawing/2014/main" id="{822C4CB0-168C-437F-8850-D7203E4570D5}"/>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7" name="Rectangle 196">
            <a:hlinkClick r:id="rId16" action="ppaction://hlinksldjump"/>
            <a:extLst>
              <a:ext uri="{FF2B5EF4-FFF2-40B4-BE49-F238E27FC236}">
                <a16:creationId xmlns:a16="http://schemas.microsoft.com/office/drawing/2014/main" id="{ADAF1F52-AD27-45F6-A44A-B81E88B6376C}"/>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8" name="Rectangle 197">
            <a:hlinkClick r:id="rId17" action="ppaction://hlinksldjump"/>
            <a:extLst>
              <a:ext uri="{FF2B5EF4-FFF2-40B4-BE49-F238E27FC236}">
                <a16:creationId xmlns:a16="http://schemas.microsoft.com/office/drawing/2014/main" id="{18BF9B23-7BB9-4C31-B3F2-BE4283187909}"/>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9" name="Rectangle 198">
            <a:hlinkClick r:id="rId18" action="ppaction://hlinksldjump"/>
            <a:extLst>
              <a:ext uri="{FF2B5EF4-FFF2-40B4-BE49-F238E27FC236}">
                <a16:creationId xmlns:a16="http://schemas.microsoft.com/office/drawing/2014/main" id="{F4DD9ED3-D0BB-4161-A650-CBC7369F87B1}"/>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0" name="Rectangle 199">
            <a:hlinkClick r:id="rId19" action="ppaction://hlinksldjump"/>
            <a:extLst>
              <a:ext uri="{FF2B5EF4-FFF2-40B4-BE49-F238E27FC236}">
                <a16:creationId xmlns:a16="http://schemas.microsoft.com/office/drawing/2014/main" id="{DCC7AFCE-ADC9-42FB-A044-6109EF552B5F}"/>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1" name="Rectangle 200">
            <a:hlinkClick r:id="rId20" action="ppaction://hlinksldjump"/>
            <a:extLst>
              <a:ext uri="{FF2B5EF4-FFF2-40B4-BE49-F238E27FC236}">
                <a16:creationId xmlns:a16="http://schemas.microsoft.com/office/drawing/2014/main" id="{668BA4E3-B48B-4351-B359-212381C5530E}"/>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2" name="Rectangle 201">
            <a:hlinkClick r:id="rId21" action="ppaction://hlinksldjump"/>
            <a:extLst>
              <a:ext uri="{FF2B5EF4-FFF2-40B4-BE49-F238E27FC236}">
                <a16:creationId xmlns:a16="http://schemas.microsoft.com/office/drawing/2014/main" id="{8831AB9B-6592-4FB4-8357-A84CF40EC1BA}"/>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3" name="Rectangle 202">
            <a:hlinkClick r:id="rId22" action="ppaction://hlinksldjump"/>
            <a:extLst>
              <a:ext uri="{FF2B5EF4-FFF2-40B4-BE49-F238E27FC236}">
                <a16:creationId xmlns:a16="http://schemas.microsoft.com/office/drawing/2014/main" id="{DB4BAC8E-A71B-47FE-96E7-97B3CBE1C1CC}"/>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4" name="Rectangle 203">
            <a:hlinkClick r:id="rId23" action="ppaction://hlinksldjump"/>
            <a:extLst>
              <a:ext uri="{FF2B5EF4-FFF2-40B4-BE49-F238E27FC236}">
                <a16:creationId xmlns:a16="http://schemas.microsoft.com/office/drawing/2014/main" id="{DA52DDD8-38F8-40BD-AB11-CF60B3F61B31}"/>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5" name="Rectangle 204">
            <a:extLst>
              <a:ext uri="{FF2B5EF4-FFF2-40B4-BE49-F238E27FC236}">
                <a16:creationId xmlns:a16="http://schemas.microsoft.com/office/drawing/2014/main" id="{77484C4B-875B-4DF5-84A8-D1065188BCDD}"/>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6" name="Rectangle 205">
            <a:hlinkClick r:id="rId24" action="ppaction://hlinksldjump"/>
            <a:extLst>
              <a:ext uri="{FF2B5EF4-FFF2-40B4-BE49-F238E27FC236}">
                <a16:creationId xmlns:a16="http://schemas.microsoft.com/office/drawing/2014/main" id="{068B6921-C500-417B-B37B-5240D7EA1CF9}"/>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7" name="Rectangle 206">
            <a:hlinkClick r:id="rId25" action="ppaction://hlinksldjump"/>
            <a:extLst>
              <a:ext uri="{FF2B5EF4-FFF2-40B4-BE49-F238E27FC236}">
                <a16:creationId xmlns:a16="http://schemas.microsoft.com/office/drawing/2014/main" id="{0948D9FD-AA0C-48B7-9BB8-A7B749BA1114}"/>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8" name="Rectangle 207">
            <a:hlinkClick r:id="rId26" action="ppaction://hlinksldjump"/>
            <a:extLst>
              <a:ext uri="{FF2B5EF4-FFF2-40B4-BE49-F238E27FC236}">
                <a16:creationId xmlns:a16="http://schemas.microsoft.com/office/drawing/2014/main" id="{C1005CDB-8BB8-4AE7-99E2-749804A74ED3}"/>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1222612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A08F9-9FE5-425B-938D-FCE055863C23}"/>
              </a:ext>
            </a:extLst>
          </p:cNvPr>
          <p:cNvSpPr>
            <a:spLocks noGrp="1"/>
          </p:cNvSpPr>
          <p:nvPr>
            <p:ph type="title"/>
          </p:nvPr>
        </p:nvSpPr>
        <p:spPr/>
        <p:txBody>
          <a:bodyPr/>
          <a:lstStyle/>
          <a:p>
            <a:r>
              <a:rPr lang="en-GB" spc="-10" noProof="0" dirty="0">
                <a:latin typeface="Neue Frutiger World" panose="020B0603040304020203" pitchFamily="34" charset="0"/>
                <a:cs typeface="Neue Frutiger World" panose="020B0603040304020203" pitchFamily="34" charset="0"/>
              </a:rPr>
              <a:t>Resources</a:t>
            </a:r>
            <a:r>
              <a:rPr lang="en-GB" spc="40" noProof="0" dirty="0">
                <a:latin typeface="Neue Frutiger World" panose="020B0603040304020203" pitchFamily="34" charset="0"/>
                <a:cs typeface="Neue Frutiger World" panose="020B0603040304020203" pitchFamily="34" charset="0"/>
              </a:rPr>
              <a:t> </a:t>
            </a:r>
            <a:r>
              <a:rPr lang="en-GB" spc="-15" noProof="0" dirty="0">
                <a:latin typeface="Neue Frutiger World" panose="020B0603040304020203" pitchFamily="34" charset="0"/>
                <a:cs typeface="Neue Frutiger World" panose="020B0603040304020203" pitchFamily="34" charset="0"/>
              </a:rPr>
              <a:t>available</a:t>
            </a:r>
            <a:r>
              <a:rPr lang="en-GB" spc="40" noProof="0" dirty="0">
                <a:latin typeface="Neue Frutiger World" panose="020B0603040304020203" pitchFamily="34" charset="0"/>
                <a:cs typeface="Neue Frutiger World" panose="020B0603040304020203" pitchFamily="34" charset="0"/>
              </a:rPr>
              <a:t> </a:t>
            </a:r>
            <a:r>
              <a:rPr lang="en-GB" spc="-45" noProof="0" dirty="0">
                <a:latin typeface="Neue Frutiger World" panose="020B0603040304020203" pitchFamily="34" charset="0"/>
                <a:cs typeface="Neue Frutiger World" panose="020B0603040304020203" pitchFamily="34" charset="0"/>
              </a:rPr>
              <a:t>to</a:t>
            </a:r>
            <a:r>
              <a:rPr lang="en-GB" spc="45" noProof="0" dirty="0">
                <a:latin typeface="Neue Frutiger World" panose="020B0603040304020203" pitchFamily="34" charset="0"/>
                <a:cs typeface="Neue Frutiger World" panose="020B0603040304020203" pitchFamily="34" charset="0"/>
              </a:rPr>
              <a:t> </a:t>
            </a:r>
            <a:r>
              <a:rPr lang="en-GB" spc="5" noProof="0" dirty="0">
                <a:latin typeface="Neue Frutiger World" panose="020B0603040304020203" pitchFamily="34" charset="0"/>
                <a:cs typeface="Neue Frutiger World" panose="020B0603040304020203" pitchFamily="34" charset="0"/>
              </a:rPr>
              <a:t>quantify</a:t>
            </a:r>
            <a:r>
              <a:rPr lang="en-GB" spc="-20" noProof="0" dirty="0">
                <a:latin typeface="Neue Frutiger World" panose="020B0603040304020203" pitchFamily="34" charset="0"/>
                <a:cs typeface="Neue Frutiger World" panose="020B0603040304020203" pitchFamily="34" charset="0"/>
              </a:rPr>
              <a:t> </a:t>
            </a:r>
            <a:r>
              <a:rPr lang="en-GB" spc="-15" noProof="0" dirty="0">
                <a:latin typeface="Neue Frutiger World" panose="020B0603040304020203" pitchFamily="34" charset="0"/>
                <a:cs typeface="Neue Frutiger World" panose="020B0603040304020203" pitchFamily="34" charset="0"/>
              </a:rPr>
              <a:t>the</a:t>
            </a:r>
            <a:r>
              <a:rPr lang="en-GB" spc="40" noProof="0" dirty="0">
                <a:latin typeface="Neue Frutiger World" panose="020B0603040304020203" pitchFamily="34" charset="0"/>
                <a:cs typeface="Neue Frutiger World" panose="020B0603040304020203" pitchFamily="34" charset="0"/>
              </a:rPr>
              <a:t> </a:t>
            </a:r>
            <a:r>
              <a:rPr lang="en-GB" noProof="0" dirty="0">
                <a:latin typeface="Neue Frutiger World" panose="020B0603040304020203" pitchFamily="34" charset="0"/>
                <a:cs typeface="Neue Frutiger World" panose="020B0603040304020203" pitchFamily="34" charset="0"/>
              </a:rPr>
              <a:t>opportunity</a:t>
            </a:r>
          </a:p>
        </p:txBody>
      </p:sp>
      <p:sp>
        <p:nvSpPr>
          <p:cNvPr id="3" name="Footer Placeholder 2">
            <a:extLst>
              <a:ext uri="{FF2B5EF4-FFF2-40B4-BE49-F238E27FC236}">
                <a16:creationId xmlns:a16="http://schemas.microsoft.com/office/drawing/2014/main" id="{2D5B09EF-E64F-461A-91CB-9D847983B490}"/>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E8BDED04-BE79-4247-AA98-53BECF018A18}"/>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7</a:t>
            </a:fld>
            <a:endParaRPr lang="en-US" noProof="0" dirty="0">
              <a:latin typeface="Neue Frutiger World" panose="020B0603040304020203" pitchFamily="34" charset="0"/>
              <a:cs typeface="Neue Frutiger World" panose="020B0603040304020203" pitchFamily="34" charset="0"/>
            </a:endParaRPr>
          </a:p>
        </p:txBody>
      </p:sp>
      <p:sp>
        <p:nvSpPr>
          <p:cNvPr id="12" name="object 9">
            <a:extLst>
              <a:ext uri="{FF2B5EF4-FFF2-40B4-BE49-F238E27FC236}">
                <a16:creationId xmlns:a16="http://schemas.microsoft.com/office/drawing/2014/main" id="{EEC3B994-2B8A-4624-B97E-3C37A96CDA1B}"/>
              </a:ext>
            </a:extLst>
          </p:cNvPr>
          <p:cNvSpPr txBox="1"/>
          <p:nvPr/>
        </p:nvSpPr>
        <p:spPr>
          <a:xfrm>
            <a:off x="5004048" y="763557"/>
            <a:ext cx="3672408" cy="1599990"/>
          </a:xfrm>
          <a:prstGeom prst="rect">
            <a:avLst/>
          </a:prstGeom>
        </p:spPr>
        <p:txBody>
          <a:bodyPr vert="horz" wrap="square" lIns="0" tIns="92710" rIns="0" bIns="0" rtlCol="0">
            <a:spAutoFit/>
          </a:bodyPr>
          <a:lstStyle/>
          <a:p>
            <a:pPr marL="12699" marR="0" lvl="0" indent="0" defTabSz="914400" rtl="0" eaLnBrk="1" fontAlgn="auto" latinLnBrk="0" hangingPunct="1">
              <a:lnSpc>
                <a:spcPct val="100000"/>
              </a:lnSpc>
              <a:spcBef>
                <a:spcPts val="380"/>
              </a:spcBef>
              <a:spcAft>
                <a:spcPts val="0"/>
              </a:spcAft>
              <a:buClrTx/>
              <a:buSzTx/>
              <a:buFontTx/>
              <a:buNone/>
              <a:tabLst/>
              <a:defRPr/>
            </a:pPr>
            <a:r>
              <a:rPr kumimoji="0" lang="en-GB" sz="1300" b="1"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CIED </a:t>
            </a:r>
            <a:r>
              <a:rPr kumimoji="0" lang="en-GB" sz="1300" b="1"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fection</a:t>
            </a:r>
            <a:r>
              <a:rPr kumimoji="0" lang="en-GB" sz="1300" b="1"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1300" b="1"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value</a:t>
            </a:r>
            <a:r>
              <a:rPr kumimoji="0" lang="en-GB" sz="1300" b="1" i="0" u="none" strike="noStrike" kern="1200" cap="none" spc="2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1300" b="1"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dossier</a:t>
            </a:r>
            <a:r>
              <a:rPr kumimoji="0" lang="en-GB" sz="1300" b="1"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GB" sz="1300" b="1"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ools</a:t>
            </a:r>
            <a:endParaRPr lang="en-GB" sz="800" spc="-5" dirty="0">
              <a:solidFill>
                <a:srgbClr val="231F20"/>
              </a:solidFill>
              <a:latin typeface="Neue Frutiger World" panose="020B0603040304020203" pitchFamily="34" charset="0"/>
              <a:cs typeface="Neue Frutiger World" panose="020B0603040304020203" pitchFamily="34" charset="0"/>
            </a:endParaRPr>
          </a:p>
          <a:p>
            <a:pPr marL="114290" marR="5079" indent="-101592">
              <a:lnSpc>
                <a:spcPct val="104200"/>
              </a:lnSpc>
              <a:spcBef>
                <a:spcPts val="350"/>
              </a:spcBef>
              <a:buChar char="•"/>
              <a:tabLst>
                <a:tab pos="114290" algn="l"/>
              </a:tabLst>
            </a:pPr>
            <a:r>
              <a:rPr lang="en-GB" sz="800" spc="-5" dirty="0">
                <a:solidFill>
                  <a:srgbClr val="231F20"/>
                </a:solidFill>
                <a:latin typeface="Neue Frutiger World" panose="020B0603040304020203" pitchFamily="34" charset="0"/>
                <a:cs typeface="Neue Frutiger World" panose="020B0603040304020203" pitchFamily="34" charset="0"/>
              </a:rPr>
              <a:t>Tools designed primarily to educate infection gatekeepers and hospital/</a:t>
            </a:r>
            <a:r>
              <a:rPr lang="en-GB" sz="800" spc="-5" dirty="0" err="1">
                <a:solidFill>
                  <a:srgbClr val="231F20"/>
                </a:solidFill>
                <a:latin typeface="Neue Frutiger World" panose="020B0603040304020203" pitchFamily="34" charset="0"/>
                <a:cs typeface="Neue Frutiger World" panose="020B0603040304020203" pitchFamily="34" charset="0"/>
              </a:rPr>
              <a:t>cath</a:t>
            </a:r>
            <a:r>
              <a:rPr lang="en-GB" sz="800" spc="-5" dirty="0">
                <a:solidFill>
                  <a:srgbClr val="231F20"/>
                </a:solidFill>
                <a:latin typeface="Neue Frutiger World" panose="020B0603040304020203" pitchFamily="34" charset="0"/>
                <a:cs typeface="Neue Frutiger World" panose="020B0603040304020203" pitchFamily="34" charset="0"/>
              </a:rPr>
              <a:t> lab administrators or procurement with a polished and powerful clinical and economic message.</a:t>
            </a:r>
          </a:p>
          <a:p>
            <a:pPr marL="114290" marR="5079" indent="-101592">
              <a:lnSpc>
                <a:spcPct val="104200"/>
              </a:lnSpc>
              <a:spcBef>
                <a:spcPts val="350"/>
              </a:spcBef>
              <a:buChar char="•"/>
              <a:tabLst>
                <a:tab pos="114290" algn="l"/>
              </a:tabLst>
            </a:pPr>
            <a:r>
              <a:rPr lang="en-GB" sz="800" spc="-5" dirty="0">
                <a:solidFill>
                  <a:srgbClr val="231F20"/>
                </a:solidFill>
                <a:latin typeface="Neue Frutiger World" panose="020B0603040304020203" pitchFamily="34" charset="0"/>
                <a:cs typeface="Neue Frutiger World" panose="020B0603040304020203" pitchFamily="34" charset="0"/>
              </a:rPr>
              <a:t>In addition to building relationships and having a collaborative approach to patient care, It is important to map your key stakeholders and identify your ‘gatekeepers’ – those people who can make a decision in your favour and those people who can block decisions regarding referrals or your products.</a:t>
            </a:r>
          </a:p>
          <a:p>
            <a:pPr marL="114290" marR="5079" indent="-101592">
              <a:lnSpc>
                <a:spcPct val="104200"/>
              </a:lnSpc>
              <a:spcBef>
                <a:spcPts val="350"/>
              </a:spcBef>
              <a:buChar char="•"/>
              <a:tabLst>
                <a:tab pos="114290" algn="l"/>
              </a:tabLst>
            </a:pPr>
            <a:r>
              <a:rPr lang="en-GB" sz="800" spc="-5" dirty="0">
                <a:solidFill>
                  <a:srgbClr val="231F20"/>
                </a:solidFill>
                <a:latin typeface="Neue Frutiger World" panose="020B0603040304020203" pitchFamily="34" charset="0"/>
                <a:cs typeface="Neue Frutiger World" panose="020B0603040304020203" pitchFamily="34" charset="0"/>
              </a:rPr>
              <a:t>Tools include both U.S. and International data to give a comprehensive picture of the costs of CIED infection globally.</a:t>
            </a:r>
          </a:p>
        </p:txBody>
      </p:sp>
      <p:sp>
        <p:nvSpPr>
          <p:cNvPr id="13" name="TextBox 12">
            <a:extLst>
              <a:ext uri="{FF2B5EF4-FFF2-40B4-BE49-F238E27FC236}">
                <a16:creationId xmlns:a16="http://schemas.microsoft.com/office/drawing/2014/main" id="{E8F8347B-013F-4513-AADA-FBA3C2EB9AA1}"/>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2" action="ppaction://hlinksldjump"/>
            <a:extLst>
              <a:ext uri="{FF2B5EF4-FFF2-40B4-BE49-F238E27FC236}">
                <a16:creationId xmlns:a16="http://schemas.microsoft.com/office/drawing/2014/main" id="{9AF042DA-E70A-4A08-9A63-26A544B93CAB}"/>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3" action="ppaction://hlinksldjump"/>
            <a:extLst>
              <a:ext uri="{FF2B5EF4-FFF2-40B4-BE49-F238E27FC236}">
                <a16:creationId xmlns:a16="http://schemas.microsoft.com/office/drawing/2014/main" id="{888518B6-4EAF-40AE-BBA3-C1E6BB037498}"/>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4" action="ppaction://hlinksldjump"/>
            <a:extLst>
              <a:ext uri="{FF2B5EF4-FFF2-40B4-BE49-F238E27FC236}">
                <a16:creationId xmlns:a16="http://schemas.microsoft.com/office/drawing/2014/main" id="{A4B75912-F643-4C4E-8389-7C1D261E668C}"/>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5" action="ppaction://hlinksldjump"/>
            <a:extLst>
              <a:ext uri="{FF2B5EF4-FFF2-40B4-BE49-F238E27FC236}">
                <a16:creationId xmlns:a16="http://schemas.microsoft.com/office/drawing/2014/main" id="{BCF20C5F-4967-43A5-A870-704BA5149EEA}"/>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hlinkClick r:id="rId6" action="ppaction://hlinksldjump"/>
            <a:extLst>
              <a:ext uri="{FF2B5EF4-FFF2-40B4-BE49-F238E27FC236}">
                <a16:creationId xmlns:a16="http://schemas.microsoft.com/office/drawing/2014/main" id="{13FA037C-7E2A-426D-8FCB-4355B0DC03F4}"/>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7" action="ppaction://hlinksldjump"/>
            <a:extLst>
              <a:ext uri="{FF2B5EF4-FFF2-40B4-BE49-F238E27FC236}">
                <a16:creationId xmlns:a16="http://schemas.microsoft.com/office/drawing/2014/main" id="{D6F4E31F-2C0D-47A3-A120-BEE1DB9D867E}"/>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8" action="ppaction://hlinksldjump"/>
            <a:extLst>
              <a:ext uri="{FF2B5EF4-FFF2-40B4-BE49-F238E27FC236}">
                <a16:creationId xmlns:a16="http://schemas.microsoft.com/office/drawing/2014/main" id="{378C3751-D689-4D41-9155-4968C85AA48A}"/>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9" action="ppaction://hlinksldjump"/>
            <a:extLst>
              <a:ext uri="{FF2B5EF4-FFF2-40B4-BE49-F238E27FC236}">
                <a16:creationId xmlns:a16="http://schemas.microsoft.com/office/drawing/2014/main" id="{79170AB7-18A6-45C2-811D-D3A61B40B235}"/>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extLst>
              <a:ext uri="{FF2B5EF4-FFF2-40B4-BE49-F238E27FC236}">
                <a16:creationId xmlns:a16="http://schemas.microsoft.com/office/drawing/2014/main" id="{FAE331DD-BC62-4054-8D69-84B61DE76891}"/>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0" action="ppaction://hlinksldjump"/>
            <a:extLst>
              <a:ext uri="{FF2B5EF4-FFF2-40B4-BE49-F238E27FC236}">
                <a16:creationId xmlns:a16="http://schemas.microsoft.com/office/drawing/2014/main" id="{9F43EAD2-1641-4BEB-94F0-9BDE26A52AF7}"/>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1" action="ppaction://hlinksldjump"/>
            <a:extLst>
              <a:ext uri="{FF2B5EF4-FFF2-40B4-BE49-F238E27FC236}">
                <a16:creationId xmlns:a16="http://schemas.microsoft.com/office/drawing/2014/main" id="{79DB21B9-3C59-44ED-A257-4B6DC330D524}"/>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2" action="ppaction://hlinksldjump"/>
            <a:extLst>
              <a:ext uri="{FF2B5EF4-FFF2-40B4-BE49-F238E27FC236}">
                <a16:creationId xmlns:a16="http://schemas.microsoft.com/office/drawing/2014/main" id="{D9B0DD7B-4385-46F8-8C4B-08A1F2A6B34D}"/>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3" action="ppaction://hlinksldjump"/>
            <a:extLst>
              <a:ext uri="{FF2B5EF4-FFF2-40B4-BE49-F238E27FC236}">
                <a16:creationId xmlns:a16="http://schemas.microsoft.com/office/drawing/2014/main" id="{468D66C6-A0D5-4C48-B4C4-2BFA8CECA668}"/>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14" action="ppaction://hlinksldjump"/>
            <a:extLst>
              <a:ext uri="{FF2B5EF4-FFF2-40B4-BE49-F238E27FC236}">
                <a16:creationId xmlns:a16="http://schemas.microsoft.com/office/drawing/2014/main" id="{69C34F7F-3AB8-4754-9148-ACFF2AB3C219}"/>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5" action="ppaction://hlinksldjump"/>
            <a:extLst>
              <a:ext uri="{FF2B5EF4-FFF2-40B4-BE49-F238E27FC236}">
                <a16:creationId xmlns:a16="http://schemas.microsoft.com/office/drawing/2014/main" id="{A0AEB673-6F0B-480A-9A18-70C391463304}"/>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16" action="ppaction://hlinksldjump"/>
            <a:extLst>
              <a:ext uri="{FF2B5EF4-FFF2-40B4-BE49-F238E27FC236}">
                <a16:creationId xmlns:a16="http://schemas.microsoft.com/office/drawing/2014/main" id="{C478063C-80A4-4C5D-B4D1-2BB503307025}"/>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17" action="ppaction://hlinksldjump"/>
            <a:extLst>
              <a:ext uri="{FF2B5EF4-FFF2-40B4-BE49-F238E27FC236}">
                <a16:creationId xmlns:a16="http://schemas.microsoft.com/office/drawing/2014/main" id="{5B474ACA-FEF8-4E20-A44C-059820D4808D}"/>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18" action="ppaction://hlinksldjump"/>
            <a:extLst>
              <a:ext uri="{FF2B5EF4-FFF2-40B4-BE49-F238E27FC236}">
                <a16:creationId xmlns:a16="http://schemas.microsoft.com/office/drawing/2014/main" id="{7D5F4E7F-6091-49DE-A197-C6F656CC1069}"/>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hlinkClick r:id="rId19" action="ppaction://hlinksldjump"/>
            <a:extLst>
              <a:ext uri="{FF2B5EF4-FFF2-40B4-BE49-F238E27FC236}">
                <a16:creationId xmlns:a16="http://schemas.microsoft.com/office/drawing/2014/main" id="{9A7B82DB-EFA1-424E-BBCF-FADAE4D0C38B}"/>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0" action="ppaction://hlinksldjump"/>
            <a:extLst>
              <a:ext uri="{FF2B5EF4-FFF2-40B4-BE49-F238E27FC236}">
                <a16:creationId xmlns:a16="http://schemas.microsoft.com/office/drawing/2014/main" id="{1EFF1635-1BE7-4E83-B038-E636EDF70C9D}"/>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1" action="ppaction://hlinksldjump"/>
            <a:extLst>
              <a:ext uri="{FF2B5EF4-FFF2-40B4-BE49-F238E27FC236}">
                <a16:creationId xmlns:a16="http://schemas.microsoft.com/office/drawing/2014/main" id="{0547E6C9-8ED1-4091-8470-87EDA6A874A5}"/>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22" action="ppaction://hlinksldjump"/>
            <a:extLst>
              <a:ext uri="{FF2B5EF4-FFF2-40B4-BE49-F238E27FC236}">
                <a16:creationId xmlns:a16="http://schemas.microsoft.com/office/drawing/2014/main" id="{B132E193-58D2-495D-92C0-68BC076F7233}"/>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extLst>
              <a:ext uri="{FF2B5EF4-FFF2-40B4-BE49-F238E27FC236}">
                <a16:creationId xmlns:a16="http://schemas.microsoft.com/office/drawing/2014/main" id="{B491FDB9-3DE8-4DA3-B7D9-349BEE781E6C}"/>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23" action="ppaction://hlinksldjump"/>
            <a:extLst>
              <a:ext uri="{FF2B5EF4-FFF2-40B4-BE49-F238E27FC236}">
                <a16:creationId xmlns:a16="http://schemas.microsoft.com/office/drawing/2014/main" id="{33D2A929-3A94-4419-8048-AB49FF3F7FAD}"/>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24" action="ppaction://hlinksldjump"/>
            <a:extLst>
              <a:ext uri="{FF2B5EF4-FFF2-40B4-BE49-F238E27FC236}">
                <a16:creationId xmlns:a16="http://schemas.microsoft.com/office/drawing/2014/main" id="{74CE8F5A-9A37-45E2-BAB5-03D4BDF055C3}"/>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25" action="ppaction://hlinksldjump"/>
            <a:extLst>
              <a:ext uri="{FF2B5EF4-FFF2-40B4-BE49-F238E27FC236}">
                <a16:creationId xmlns:a16="http://schemas.microsoft.com/office/drawing/2014/main" id="{D86212E0-2397-4D70-B57F-6A1CE0989E4E}"/>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extLst>
              <a:ext uri="{FF2B5EF4-FFF2-40B4-BE49-F238E27FC236}">
                <a16:creationId xmlns:a16="http://schemas.microsoft.com/office/drawing/2014/main" id="{8293A509-0860-4ACB-8960-30D8A1391B9D}"/>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41" name="Table 40">
            <a:extLst>
              <a:ext uri="{FF2B5EF4-FFF2-40B4-BE49-F238E27FC236}">
                <a16:creationId xmlns:a16="http://schemas.microsoft.com/office/drawing/2014/main" id="{DA9FBB4E-012D-451E-B9A9-90BF38D5DC13}"/>
              </a:ext>
            </a:extLst>
          </p:cNvPr>
          <p:cNvGraphicFramePr>
            <a:graphicFrameLocks noGrp="1"/>
          </p:cNvGraphicFramePr>
          <p:nvPr>
            <p:extLst>
              <p:ext uri="{D42A27DB-BD31-4B8C-83A1-F6EECF244321}">
                <p14:modId xmlns:p14="http://schemas.microsoft.com/office/powerpoint/2010/main" val="348397255"/>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42" name="Rectangle 41">
            <a:hlinkClick r:id="rId2" action="ppaction://hlinksldjump"/>
            <a:extLst>
              <a:ext uri="{FF2B5EF4-FFF2-40B4-BE49-F238E27FC236}">
                <a16:creationId xmlns:a16="http://schemas.microsoft.com/office/drawing/2014/main" id="{F1691A43-5FE4-4B9C-BFEB-BD364AC91206}"/>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3" action="ppaction://hlinksldjump"/>
            <a:extLst>
              <a:ext uri="{FF2B5EF4-FFF2-40B4-BE49-F238E27FC236}">
                <a16:creationId xmlns:a16="http://schemas.microsoft.com/office/drawing/2014/main" id="{BA36C79A-859C-46A7-9945-BC89D3C8F72F}"/>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4" action="ppaction://hlinksldjump"/>
            <a:extLst>
              <a:ext uri="{FF2B5EF4-FFF2-40B4-BE49-F238E27FC236}">
                <a16:creationId xmlns:a16="http://schemas.microsoft.com/office/drawing/2014/main" id="{1F872A4B-5485-437D-800C-B42BADA40D8F}"/>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5" action="ppaction://hlinksldjump"/>
            <a:extLst>
              <a:ext uri="{FF2B5EF4-FFF2-40B4-BE49-F238E27FC236}">
                <a16:creationId xmlns:a16="http://schemas.microsoft.com/office/drawing/2014/main" id="{3FAE684E-5D43-47F0-8F65-2D9FDC80CC0A}"/>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hlinkClick r:id="rId6" action="ppaction://hlinksldjump"/>
            <a:extLst>
              <a:ext uri="{FF2B5EF4-FFF2-40B4-BE49-F238E27FC236}">
                <a16:creationId xmlns:a16="http://schemas.microsoft.com/office/drawing/2014/main" id="{CE2C9E05-CD80-4FC7-B18B-EC27BD04324F}"/>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7" action="ppaction://hlinksldjump"/>
            <a:extLst>
              <a:ext uri="{FF2B5EF4-FFF2-40B4-BE49-F238E27FC236}">
                <a16:creationId xmlns:a16="http://schemas.microsoft.com/office/drawing/2014/main" id="{1A1F7CB3-1CF8-41BC-8E76-762B9851A492}"/>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8" action="ppaction://hlinksldjump"/>
            <a:extLst>
              <a:ext uri="{FF2B5EF4-FFF2-40B4-BE49-F238E27FC236}">
                <a16:creationId xmlns:a16="http://schemas.microsoft.com/office/drawing/2014/main" id="{437B7FB1-CC66-42C5-8215-D07F19190F15}"/>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9" action="ppaction://hlinksldjump"/>
            <a:extLst>
              <a:ext uri="{FF2B5EF4-FFF2-40B4-BE49-F238E27FC236}">
                <a16:creationId xmlns:a16="http://schemas.microsoft.com/office/drawing/2014/main" id="{817B3058-DE7A-4103-94DD-26EA1C05A548}"/>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extLst>
              <a:ext uri="{FF2B5EF4-FFF2-40B4-BE49-F238E27FC236}">
                <a16:creationId xmlns:a16="http://schemas.microsoft.com/office/drawing/2014/main" id="{B2FFF80E-1803-4DEF-B94A-D6C94148A0B2}"/>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0" action="ppaction://hlinksldjump"/>
            <a:extLst>
              <a:ext uri="{FF2B5EF4-FFF2-40B4-BE49-F238E27FC236}">
                <a16:creationId xmlns:a16="http://schemas.microsoft.com/office/drawing/2014/main" id="{72CED862-C86B-4F9D-932F-1B5F60F60578}"/>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1" action="ppaction://hlinksldjump"/>
            <a:extLst>
              <a:ext uri="{FF2B5EF4-FFF2-40B4-BE49-F238E27FC236}">
                <a16:creationId xmlns:a16="http://schemas.microsoft.com/office/drawing/2014/main" id="{782E8074-6E2C-4B2A-B66C-BD60DB68BDE2}"/>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2" action="ppaction://hlinksldjump"/>
            <a:extLst>
              <a:ext uri="{FF2B5EF4-FFF2-40B4-BE49-F238E27FC236}">
                <a16:creationId xmlns:a16="http://schemas.microsoft.com/office/drawing/2014/main" id="{72F5C57A-9698-4106-81EC-B9D8DD2F8B71}"/>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3" action="ppaction://hlinksldjump"/>
            <a:extLst>
              <a:ext uri="{FF2B5EF4-FFF2-40B4-BE49-F238E27FC236}">
                <a16:creationId xmlns:a16="http://schemas.microsoft.com/office/drawing/2014/main" id="{1BD610AA-EDA0-4945-955A-397AB052059F}"/>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14" action="ppaction://hlinksldjump"/>
            <a:extLst>
              <a:ext uri="{FF2B5EF4-FFF2-40B4-BE49-F238E27FC236}">
                <a16:creationId xmlns:a16="http://schemas.microsoft.com/office/drawing/2014/main" id="{E54D71DF-5F64-44E0-9890-AD5FE9EEC1F6}"/>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5" action="ppaction://hlinksldjump"/>
            <a:extLst>
              <a:ext uri="{FF2B5EF4-FFF2-40B4-BE49-F238E27FC236}">
                <a16:creationId xmlns:a16="http://schemas.microsoft.com/office/drawing/2014/main" id="{FB585749-421A-4B5E-B5E5-99ECE199B54B}"/>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6" action="ppaction://hlinksldjump"/>
            <a:extLst>
              <a:ext uri="{FF2B5EF4-FFF2-40B4-BE49-F238E27FC236}">
                <a16:creationId xmlns:a16="http://schemas.microsoft.com/office/drawing/2014/main" id="{95E02A12-7362-4AC8-9595-F7CE9FC766B8}"/>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17" action="ppaction://hlinksldjump"/>
            <a:extLst>
              <a:ext uri="{FF2B5EF4-FFF2-40B4-BE49-F238E27FC236}">
                <a16:creationId xmlns:a16="http://schemas.microsoft.com/office/drawing/2014/main" id="{BD2493C7-BFF3-4424-A519-32937B0584B3}"/>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18" action="ppaction://hlinksldjump"/>
            <a:extLst>
              <a:ext uri="{FF2B5EF4-FFF2-40B4-BE49-F238E27FC236}">
                <a16:creationId xmlns:a16="http://schemas.microsoft.com/office/drawing/2014/main" id="{B6D56B90-D1A1-4255-9435-0CC6E7412CB8}"/>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hlinkClick r:id="rId19" action="ppaction://hlinksldjump"/>
            <a:extLst>
              <a:ext uri="{FF2B5EF4-FFF2-40B4-BE49-F238E27FC236}">
                <a16:creationId xmlns:a16="http://schemas.microsoft.com/office/drawing/2014/main" id="{2EA918CF-059F-4F3C-8C39-850A826D320E}"/>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0" action="ppaction://hlinksldjump"/>
            <a:extLst>
              <a:ext uri="{FF2B5EF4-FFF2-40B4-BE49-F238E27FC236}">
                <a16:creationId xmlns:a16="http://schemas.microsoft.com/office/drawing/2014/main" id="{DBFDDA13-9496-4E33-9CBF-3F7C05B1B07E}"/>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1" action="ppaction://hlinksldjump"/>
            <a:extLst>
              <a:ext uri="{FF2B5EF4-FFF2-40B4-BE49-F238E27FC236}">
                <a16:creationId xmlns:a16="http://schemas.microsoft.com/office/drawing/2014/main" id="{5743B269-61B1-4BDC-8882-62C0ED8C70B0}"/>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22" action="ppaction://hlinksldjump"/>
            <a:extLst>
              <a:ext uri="{FF2B5EF4-FFF2-40B4-BE49-F238E27FC236}">
                <a16:creationId xmlns:a16="http://schemas.microsoft.com/office/drawing/2014/main" id="{440D5575-0C93-4223-A8F6-B2BD38214202}"/>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extLst>
              <a:ext uri="{FF2B5EF4-FFF2-40B4-BE49-F238E27FC236}">
                <a16:creationId xmlns:a16="http://schemas.microsoft.com/office/drawing/2014/main" id="{C1CFF02E-FD7E-4E97-BB6A-117578A4EB07}"/>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hlinkClick r:id="rId23" action="ppaction://hlinksldjump"/>
            <a:extLst>
              <a:ext uri="{FF2B5EF4-FFF2-40B4-BE49-F238E27FC236}">
                <a16:creationId xmlns:a16="http://schemas.microsoft.com/office/drawing/2014/main" id="{3AF8FED0-DE3A-45ED-AD5D-273276D1E081}"/>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24" action="ppaction://hlinksldjump"/>
            <a:extLst>
              <a:ext uri="{FF2B5EF4-FFF2-40B4-BE49-F238E27FC236}">
                <a16:creationId xmlns:a16="http://schemas.microsoft.com/office/drawing/2014/main" id="{6EF4D8FA-7CFB-4032-A3C0-95BE80C34405}"/>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25" action="ppaction://hlinksldjump"/>
            <a:extLst>
              <a:ext uri="{FF2B5EF4-FFF2-40B4-BE49-F238E27FC236}">
                <a16:creationId xmlns:a16="http://schemas.microsoft.com/office/drawing/2014/main" id="{3248B4B2-48BD-4CC3-B709-7184AEA4E961}"/>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8" name="object 4">
            <a:extLst>
              <a:ext uri="{FF2B5EF4-FFF2-40B4-BE49-F238E27FC236}">
                <a16:creationId xmlns:a16="http://schemas.microsoft.com/office/drawing/2014/main" id="{97B61518-012E-48A7-81B0-6F676D39E728}"/>
              </a:ext>
            </a:extLst>
          </p:cNvPr>
          <p:cNvSpPr txBox="1"/>
          <p:nvPr/>
        </p:nvSpPr>
        <p:spPr>
          <a:xfrm>
            <a:off x="1547662" y="777498"/>
            <a:ext cx="3250368" cy="1609095"/>
          </a:xfrm>
          <a:prstGeom prst="rect">
            <a:avLst/>
          </a:prstGeom>
        </p:spPr>
        <p:txBody>
          <a:bodyPr vert="horz" wrap="square" lIns="0" tIns="92710" rIns="0" bIns="0" rtlCol="0">
            <a:spAutoFit/>
          </a:bodyPr>
          <a:lstStyle/>
          <a:p>
            <a:pPr marL="12699">
              <a:spcBef>
                <a:spcPts val="730"/>
              </a:spcBef>
            </a:pPr>
            <a:r>
              <a:rPr lang="en-GB" sz="1300" b="1" spc="-5">
                <a:latin typeface="Neue Frutiger World" panose="020B0603040304020203" pitchFamily="34" charset="0"/>
                <a:cs typeface="Neue Frutiger World" panose="020B0603040304020203" pitchFamily="34" charset="0"/>
              </a:rPr>
              <a:t>Strategic Account Planning tool</a:t>
            </a:r>
          </a:p>
          <a:p>
            <a:pPr marL="114290" indent="-101592">
              <a:spcBef>
                <a:spcPts val="390"/>
              </a:spcBef>
              <a:buChar char="•"/>
              <a:tabLst>
                <a:tab pos="114290" algn="l"/>
              </a:tabLst>
            </a:pPr>
            <a:r>
              <a:rPr lang="en-GB" sz="800" spc="-5">
                <a:latin typeface="Neue Frutiger World" panose="020B0603040304020203" pitchFamily="34" charset="0"/>
                <a:cs typeface="Neue Frutiger World" panose="020B0603040304020203" pitchFamily="34" charset="0"/>
              </a:rPr>
              <a:t>This tool provides a structured approach to identify referring accounts that could be targeted, how to plan strategies, their supporting tactics and define key decision makers. </a:t>
            </a:r>
          </a:p>
          <a:p>
            <a:pPr marL="12698">
              <a:spcBef>
                <a:spcPts val="390"/>
              </a:spcBef>
              <a:tabLst>
                <a:tab pos="114290" algn="l"/>
              </a:tabLst>
            </a:pPr>
            <a:endParaRPr lang="en-GB" sz="800" spc="-5">
              <a:latin typeface="Neue Frutiger World" panose="020B0603040304020203" pitchFamily="34" charset="0"/>
              <a:cs typeface="Neue Frutiger World" panose="020B0603040304020203" pitchFamily="34" charset="0"/>
            </a:endParaRPr>
          </a:p>
          <a:p>
            <a:pPr marL="12699">
              <a:spcBef>
                <a:spcPts val="730"/>
              </a:spcBef>
            </a:pPr>
            <a:r>
              <a:rPr lang="en-GB" sz="1300" b="1" spc="5">
                <a:solidFill>
                  <a:srgbClr val="231F20"/>
                </a:solidFill>
                <a:latin typeface="Neue Frutiger World" panose="020B0603040304020203" pitchFamily="34" charset="0"/>
                <a:cs typeface="Neue Frutiger World" panose="020B0603040304020203" pitchFamily="34" charset="0"/>
              </a:rPr>
              <a:t>Industry</a:t>
            </a:r>
            <a:r>
              <a:rPr lang="en-GB" sz="1300" b="1" spc="-55">
                <a:solidFill>
                  <a:srgbClr val="231F20"/>
                </a:solidFill>
                <a:latin typeface="Neue Frutiger World" panose="020B0603040304020203" pitchFamily="34" charset="0"/>
                <a:cs typeface="Neue Frutiger World" panose="020B0603040304020203" pitchFamily="34" charset="0"/>
              </a:rPr>
              <a:t> </a:t>
            </a:r>
            <a:r>
              <a:rPr lang="en-GB" sz="1300" b="1">
                <a:solidFill>
                  <a:srgbClr val="231F20"/>
                </a:solidFill>
                <a:latin typeface="Neue Frutiger World" panose="020B0603040304020203" pitchFamily="34" charset="0"/>
                <a:cs typeface="Neue Frutiger World" panose="020B0603040304020203" pitchFamily="34" charset="0"/>
              </a:rPr>
              <a:t>partners</a:t>
            </a:r>
            <a:endParaRPr lang="en-GB" sz="1300">
              <a:latin typeface="Neue Frutiger World" panose="020B0603040304020203" pitchFamily="34" charset="0"/>
              <a:cs typeface="Neue Frutiger World" panose="020B0603040304020203" pitchFamily="34" charset="0"/>
            </a:endParaRPr>
          </a:p>
          <a:p>
            <a:pPr marL="114290" marR="5079" indent="-101592">
              <a:lnSpc>
                <a:spcPct val="104200"/>
              </a:lnSpc>
              <a:spcBef>
                <a:spcPts val="350"/>
              </a:spcBef>
              <a:buChar char="•"/>
              <a:tabLst>
                <a:tab pos="114290" algn="l"/>
              </a:tabLst>
            </a:pPr>
            <a:r>
              <a:rPr lang="en-GB" sz="800">
                <a:solidFill>
                  <a:srgbClr val="231F20"/>
                </a:solidFill>
                <a:latin typeface="Neue Frutiger World" panose="020B0603040304020203" pitchFamily="34" charset="0"/>
                <a:cs typeface="Neue Frutiger World" panose="020B0603040304020203" pitchFamily="34" charset="0"/>
              </a:rPr>
              <a:t>CRM</a:t>
            </a:r>
            <a:r>
              <a:rPr lang="en-GB" sz="800" spc="5">
                <a:solidFill>
                  <a:srgbClr val="231F20"/>
                </a:solidFill>
                <a:latin typeface="Neue Frutiger World" panose="020B0603040304020203" pitchFamily="34" charset="0"/>
                <a:cs typeface="Neue Frutiger World" panose="020B0603040304020203" pitchFamily="34" charset="0"/>
              </a:rPr>
              <a:t> </a:t>
            </a:r>
            <a:r>
              <a:rPr lang="en-GB" sz="800" spc="-10">
                <a:solidFill>
                  <a:srgbClr val="231F20"/>
                </a:solidFill>
                <a:latin typeface="Neue Frutiger World" panose="020B0603040304020203" pitchFamily="34" charset="0"/>
                <a:cs typeface="Neue Frutiger World" panose="020B0603040304020203" pitchFamily="34" charset="0"/>
              </a:rPr>
              <a:t>reps</a:t>
            </a:r>
            <a:r>
              <a:rPr lang="en-GB" sz="800" spc="10">
                <a:solidFill>
                  <a:srgbClr val="231F20"/>
                </a:solidFill>
                <a:latin typeface="Neue Frutiger World" panose="020B0603040304020203" pitchFamily="34" charset="0"/>
                <a:cs typeface="Neue Frutiger World" panose="020B0603040304020203" pitchFamily="34" charset="0"/>
              </a:rPr>
              <a:t> </a:t>
            </a:r>
            <a:r>
              <a:rPr lang="en-GB" sz="800" spc="-5">
                <a:solidFill>
                  <a:srgbClr val="231F20"/>
                </a:solidFill>
                <a:latin typeface="Neue Frutiger World" panose="020B0603040304020203" pitchFamily="34" charset="0"/>
                <a:cs typeface="Neue Frutiger World" panose="020B0603040304020203" pitchFamily="34" charset="0"/>
              </a:rPr>
              <a:t>and</a:t>
            </a:r>
            <a:r>
              <a:rPr lang="en-GB" sz="800" spc="5">
                <a:solidFill>
                  <a:srgbClr val="231F20"/>
                </a:solidFill>
                <a:latin typeface="Neue Frutiger World" panose="020B0603040304020203" pitchFamily="34" charset="0"/>
                <a:cs typeface="Neue Frutiger World" panose="020B0603040304020203" pitchFamily="34" charset="0"/>
              </a:rPr>
              <a:t> </a:t>
            </a:r>
            <a:r>
              <a:rPr lang="en-GB" sz="800" spc="-5">
                <a:solidFill>
                  <a:srgbClr val="231F20"/>
                </a:solidFill>
                <a:latin typeface="Neue Frutiger World" panose="020B0603040304020203" pitchFamily="34" charset="0"/>
                <a:cs typeface="Neue Frutiger World" panose="020B0603040304020203" pitchFamily="34" charset="0"/>
              </a:rPr>
              <a:t>industry</a:t>
            </a:r>
            <a:r>
              <a:rPr lang="en-GB" sz="800" spc="-15">
                <a:solidFill>
                  <a:srgbClr val="231F20"/>
                </a:solidFill>
                <a:latin typeface="Neue Frutiger World" panose="020B0603040304020203" pitchFamily="34" charset="0"/>
                <a:cs typeface="Neue Frutiger World" panose="020B0603040304020203" pitchFamily="34" charset="0"/>
              </a:rPr>
              <a:t> </a:t>
            </a:r>
            <a:r>
              <a:rPr lang="en-GB" sz="800" spc="-10">
                <a:solidFill>
                  <a:srgbClr val="231F20"/>
                </a:solidFill>
                <a:latin typeface="Neue Frutiger World" panose="020B0603040304020203" pitchFamily="34" charset="0"/>
                <a:cs typeface="Neue Frutiger World" panose="020B0603040304020203" pitchFamily="34" charset="0"/>
              </a:rPr>
              <a:t>partners</a:t>
            </a:r>
            <a:r>
              <a:rPr lang="en-GB" sz="800" spc="5">
                <a:solidFill>
                  <a:srgbClr val="231F20"/>
                </a:solidFill>
                <a:latin typeface="Neue Frutiger World" panose="020B0603040304020203" pitchFamily="34" charset="0"/>
                <a:cs typeface="Neue Frutiger World" panose="020B0603040304020203" pitchFamily="34" charset="0"/>
              </a:rPr>
              <a:t> </a:t>
            </a:r>
            <a:r>
              <a:rPr lang="en-GB" sz="800" spc="-5">
                <a:solidFill>
                  <a:srgbClr val="231F20"/>
                </a:solidFill>
                <a:latin typeface="Neue Frutiger World" panose="020B0603040304020203" pitchFamily="34" charset="0"/>
                <a:cs typeface="Neue Frutiger World" panose="020B0603040304020203" pitchFamily="34" charset="0"/>
              </a:rPr>
              <a:t>can</a:t>
            </a:r>
            <a:r>
              <a:rPr lang="en-GB" sz="800" spc="10">
                <a:solidFill>
                  <a:srgbClr val="231F20"/>
                </a:solidFill>
                <a:latin typeface="Neue Frutiger World" panose="020B0603040304020203" pitchFamily="34" charset="0"/>
                <a:cs typeface="Neue Frutiger World" panose="020B0603040304020203" pitchFamily="34" charset="0"/>
              </a:rPr>
              <a:t> </a:t>
            </a:r>
            <a:r>
              <a:rPr lang="en-GB" sz="800" spc="-10">
                <a:solidFill>
                  <a:srgbClr val="231F20"/>
                </a:solidFill>
                <a:latin typeface="Neue Frutiger World" panose="020B0603040304020203" pitchFamily="34" charset="0"/>
                <a:cs typeface="Neue Frutiger World" panose="020B0603040304020203" pitchFamily="34" charset="0"/>
              </a:rPr>
              <a:t>often</a:t>
            </a:r>
            <a:r>
              <a:rPr lang="en-GB" sz="800" spc="5">
                <a:solidFill>
                  <a:srgbClr val="231F20"/>
                </a:solidFill>
                <a:latin typeface="Neue Frutiger World" panose="020B0603040304020203" pitchFamily="34" charset="0"/>
                <a:cs typeface="Neue Frutiger World" panose="020B0603040304020203" pitchFamily="34" charset="0"/>
              </a:rPr>
              <a:t> </a:t>
            </a:r>
            <a:r>
              <a:rPr lang="en-GB" sz="800" spc="-10">
                <a:solidFill>
                  <a:srgbClr val="231F20"/>
                </a:solidFill>
                <a:latin typeface="Neue Frutiger World" panose="020B0603040304020203" pitchFamily="34" charset="0"/>
                <a:cs typeface="Neue Frutiger World" panose="020B0603040304020203" pitchFamily="34" charset="0"/>
              </a:rPr>
              <a:t>provide </a:t>
            </a:r>
            <a:r>
              <a:rPr lang="en-GB" sz="800" spc="-5">
                <a:solidFill>
                  <a:srgbClr val="231F20"/>
                </a:solidFill>
                <a:latin typeface="Neue Frutiger World" panose="020B0603040304020203" pitchFamily="34" charset="0"/>
                <a:cs typeface="Neue Frutiger World" panose="020B0603040304020203" pitchFamily="34" charset="0"/>
              </a:rPr>
              <a:t>meaningful</a:t>
            </a:r>
            <a:r>
              <a:rPr lang="en-GB" sz="800" spc="15">
                <a:solidFill>
                  <a:srgbClr val="231F20"/>
                </a:solidFill>
                <a:latin typeface="Neue Frutiger World" panose="020B0603040304020203" pitchFamily="34" charset="0"/>
                <a:cs typeface="Neue Frutiger World" panose="020B0603040304020203" pitchFamily="34" charset="0"/>
              </a:rPr>
              <a:t> </a:t>
            </a:r>
            <a:r>
              <a:rPr lang="en-GB" sz="800" spc="-10">
                <a:solidFill>
                  <a:srgbClr val="231F20"/>
                </a:solidFill>
                <a:latin typeface="Neue Frutiger World" panose="020B0603040304020203" pitchFamily="34" charset="0"/>
                <a:cs typeface="Neue Frutiger World" panose="020B0603040304020203" pitchFamily="34" charset="0"/>
              </a:rPr>
              <a:t>information</a:t>
            </a:r>
            <a:r>
              <a:rPr lang="en-GB" sz="800" spc="15">
                <a:solidFill>
                  <a:srgbClr val="231F20"/>
                </a:solidFill>
                <a:latin typeface="Neue Frutiger World" panose="020B0603040304020203" pitchFamily="34" charset="0"/>
                <a:cs typeface="Neue Frutiger World" panose="020B0603040304020203" pitchFamily="34" charset="0"/>
              </a:rPr>
              <a:t> </a:t>
            </a:r>
            <a:r>
              <a:rPr lang="en-GB" sz="800" spc="-10">
                <a:solidFill>
                  <a:srgbClr val="231F20"/>
                </a:solidFill>
                <a:latin typeface="Neue Frutiger World" panose="020B0603040304020203" pitchFamily="34" charset="0"/>
                <a:cs typeface="Neue Frutiger World" panose="020B0603040304020203" pitchFamily="34" charset="0"/>
              </a:rPr>
              <a:t>about</a:t>
            </a:r>
            <a:r>
              <a:rPr lang="en-GB" sz="800" spc="15">
                <a:solidFill>
                  <a:srgbClr val="231F20"/>
                </a:solidFill>
                <a:latin typeface="Neue Frutiger World" panose="020B0603040304020203" pitchFamily="34" charset="0"/>
                <a:cs typeface="Neue Frutiger World" panose="020B0603040304020203" pitchFamily="34" charset="0"/>
              </a:rPr>
              <a:t> </a:t>
            </a:r>
            <a:r>
              <a:rPr lang="en-GB" sz="800" spc="-5">
                <a:solidFill>
                  <a:srgbClr val="231F20"/>
                </a:solidFill>
                <a:latin typeface="Neue Frutiger World" panose="020B0603040304020203" pitchFamily="34" charset="0"/>
                <a:cs typeface="Neue Frutiger World" panose="020B0603040304020203" pitchFamily="34" charset="0"/>
              </a:rPr>
              <a:t>physicians</a:t>
            </a:r>
            <a:r>
              <a:rPr lang="en-GB" sz="800" spc="20">
                <a:solidFill>
                  <a:srgbClr val="231F20"/>
                </a:solidFill>
                <a:latin typeface="Neue Frutiger World" panose="020B0603040304020203" pitchFamily="34" charset="0"/>
                <a:cs typeface="Neue Frutiger World" panose="020B0603040304020203" pitchFamily="34" charset="0"/>
              </a:rPr>
              <a:t> </a:t>
            </a:r>
            <a:r>
              <a:rPr lang="en-GB" sz="800" spc="-5">
                <a:solidFill>
                  <a:srgbClr val="231F20"/>
                </a:solidFill>
                <a:latin typeface="Neue Frutiger World" panose="020B0603040304020203" pitchFamily="34" charset="0"/>
                <a:cs typeface="Neue Frutiger World" panose="020B0603040304020203" pitchFamily="34" charset="0"/>
              </a:rPr>
              <a:t>or </a:t>
            </a:r>
            <a:r>
              <a:rPr lang="en-GB" sz="800" spc="-10">
                <a:solidFill>
                  <a:srgbClr val="231F20"/>
                </a:solidFill>
                <a:latin typeface="Neue Frutiger World" panose="020B0603040304020203" pitchFamily="34" charset="0"/>
                <a:cs typeface="Neue Frutiger World" panose="020B0603040304020203" pitchFamily="34" charset="0"/>
              </a:rPr>
              <a:t>accounts </a:t>
            </a:r>
            <a:r>
              <a:rPr lang="en-GB" sz="800">
                <a:solidFill>
                  <a:srgbClr val="231F20"/>
                </a:solidFill>
                <a:latin typeface="Neue Frutiger World" panose="020B0603040304020203" pitchFamily="34" charset="0"/>
                <a:cs typeface="Neue Frutiger World" panose="020B0603040304020203" pitchFamily="34" charset="0"/>
              </a:rPr>
              <a:t>you</a:t>
            </a:r>
            <a:r>
              <a:rPr lang="en-GB" sz="800" spc="-25">
                <a:solidFill>
                  <a:srgbClr val="231F20"/>
                </a:solidFill>
                <a:latin typeface="Neue Frutiger World" panose="020B0603040304020203" pitchFamily="34" charset="0"/>
                <a:cs typeface="Neue Frutiger World" panose="020B0603040304020203" pitchFamily="34" charset="0"/>
              </a:rPr>
              <a:t> </a:t>
            </a:r>
            <a:r>
              <a:rPr lang="en-GB" sz="800" spc="-10">
                <a:solidFill>
                  <a:srgbClr val="231F20"/>
                </a:solidFill>
                <a:latin typeface="Neue Frutiger World" panose="020B0603040304020203" pitchFamily="34" charset="0"/>
                <a:cs typeface="Neue Frutiger World" panose="020B0603040304020203" pitchFamily="34" charset="0"/>
              </a:rPr>
              <a:t>work</a:t>
            </a:r>
            <a:r>
              <a:rPr lang="en-GB" sz="800" spc="-20">
                <a:solidFill>
                  <a:srgbClr val="231F20"/>
                </a:solidFill>
                <a:latin typeface="Neue Frutiger World" panose="020B0603040304020203" pitchFamily="34" charset="0"/>
                <a:cs typeface="Neue Frutiger World" panose="020B0603040304020203" pitchFamily="34" charset="0"/>
              </a:rPr>
              <a:t> </a:t>
            </a:r>
            <a:r>
              <a:rPr lang="en-GB" sz="800" spc="-5">
                <a:solidFill>
                  <a:srgbClr val="231F20"/>
                </a:solidFill>
                <a:latin typeface="Neue Frutiger World" panose="020B0603040304020203" pitchFamily="34" charset="0"/>
                <a:cs typeface="Neue Frutiger World" panose="020B0603040304020203" pitchFamily="34" charset="0"/>
              </a:rPr>
              <a:t>with. CRM Reps often perform wound checks when devices are followed up.</a:t>
            </a:r>
            <a:endParaRPr lang="en-GB" sz="800" spc="-5">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162255134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2F3FF-A54B-4944-8055-55522811FC1D}"/>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Infection - systemic</a:t>
            </a:r>
          </a:p>
        </p:txBody>
      </p:sp>
      <p:sp>
        <p:nvSpPr>
          <p:cNvPr id="3" name="Footer Placeholder 2">
            <a:extLst>
              <a:ext uri="{FF2B5EF4-FFF2-40B4-BE49-F238E27FC236}">
                <a16:creationId xmlns:a16="http://schemas.microsoft.com/office/drawing/2014/main" id="{530EFE45-2561-4A98-A764-3254BED076FF}"/>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B8D8FFD9-8E26-4A20-9003-562A488C8C36}"/>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8</a:t>
            </a:fld>
            <a:endParaRPr lang="en-US" noProof="0" dirty="0">
              <a:latin typeface="Neue Frutiger World" panose="020B0603040304020203" pitchFamily="34" charset="0"/>
              <a:cs typeface="Neue Frutiger World" panose="020B0603040304020203" pitchFamily="34" charset="0"/>
            </a:endParaRPr>
          </a:p>
        </p:txBody>
      </p:sp>
      <p:sp>
        <p:nvSpPr>
          <p:cNvPr id="5" name="Text Placeholder 4">
            <a:extLst>
              <a:ext uri="{FF2B5EF4-FFF2-40B4-BE49-F238E27FC236}">
                <a16:creationId xmlns:a16="http://schemas.microsoft.com/office/drawing/2014/main" id="{CC6894E1-1616-4074-9110-EC127AEA4C7C}"/>
              </a:ext>
            </a:extLst>
          </p:cNvPr>
          <p:cNvSpPr>
            <a:spLocks noGrp="1"/>
          </p:cNvSpPr>
          <p:nvPr>
            <p:ph type="body" sz="quarter" idx="14"/>
          </p:nvPr>
        </p:nvSpPr>
        <p:spPr>
          <a:xfrm>
            <a:off x="1547663" y="843558"/>
            <a:ext cx="4117151" cy="3852505"/>
          </a:xfrm>
        </p:spPr>
        <p:txBody>
          <a:bodyPr/>
          <a:lstStyle/>
          <a:p>
            <a:pPr marL="0" marR="30477" indent="0" algn="just">
              <a:lnSpc>
                <a:spcPct val="104200"/>
              </a:lnSpc>
              <a:spcBef>
                <a:spcPts val="60"/>
              </a:spcBef>
              <a:buNone/>
            </a:pPr>
            <a:r>
              <a:rPr lang="en-GB" sz="800" b="1" spc="-5" dirty="0">
                <a:solidFill>
                  <a:srgbClr val="231F20"/>
                </a:solidFill>
                <a:latin typeface="Neue Frutiger World" panose="020B0603040304020203" pitchFamily="34" charset="0"/>
                <a:cs typeface="Neue Frutiger World" panose="020B0603040304020203" pitchFamily="34" charset="0"/>
              </a:rPr>
              <a:t>Systemic</a:t>
            </a:r>
            <a:r>
              <a:rPr lang="en-GB" sz="800" b="1" spc="35" dirty="0">
                <a:solidFill>
                  <a:srgbClr val="231F20"/>
                </a:solidFill>
                <a:latin typeface="Neue Frutiger World" panose="020B0603040304020203" pitchFamily="34" charset="0"/>
                <a:cs typeface="Neue Frutiger World" panose="020B0603040304020203" pitchFamily="34" charset="0"/>
              </a:rPr>
              <a:t> </a:t>
            </a:r>
            <a:r>
              <a:rPr lang="en-GB" sz="800" b="1" spc="-10" dirty="0">
                <a:solidFill>
                  <a:srgbClr val="231F20"/>
                </a:solidFill>
                <a:latin typeface="Neue Frutiger World" panose="020B0603040304020203" pitchFamily="34" charset="0"/>
                <a:cs typeface="Neue Frutiger World" panose="020B0603040304020203" pitchFamily="34" charset="0"/>
              </a:rPr>
              <a:t>infection</a:t>
            </a:r>
            <a:r>
              <a:rPr lang="en-GB" sz="800" b="1" spc="3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is</a:t>
            </a:r>
            <a:r>
              <a:rPr lang="en-GB" sz="800" spc="3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a</a:t>
            </a:r>
            <a:r>
              <a:rPr lang="en-GB" sz="800" spc="3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Class</a:t>
            </a:r>
            <a:r>
              <a:rPr lang="en-GB" sz="800" spc="35" dirty="0">
                <a:solidFill>
                  <a:srgbClr val="231F20"/>
                </a:solidFill>
                <a:latin typeface="Neue Frutiger World" panose="020B0603040304020203" pitchFamily="34" charset="0"/>
                <a:cs typeface="Neue Frutiger World" panose="020B0603040304020203" pitchFamily="34" charset="0"/>
              </a:rPr>
              <a:t> </a:t>
            </a:r>
            <a:r>
              <a:rPr lang="en-GB" sz="800" dirty="0">
                <a:solidFill>
                  <a:srgbClr val="231F20"/>
                </a:solidFill>
                <a:latin typeface="Neue Frutiger World" panose="020B0603040304020203" pitchFamily="34" charset="0"/>
                <a:cs typeface="Neue Frutiger World" panose="020B0603040304020203" pitchFamily="34" charset="0"/>
              </a:rPr>
              <a:t>I</a:t>
            </a:r>
            <a:r>
              <a:rPr lang="en-GB" sz="800" spc="4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indication</a:t>
            </a:r>
            <a:r>
              <a:rPr lang="en-GB" sz="800" spc="3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for</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removal</a:t>
            </a:r>
            <a:r>
              <a:rPr lang="en-GB" sz="800" spc="35" dirty="0">
                <a:solidFill>
                  <a:srgbClr val="231F20"/>
                </a:solidFill>
                <a:latin typeface="Neue Frutiger World" panose="020B0603040304020203" pitchFamily="34" charset="0"/>
                <a:cs typeface="Neue Frutiger World" panose="020B0603040304020203" pitchFamily="34" charset="0"/>
              </a:rPr>
              <a:t> </a:t>
            </a:r>
            <a:r>
              <a:rPr lang="en-GB" sz="800" dirty="0">
                <a:solidFill>
                  <a:srgbClr val="231F20"/>
                </a:solidFill>
                <a:latin typeface="Neue Frutiger World" panose="020B0603040304020203" pitchFamily="34" charset="0"/>
                <a:cs typeface="Neue Frutiger World" panose="020B0603040304020203" pitchFamily="34" charset="0"/>
              </a:rPr>
              <a:t>of</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all</a:t>
            </a:r>
            <a:r>
              <a:rPr lang="en-GB" sz="800" spc="3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hardware</a:t>
            </a:r>
            <a:r>
              <a:rPr lang="en-GB" sz="800" spc="3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including</a:t>
            </a:r>
            <a:r>
              <a:rPr lang="en-GB" sz="800" spc="3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the</a:t>
            </a:r>
            <a:r>
              <a:rPr lang="en-GB" sz="800" spc="3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leads.</a:t>
            </a:r>
            <a:r>
              <a:rPr lang="en-GB" sz="800" spc="35" dirty="0">
                <a:solidFill>
                  <a:srgbClr val="231F20"/>
                </a:solidFill>
                <a:latin typeface="Neue Frutiger World" panose="020B0603040304020203" pitchFamily="34" charset="0"/>
                <a:cs typeface="Neue Frutiger World" panose="020B0603040304020203" pitchFamily="34" charset="0"/>
              </a:rPr>
              <a:t> </a:t>
            </a:r>
            <a:r>
              <a:rPr lang="en-GB" sz="800" spc="-15" dirty="0">
                <a:solidFill>
                  <a:srgbClr val="231F20"/>
                </a:solidFill>
                <a:latin typeface="Neue Frutiger World" panose="020B0603040304020203" pitchFamily="34" charset="0"/>
                <a:cs typeface="Neue Frutiger World" panose="020B0603040304020203" pitchFamily="34" charset="0"/>
              </a:rPr>
              <a:t>However,</a:t>
            </a:r>
            <a:r>
              <a:rPr lang="en-GB" sz="800" spc="3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there</a:t>
            </a:r>
            <a:r>
              <a:rPr lang="en-GB" sz="800" spc="3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is</a:t>
            </a:r>
            <a:r>
              <a:rPr lang="en-GB" sz="800" spc="4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a low</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adherence</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20" dirty="0">
                <a:solidFill>
                  <a:srgbClr val="231F20"/>
                </a:solidFill>
                <a:latin typeface="Neue Frutiger World" panose="020B0603040304020203" pitchFamily="34" charset="0"/>
                <a:cs typeface="Neue Frutiger World" panose="020B0603040304020203" pitchFamily="34" charset="0"/>
              </a:rPr>
              <a:t>to</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Class</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dirty="0">
                <a:solidFill>
                  <a:srgbClr val="231F20"/>
                </a:solidFill>
                <a:latin typeface="Neue Frutiger World" panose="020B0603040304020203" pitchFamily="34" charset="0"/>
                <a:cs typeface="Neue Frutiger World" panose="020B0603040304020203" pitchFamily="34" charset="0"/>
              </a:rPr>
              <a:t>I</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indications</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often</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due</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20" dirty="0">
                <a:solidFill>
                  <a:srgbClr val="231F20"/>
                </a:solidFill>
                <a:latin typeface="Neue Frutiger World" panose="020B0603040304020203" pitchFamily="34" charset="0"/>
                <a:cs typeface="Neue Frutiger World" panose="020B0603040304020203" pitchFamily="34" charset="0"/>
              </a:rPr>
              <a:t>to</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barriers</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in</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the</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care</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pathway </a:t>
            </a:r>
            <a:r>
              <a:rPr lang="en-GB" sz="800" spc="-5" dirty="0">
                <a:solidFill>
                  <a:srgbClr val="231F20"/>
                </a:solidFill>
                <a:latin typeface="Neue Frutiger World" panose="020B0603040304020203" pitchFamily="34" charset="0"/>
                <a:cs typeface="Neue Frutiger World" panose="020B0603040304020203" pitchFamily="34" charset="0"/>
              </a:rPr>
              <a:t>such</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as</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mis-identification,</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15" dirty="0">
                <a:solidFill>
                  <a:srgbClr val="231F20"/>
                </a:solidFill>
                <a:latin typeface="Neue Frutiger World" panose="020B0603040304020203" pitchFamily="34" charset="0"/>
                <a:cs typeface="Neue Frutiger World" panose="020B0603040304020203" pitchFamily="34" charset="0"/>
              </a:rPr>
              <a:t>referral </a:t>
            </a:r>
            <a:r>
              <a:rPr lang="en-GB" sz="800" spc="-10" dirty="0">
                <a:solidFill>
                  <a:srgbClr val="231F20"/>
                </a:solidFill>
                <a:latin typeface="Neue Frutiger World" panose="020B0603040304020203" pitchFamily="34" charset="0"/>
                <a:cs typeface="Neue Frutiger World" panose="020B0603040304020203" pitchFamily="34" charset="0"/>
              </a:rPr>
              <a:t>barriers</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and</a:t>
            </a:r>
            <a:r>
              <a:rPr lang="en-GB" sz="80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the</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perception</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dirty="0">
                <a:solidFill>
                  <a:srgbClr val="231F20"/>
                </a:solidFill>
                <a:latin typeface="Neue Frutiger World" panose="020B0603040304020203" pitchFamily="34" charset="0"/>
                <a:cs typeface="Neue Frutiger World" panose="020B0603040304020203" pitchFamily="34" charset="0"/>
              </a:rPr>
              <a:t>of</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a</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high-risk</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extraction</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procedure.</a:t>
            </a:r>
            <a:r>
              <a:rPr lang="en-GB" sz="800" spc="-15" baseline="30864" dirty="0">
                <a:solidFill>
                  <a:srgbClr val="231F20"/>
                </a:solidFill>
                <a:latin typeface="Neue Frutiger World" panose="020B0603040304020203" pitchFamily="34" charset="0"/>
                <a:cs typeface="Neue Frutiger World" panose="020B0603040304020203" pitchFamily="34" charset="0"/>
              </a:rPr>
              <a:t>17</a:t>
            </a:r>
          </a:p>
          <a:p>
            <a:pPr marL="38097" marR="30477">
              <a:lnSpc>
                <a:spcPct val="104200"/>
              </a:lnSpc>
              <a:spcBef>
                <a:spcPts val="60"/>
              </a:spcBef>
            </a:pPr>
            <a:endParaRPr lang="en-GB" sz="800" spc="-15" dirty="0">
              <a:solidFill>
                <a:srgbClr val="231F20"/>
              </a:solidFill>
              <a:latin typeface="Neue Frutiger World" panose="020B0603040304020203" pitchFamily="34" charset="0"/>
              <a:cs typeface="Neue Frutiger World" panose="020B0603040304020203" pitchFamily="34" charset="0"/>
            </a:endParaRPr>
          </a:p>
          <a:p>
            <a:pPr marL="0" marR="30477" indent="0" algn="just">
              <a:lnSpc>
                <a:spcPct val="104200"/>
              </a:lnSpc>
              <a:spcBef>
                <a:spcPts val="60"/>
              </a:spcBef>
              <a:buNone/>
            </a:pPr>
            <a:r>
              <a:rPr lang="en-GB" sz="800" spc="-15" dirty="0">
                <a:solidFill>
                  <a:srgbClr val="231F20"/>
                </a:solidFill>
                <a:latin typeface="Neue Frutiger World" panose="020B0603040304020203" pitchFamily="34" charset="0"/>
                <a:cs typeface="Neue Frutiger World" panose="020B0603040304020203" pitchFamily="34" charset="0"/>
              </a:rPr>
              <a:t>The key aspect to successful treatment of </a:t>
            </a:r>
            <a:r>
              <a:rPr lang="en-GB" sz="800" b="1" spc="-15" dirty="0">
                <a:solidFill>
                  <a:srgbClr val="231F20"/>
                </a:solidFill>
                <a:latin typeface="Neue Frutiger World" panose="020B0603040304020203" pitchFamily="34" charset="0"/>
                <a:cs typeface="Neue Frutiger World" panose="020B0603040304020203" pitchFamily="34" charset="0"/>
              </a:rPr>
              <a:t>definite CIED infections </a:t>
            </a:r>
            <a:r>
              <a:rPr lang="en-GB" sz="800" spc="-15" dirty="0">
                <a:solidFill>
                  <a:srgbClr val="231F20"/>
                </a:solidFill>
                <a:latin typeface="Neue Frutiger World" panose="020B0603040304020203" pitchFamily="34" charset="0"/>
                <a:cs typeface="Neue Frutiger World" panose="020B0603040304020203" pitchFamily="34" charset="0"/>
              </a:rPr>
              <a:t>is complete removal of all parts of the system and transvenous hardware, including the device and all leads (active, abandoned, epicardial leads as well as lead fragments) as well as vascular ports or permanent haemodialysis catheter. </a:t>
            </a:r>
            <a:r>
              <a:rPr lang="en-GB" sz="800" b="1" spc="-15" dirty="0">
                <a:solidFill>
                  <a:srgbClr val="231F20"/>
                </a:solidFill>
                <a:latin typeface="Neue Frutiger World" panose="020B0603040304020203" pitchFamily="34" charset="0"/>
                <a:cs typeface="Neue Frutiger World" panose="020B0603040304020203" pitchFamily="34" charset="0"/>
              </a:rPr>
              <a:t>This treatment concept applies to systemic as well as localised CIED pocket infections.</a:t>
            </a:r>
            <a:r>
              <a:rPr lang="en-GB" sz="800" b="1" spc="-10" baseline="30000" dirty="0">
                <a:latin typeface="Neue Frutiger World" panose="020B0603040304020203" pitchFamily="34" charset="0"/>
                <a:cs typeface="Neue Frutiger World" panose="020B0603040304020203" pitchFamily="34" charset="0"/>
              </a:rPr>
              <a:t> 28</a:t>
            </a:r>
            <a:endParaRPr lang="en-GB" sz="800" b="1" spc="-15" dirty="0">
              <a:solidFill>
                <a:srgbClr val="231F20"/>
              </a:solidFill>
              <a:latin typeface="Neue Frutiger World" panose="020B0603040304020203" pitchFamily="34" charset="0"/>
              <a:cs typeface="Neue Frutiger World" panose="020B0603040304020203" pitchFamily="34" charset="0"/>
            </a:endParaRPr>
          </a:p>
          <a:p>
            <a:pPr marL="38097" marR="30477">
              <a:lnSpc>
                <a:spcPct val="104200"/>
              </a:lnSpc>
              <a:spcBef>
                <a:spcPts val="60"/>
              </a:spcBef>
            </a:pPr>
            <a:endParaRPr lang="en-GB" sz="800" spc="-15" dirty="0">
              <a:solidFill>
                <a:srgbClr val="231F20"/>
              </a:solidFill>
              <a:latin typeface="Neue Frutiger World" panose="020B0603040304020203" pitchFamily="34" charset="0"/>
              <a:cs typeface="Neue Frutiger World" panose="020B0603040304020203" pitchFamily="34" charset="0"/>
            </a:endParaRPr>
          </a:p>
          <a:p>
            <a:pPr marL="0" indent="0">
              <a:spcBef>
                <a:spcPts val="489"/>
              </a:spcBef>
              <a:buNone/>
            </a:pPr>
            <a:r>
              <a:rPr lang="en-GB" sz="800" spc="-5" dirty="0">
                <a:solidFill>
                  <a:srgbClr val="231F20"/>
                </a:solidFill>
                <a:latin typeface="Neue Frutiger World" panose="020B0603040304020203" pitchFamily="34" charset="0"/>
                <a:cs typeface="Neue Frutiger World" panose="020B0603040304020203" pitchFamily="34" charset="0"/>
              </a:rPr>
              <a:t>Even</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with</a:t>
            </a:r>
            <a:r>
              <a:rPr lang="en-GB" sz="80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these</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known</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risks,</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dirty="0">
                <a:solidFill>
                  <a:srgbClr val="231F20"/>
                </a:solidFill>
                <a:latin typeface="Neue Frutiger World" panose="020B0603040304020203" pitchFamily="34" charset="0"/>
                <a:cs typeface="Neue Frutiger World" panose="020B0603040304020203" pitchFamily="34" charset="0"/>
              </a:rPr>
              <a:t>many</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patients</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are</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not</a:t>
            </a:r>
            <a:r>
              <a:rPr lang="en-GB" sz="800" dirty="0">
                <a:solidFill>
                  <a:srgbClr val="231F20"/>
                </a:solidFill>
                <a:latin typeface="Neue Frutiger World" panose="020B0603040304020203" pitchFamily="34" charset="0"/>
                <a:cs typeface="Neue Frutiger World" panose="020B0603040304020203" pitchFamily="34" charset="0"/>
              </a:rPr>
              <a:t> </a:t>
            </a:r>
            <a:r>
              <a:rPr lang="en-GB" sz="800" spc="-15" dirty="0">
                <a:latin typeface="Neue Frutiger World" panose="020B0603040304020203" pitchFamily="34" charset="0"/>
                <a:cs typeface="Neue Frutiger World" panose="020B0603040304020203" pitchFamily="34" charset="0"/>
              </a:rPr>
              <a:t>treated</a:t>
            </a:r>
            <a:r>
              <a:rPr lang="en-GB" sz="800" spc="10" dirty="0">
                <a:latin typeface="Neue Frutiger World" panose="020B0603040304020203" pitchFamily="34" charset="0"/>
                <a:cs typeface="Neue Frutiger World" panose="020B0603040304020203" pitchFamily="34" charset="0"/>
              </a:rPr>
              <a:t> </a:t>
            </a:r>
            <a:r>
              <a:rPr lang="en-GB" sz="800" spc="-10" dirty="0">
                <a:latin typeface="Neue Frutiger World" panose="020B0603040304020203" pitchFamily="34" charset="0"/>
                <a:cs typeface="Neue Frutiger World" panose="020B0603040304020203" pitchFamily="34" charset="0"/>
              </a:rPr>
              <a:t>according to guidelines.</a:t>
            </a:r>
            <a:r>
              <a:rPr lang="en-GB" sz="800" spc="-10" baseline="30000" dirty="0">
                <a:latin typeface="Neue Frutiger World" panose="020B0603040304020203" pitchFamily="34" charset="0"/>
                <a:cs typeface="Neue Frutiger World" panose="020B0603040304020203" pitchFamily="34" charset="0"/>
              </a:rPr>
              <a:t>28</a:t>
            </a:r>
            <a:endParaRPr lang="en-GB" sz="800" dirty="0">
              <a:latin typeface="Neue Frutiger World" panose="020B0603040304020203" pitchFamily="34" charset="0"/>
              <a:cs typeface="Neue Frutiger World" panose="020B0603040304020203" pitchFamily="34" charset="0"/>
            </a:endParaRPr>
          </a:p>
          <a:p>
            <a:pPr marL="253979" marR="155562" indent="-76194">
              <a:lnSpc>
                <a:spcPct val="104200"/>
              </a:lnSpc>
              <a:spcBef>
                <a:spcPts val="229"/>
              </a:spcBef>
              <a:buChar char="•"/>
              <a:tabLst>
                <a:tab pos="253979" algn="l"/>
              </a:tabLst>
            </a:pPr>
            <a:r>
              <a:rPr lang="en-GB" sz="800" spc="-10" dirty="0">
                <a:solidFill>
                  <a:srgbClr val="231F20"/>
                </a:solidFill>
                <a:latin typeface="Neue Frutiger World" panose="020B0603040304020203" pitchFamily="34" charset="0"/>
                <a:cs typeface="Neue Frutiger World" panose="020B0603040304020203" pitchFamily="34" charset="0"/>
              </a:rPr>
              <a:t>More</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than</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dirty="0">
                <a:solidFill>
                  <a:srgbClr val="231F20"/>
                </a:solidFill>
                <a:latin typeface="Neue Frutiger World" panose="020B0603040304020203" pitchFamily="34" charset="0"/>
                <a:cs typeface="Neue Frutiger World" panose="020B0603040304020203" pitchFamily="34" charset="0"/>
              </a:rPr>
              <a:t>6</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in</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10</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patients</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15" dirty="0">
                <a:solidFill>
                  <a:srgbClr val="231F20"/>
                </a:solidFill>
                <a:latin typeface="Neue Frutiger World" panose="020B0603040304020203" pitchFamily="34" charset="0"/>
                <a:cs typeface="Neue Frutiger World" panose="020B0603040304020203" pitchFamily="34" charset="0"/>
              </a:rPr>
              <a:t>suffering</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from</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cardiac</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device</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infections</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are</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15" dirty="0">
                <a:solidFill>
                  <a:srgbClr val="231F20"/>
                </a:solidFill>
                <a:latin typeface="Neue Frutiger World" panose="020B0603040304020203" pitchFamily="34" charset="0"/>
                <a:cs typeface="Neue Frutiger World" panose="020B0603040304020203" pitchFamily="34" charset="0"/>
              </a:rPr>
              <a:t>treated</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with </a:t>
            </a:r>
            <a:r>
              <a:rPr lang="en-GB" sz="800" spc="-10" dirty="0">
                <a:solidFill>
                  <a:srgbClr val="231F20"/>
                </a:solidFill>
                <a:latin typeface="Neue Frutiger World" panose="020B0603040304020203" pitchFamily="34" charset="0"/>
                <a:cs typeface="Neue Frutiger World" panose="020B0603040304020203" pitchFamily="34" charset="0"/>
              </a:rPr>
              <a:t>antibiotics</a:t>
            </a:r>
            <a:r>
              <a:rPr lang="en-GB" sz="80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only</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or</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not</a:t>
            </a:r>
            <a:r>
              <a:rPr lang="en-GB" sz="800" dirty="0">
                <a:solidFill>
                  <a:srgbClr val="231F20"/>
                </a:solidFill>
                <a:latin typeface="Neue Frutiger World" panose="020B0603040304020203" pitchFamily="34" charset="0"/>
                <a:cs typeface="Neue Frutiger World" panose="020B0603040304020203" pitchFamily="34" charset="0"/>
              </a:rPr>
              <a:t> </a:t>
            </a:r>
            <a:r>
              <a:rPr lang="en-GB" sz="800" spc="-15" dirty="0">
                <a:solidFill>
                  <a:srgbClr val="231F20"/>
                </a:solidFill>
                <a:latin typeface="Neue Frutiger World" panose="020B0603040304020203" pitchFamily="34" charset="0"/>
                <a:cs typeface="Neue Frutiger World" panose="020B0603040304020203" pitchFamily="34" charset="0"/>
              </a:rPr>
              <a:t>treated</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15" dirty="0">
                <a:solidFill>
                  <a:srgbClr val="231F20"/>
                </a:solidFill>
                <a:latin typeface="Neue Frutiger World" panose="020B0603040304020203" pitchFamily="34" charset="0"/>
                <a:cs typeface="Neue Frutiger World" panose="020B0603040304020203" pitchFamily="34" charset="0"/>
              </a:rPr>
              <a:t>at</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dirty="0">
                <a:solidFill>
                  <a:srgbClr val="231F20"/>
                </a:solidFill>
                <a:latin typeface="Neue Frutiger World" panose="020B0603040304020203" pitchFamily="34" charset="0"/>
                <a:cs typeface="Neue Frutiger World" panose="020B0603040304020203" pitchFamily="34" charset="0"/>
              </a:rPr>
              <a:t>all.</a:t>
            </a:r>
            <a:r>
              <a:rPr lang="en-GB" sz="800" baseline="30864" dirty="0">
                <a:solidFill>
                  <a:srgbClr val="231F20"/>
                </a:solidFill>
                <a:latin typeface="Neue Frutiger World" panose="020B0603040304020203" pitchFamily="34" charset="0"/>
                <a:cs typeface="Neue Frutiger World" panose="020B0603040304020203" pitchFamily="34" charset="0"/>
              </a:rPr>
              <a:t>26</a:t>
            </a:r>
            <a:endParaRPr lang="en-GB" sz="800" baseline="30864" dirty="0">
              <a:latin typeface="Neue Frutiger World" panose="020B0603040304020203" pitchFamily="34" charset="0"/>
              <a:cs typeface="Neue Frutiger World" panose="020B0603040304020203" pitchFamily="34" charset="0"/>
            </a:endParaRPr>
          </a:p>
          <a:p>
            <a:pPr marL="253979" indent="-76194">
              <a:spcBef>
                <a:spcPts val="275"/>
              </a:spcBef>
              <a:tabLst>
                <a:tab pos="253979" algn="l"/>
              </a:tabLst>
            </a:pPr>
            <a:r>
              <a:rPr lang="en-GB" sz="800" spc="-10" dirty="0">
                <a:solidFill>
                  <a:srgbClr val="231F20"/>
                </a:solidFill>
                <a:latin typeface="Neue Frutiger World" panose="020B0603040304020203" pitchFamily="34" charset="0"/>
                <a:cs typeface="Neue Frutiger World" panose="020B0603040304020203" pitchFamily="34" charset="0"/>
              </a:rPr>
              <a:t>Recent</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guidelines</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suggest</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complete</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extraction</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within</a:t>
            </a:r>
            <a:r>
              <a:rPr lang="en-GB" sz="800" spc="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three</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days</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dirty="0">
                <a:solidFill>
                  <a:srgbClr val="231F20"/>
                </a:solidFill>
                <a:latin typeface="Neue Frutiger World" panose="020B0603040304020203" pitchFamily="34" charset="0"/>
                <a:cs typeface="Neue Frutiger World" panose="020B0603040304020203" pitchFamily="34" charset="0"/>
              </a:rPr>
              <a:t>of</a:t>
            </a:r>
            <a:r>
              <a:rPr lang="en-GB" sz="800" spc="-1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diagnosis.</a:t>
            </a:r>
            <a:r>
              <a:rPr lang="en-GB" sz="800" spc="-10" baseline="30000" dirty="0">
                <a:latin typeface="Neue Frutiger World" panose="020B0603040304020203" pitchFamily="34" charset="0"/>
                <a:cs typeface="Neue Frutiger World" panose="020B0603040304020203" pitchFamily="34" charset="0"/>
              </a:rPr>
              <a:t> 28</a:t>
            </a:r>
            <a:endParaRPr lang="en-GB" sz="800" dirty="0">
              <a:latin typeface="Neue Frutiger World" panose="020B0603040304020203" pitchFamily="34" charset="0"/>
              <a:cs typeface="Neue Frutiger World" panose="020B0603040304020203" pitchFamily="34" charset="0"/>
            </a:endParaRPr>
          </a:p>
          <a:p>
            <a:pPr>
              <a:spcBef>
                <a:spcPts val="50"/>
              </a:spcBef>
              <a:buClr>
                <a:srgbClr val="231F20"/>
              </a:buClr>
              <a:buFont typeface="CentraleSans Book"/>
              <a:buChar char="•"/>
            </a:pPr>
            <a:endParaRPr lang="en-GB" sz="800" dirty="0">
              <a:latin typeface="Neue Frutiger World" panose="020B0603040304020203" pitchFamily="34" charset="0"/>
              <a:cs typeface="Neue Frutiger World" panose="020B0603040304020203" pitchFamily="34" charset="0"/>
            </a:endParaRPr>
          </a:p>
          <a:p>
            <a:pPr marL="0" indent="0">
              <a:buNone/>
            </a:pPr>
            <a:r>
              <a:rPr lang="en-GB" sz="800" b="1" spc="-5" dirty="0">
                <a:solidFill>
                  <a:srgbClr val="231F20"/>
                </a:solidFill>
                <a:latin typeface="Neue Frutiger World" panose="020B0603040304020203" pitchFamily="34" charset="0"/>
                <a:cs typeface="Neue Frutiger World" panose="020B0603040304020203" pitchFamily="34" charset="0"/>
              </a:rPr>
              <a:t>Symptoms</a:t>
            </a:r>
            <a:r>
              <a:rPr lang="en-GB" sz="800" b="1" spc="25" dirty="0">
                <a:solidFill>
                  <a:srgbClr val="231F20"/>
                </a:solidFill>
                <a:latin typeface="Neue Frutiger World" panose="020B0603040304020203" pitchFamily="34" charset="0"/>
                <a:cs typeface="Neue Frutiger World" panose="020B0603040304020203" pitchFamily="34" charset="0"/>
              </a:rPr>
              <a:t> </a:t>
            </a:r>
            <a:r>
              <a:rPr lang="en-GB" sz="800" b="1" spc="-5" dirty="0">
                <a:solidFill>
                  <a:srgbClr val="231F20"/>
                </a:solidFill>
                <a:latin typeface="Neue Frutiger World" panose="020B0603040304020203" pitchFamily="34" charset="0"/>
                <a:cs typeface="Neue Frutiger World" panose="020B0603040304020203" pitchFamily="34" charset="0"/>
              </a:rPr>
              <a:t>of</a:t>
            </a:r>
            <a:r>
              <a:rPr lang="en-GB" sz="800" b="1" spc="10" dirty="0">
                <a:solidFill>
                  <a:srgbClr val="231F20"/>
                </a:solidFill>
                <a:latin typeface="Neue Frutiger World" panose="020B0603040304020203" pitchFamily="34" charset="0"/>
                <a:cs typeface="Neue Frutiger World" panose="020B0603040304020203" pitchFamily="34" charset="0"/>
              </a:rPr>
              <a:t> </a:t>
            </a:r>
            <a:r>
              <a:rPr lang="en-GB" sz="800" b="1" spc="-5" dirty="0">
                <a:solidFill>
                  <a:srgbClr val="231F20"/>
                </a:solidFill>
                <a:latin typeface="Neue Frutiger World" panose="020B0603040304020203" pitchFamily="34" charset="0"/>
                <a:cs typeface="Neue Frutiger World" panose="020B0603040304020203" pitchFamily="34" charset="0"/>
              </a:rPr>
              <a:t>systemic</a:t>
            </a:r>
            <a:r>
              <a:rPr lang="en-GB" sz="800" b="1" spc="25" dirty="0">
                <a:solidFill>
                  <a:srgbClr val="231F20"/>
                </a:solidFill>
                <a:latin typeface="Neue Frutiger World" panose="020B0603040304020203" pitchFamily="34" charset="0"/>
                <a:cs typeface="Neue Frutiger World" panose="020B0603040304020203" pitchFamily="34" charset="0"/>
              </a:rPr>
              <a:t> </a:t>
            </a:r>
            <a:r>
              <a:rPr lang="en-GB" sz="800" b="1" spc="-5" dirty="0">
                <a:solidFill>
                  <a:srgbClr val="231F20"/>
                </a:solidFill>
                <a:latin typeface="Neue Frutiger World" panose="020B0603040304020203" pitchFamily="34" charset="0"/>
                <a:cs typeface="Neue Frutiger World" panose="020B0603040304020203" pitchFamily="34" charset="0"/>
              </a:rPr>
              <a:t>infections</a:t>
            </a:r>
            <a:r>
              <a:rPr lang="en-GB" sz="800" b="1" spc="25" dirty="0">
                <a:solidFill>
                  <a:srgbClr val="231F20"/>
                </a:solidFill>
                <a:latin typeface="Neue Frutiger World" panose="020B0603040304020203" pitchFamily="34" charset="0"/>
                <a:cs typeface="Neue Frutiger World" panose="020B0603040304020203" pitchFamily="34" charset="0"/>
              </a:rPr>
              <a:t> </a:t>
            </a:r>
            <a:r>
              <a:rPr lang="en-GB" sz="800" b="1" dirty="0">
                <a:solidFill>
                  <a:srgbClr val="231F20"/>
                </a:solidFill>
                <a:latin typeface="Neue Frutiger World" panose="020B0603040304020203" pitchFamily="34" charset="0"/>
                <a:cs typeface="Neue Frutiger World" panose="020B0603040304020203" pitchFamily="34" charset="0"/>
              </a:rPr>
              <a:t>may be</a:t>
            </a:r>
            <a:r>
              <a:rPr lang="en-GB" sz="800" b="1" spc="30" dirty="0">
                <a:solidFill>
                  <a:srgbClr val="231F20"/>
                </a:solidFill>
                <a:latin typeface="Neue Frutiger World" panose="020B0603040304020203" pitchFamily="34" charset="0"/>
                <a:cs typeface="Neue Frutiger World" panose="020B0603040304020203" pitchFamily="34" charset="0"/>
              </a:rPr>
              <a:t> </a:t>
            </a:r>
            <a:r>
              <a:rPr lang="en-GB" sz="800" b="1" spc="-5" dirty="0">
                <a:solidFill>
                  <a:srgbClr val="231F20"/>
                </a:solidFill>
                <a:latin typeface="Neue Frutiger World" panose="020B0603040304020203" pitchFamily="34" charset="0"/>
                <a:cs typeface="Neue Frutiger World" panose="020B0603040304020203" pitchFamily="34" charset="0"/>
              </a:rPr>
              <a:t>more</a:t>
            </a:r>
            <a:r>
              <a:rPr lang="en-GB" sz="800" b="1" spc="25" dirty="0">
                <a:solidFill>
                  <a:srgbClr val="231F20"/>
                </a:solidFill>
                <a:latin typeface="Neue Frutiger World" panose="020B0603040304020203" pitchFamily="34" charset="0"/>
                <a:cs typeface="Neue Frutiger World" panose="020B0603040304020203" pitchFamily="34" charset="0"/>
              </a:rPr>
              <a:t> </a:t>
            </a:r>
            <a:r>
              <a:rPr lang="en-GB" sz="800" b="1" spc="-5" dirty="0">
                <a:solidFill>
                  <a:srgbClr val="231F20"/>
                </a:solidFill>
                <a:latin typeface="Neue Frutiger World" panose="020B0603040304020203" pitchFamily="34" charset="0"/>
                <a:cs typeface="Neue Frutiger World" panose="020B0603040304020203" pitchFamily="34" charset="0"/>
              </a:rPr>
              <a:t>elusive</a:t>
            </a:r>
            <a:r>
              <a:rPr lang="en-GB" sz="800" b="1" spc="25" dirty="0">
                <a:solidFill>
                  <a:srgbClr val="231F20"/>
                </a:solidFill>
                <a:latin typeface="Neue Frutiger World" panose="020B0603040304020203" pitchFamily="34" charset="0"/>
                <a:cs typeface="Neue Frutiger World" panose="020B0603040304020203" pitchFamily="34" charset="0"/>
              </a:rPr>
              <a:t> </a:t>
            </a:r>
            <a:r>
              <a:rPr lang="en-GB" sz="800" b="1" dirty="0">
                <a:solidFill>
                  <a:srgbClr val="231F20"/>
                </a:solidFill>
                <a:latin typeface="Neue Frutiger World" panose="020B0603040304020203" pitchFamily="34" charset="0"/>
                <a:cs typeface="Neue Frutiger World" panose="020B0603040304020203" pitchFamily="34" charset="0"/>
              </a:rPr>
              <a:t>and</a:t>
            </a:r>
            <a:r>
              <a:rPr lang="en-GB" sz="800" b="1" spc="25" dirty="0">
                <a:solidFill>
                  <a:srgbClr val="231F20"/>
                </a:solidFill>
                <a:latin typeface="Neue Frutiger World" panose="020B0603040304020203" pitchFamily="34" charset="0"/>
                <a:cs typeface="Neue Frutiger World" panose="020B0603040304020203" pitchFamily="34" charset="0"/>
              </a:rPr>
              <a:t> </a:t>
            </a:r>
            <a:r>
              <a:rPr lang="en-GB" sz="800" b="1" spc="-5" dirty="0">
                <a:solidFill>
                  <a:srgbClr val="231F20"/>
                </a:solidFill>
                <a:latin typeface="Neue Frutiger World" panose="020B0603040304020203" pitchFamily="34" charset="0"/>
                <a:cs typeface="Neue Frutiger World" panose="020B0603040304020203" pitchFamily="34" charset="0"/>
              </a:rPr>
              <a:t>general</a:t>
            </a:r>
            <a:r>
              <a:rPr lang="en-GB" sz="800" b="1" spc="30" dirty="0">
                <a:solidFill>
                  <a:srgbClr val="231F20"/>
                </a:solidFill>
                <a:latin typeface="Neue Frutiger World" panose="020B0603040304020203" pitchFamily="34" charset="0"/>
                <a:cs typeface="Neue Frutiger World" panose="020B0603040304020203" pitchFamily="34" charset="0"/>
              </a:rPr>
              <a:t> </a:t>
            </a:r>
            <a:r>
              <a:rPr lang="en-GB" sz="800" b="1" dirty="0">
                <a:solidFill>
                  <a:srgbClr val="231F20"/>
                </a:solidFill>
                <a:latin typeface="Neue Frutiger World" panose="020B0603040304020203" pitchFamily="34" charset="0"/>
                <a:cs typeface="Neue Frutiger World" panose="020B0603040304020203" pitchFamily="34" charset="0"/>
              </a:rPr>
              <a:t>in</a:t>
            </a:r>
            <a:r>
              <a:rPr lang="en-GB" sz="800" b="1" spc="25" dirty="0">
                <a:solidFill>
                  <a:srgbClr val="231F20"/>
                </a:solidFill>
                <a:latin typeface="Neue Frutiger World" panose="020B0603040304020203" pitchFamily="34" charset="0"/>
                <a:cs typeface="Neue Frutiger World" panose="020B0603040304020203" pitchFamily="34" charset="0"/>
              </a:rPr>
              <a:t> </a:t>
            </a:r>
            <a:r>
              <a:rPr lang="en-GB" sz="800" b="1" spc="-5" dirty="0">
                <a:solidFill>
                  <a:srgbClr val="231F20"/>
                </a:solidFill>
                <a:latin typeface="Neue Frutiger World" panose="020B0603040304020203" pitchFamily="34" charset="0"/>
                <a:cs typeface="Neue Frutiger World" panose="020B0603040304020203" pitchFamily="34" charset="0"/>
              </a:rPr>
              <a:t>nature,</a:t>
            </a:r>
            <a:r>
              <a:rPr lang="en-GB" sz="800" b="1" spc="25" dirty="0">
                <a:solidFill>
                  <a:srgbClr val="231F20"/>
                </a:solidFill>
                <a:latin typeface="Neue Frutiger World" panose="020B0603040304020203" pitchFamily="34" charset="0"/>
                <a:cs typeface="Neue Frutiger World" panose="020B0603040304020203" pitchFamily="34" charset="0"/>
              </a:rPr>
              <a:t> </a:t>
            </a:r>
            <a:r>
              <a:rPr lang="en-GB" sz="800" b="1" spc="-5" dirty="0">
                <a:solidFill>
                  <a:srgbClr val="231F20"/>
                </a:solidFill>
                <a:latin typeface="Neue Frutiger World" panose="020B0603040304020203" pitchFamily="34" charset="0"/>
                <a:cs typeface="Neue Frutiger World" panose="020B0603040304020203" pitchFamily="34" charset="0"/>
              </a:rPr>
              <a:t>such</a:t>
            </a:r>
            <a:r>
              <a:rPr lang="en-GB" sz="800" b="1" spc="30" dirty="0">
                <a:solidFill>
                  <a:srgbClr val="231F20"/>
                </a:solidFill>
                <a:latin typeface="Neue Frutiger World" panose="020B0603040304020203" pitchFamily="34" charset="0"/>
                <a:cs typeface="Neue Frutiger World" panose="020B0603040304020203" pitchFamily="34" charset="0"/>
              </a:rPr>
              <a:t> </a:t>
            </a:r>
            <a:r>
              <a:rPr lang="en-GB" sz="800" b="1" spc="5" dirty="0">
                <a:solidFill>
                  <a:srgbClr val="231F20"/>
                </a:solidFill>
                <a:latin typeface="Neue Frutiger World" panose="020B0603040304020203" pitchFamily="34" charset="0"/>
                <a:cs typeface="Neue Frutiger World" panose="020B0603040304020203" pitchFamily="34" charset="0"/>
              </a:rPr>
              <a:t>as:</a:t>
            </a:r>
            <a:r>
              <a:rPr lang="en-GB" sz="800" b="1" spc="7" baseline="30864" dirty="0">
                <a:solidFill>
                  <a:srgbClr val="231F20"/>
                </a:solidFill>
                <a:latin typeface="Neue Frutiger World" panose="020B0603040304020203" pitchFamily="34" charset="0"/>
                <a:cs typeface="Neue Frutiger World" panose="020B0603040304020203" pitchFamily="34" charset="0"/>
              </a:rPr>
              <a:t>7</a:t>
            </a:r>
            <a:endParaRPr lang="en-GB" sz="800" dirty="0">
              <a:latin typeface="Neue Frutiger World" panose="020B0603040304020203" pitchFamily="34" charset="0"/>
              <a:cs typeface="Neue Frutiger World" panose="020B0603040304020203" pitchFamily="34" charset="0"/>
            </a:endParaRPr>
          </a:p>
          <a:p>
            <a:pPr marL="253979" indent="-76194">
              <a:spcBef>
                <a:spcPts val="275"/>
              </a:spcBef>
              <a:buChar char="•"/>
              <a:tabLst>
                <a:tab pos="253979" algn="l"/>
              </a:tabLst>
            </a:pPr>
            <a:r>
              <a:rPr lang="en-GB" sz="800" spc="-10" dirty="0">
                <a:solidFill>
                  <a:srgbClr val="231F20"/>
                </a:solidFill>
                <a:latin typeface="Neue Frutiger World" panose="020B0603040304020203" pitchFamily="34" charset="0"/>
                <a:cs typeface="Neue Frutiger World" panose="020B0603040304020203" pitchFamily="34" charset="0"/>
              </a:rPr>
              <a:t>Fever/chills</a:t>
            </a:r>
            <a:endParaRPr lang="en-GB" sz="800" dirty="0">
              <a:latin typeface="Neue Frutiger World" panose="020B0603040304020203" pitchFamily="34" charset="0"/>
              <a:cs typeface="Neue Frutiger World" panose="020B0603040304020203" pitchFamily="34" charset="0"/>
            </a:endParaRPr>
          </a:p>
          <a:p>
            <a:pPr marL="253979" indent="-76194">
              <a:spcBef>
                <a:spcPts val="275"/>
              </a:spcBef>
              <a:buChar char="•"/>
              <a:tabLst>
                <a:tab pos="253979" algn="l"/>
              </a:tabLst>
            </a:pPr>
            <a:r>
              <a:rPr lang="en-GB" sz="800" spc="-5" dirty="0">
                <a:solidFill>
                  <a:srgbClr val="231F20"/>
                </a:solidFill>
                <a:latin typeface="Neue Frutiger World" panose="020B0603040304020203" pitchFamily="34" charset="0"/>
                <a:cs typeface="Neue Frutiger World" panose="020B0603040304020203" pitchFamily="34" charset="0"/>
              </a:rPr>
              <a:t>Malaise</a:t>
            </a:r>
            <a:endParaRPr lang="en-GB" sz="800" dirty="0">
              <a:latin typeface="Neue Frutiger World" panose="020B0603040304020203" pitchFamily="34" charset="0"/>
              <a:cs typeface="Neue Frutiger World" panose="020B0603040304020203" pitchFamily="34" charset="0"/>
            </a:endParaRPr>
          </a:p>
          <a:p>
            <a:pPr marL="253979" indent="-76194">
              <a:spcBef>
                <a:spcPts val="275"/>
              </a:spcBef>
              <a:buChar char="•"/>
              <a:tabLst>
                <a:tab pos="253979" algn="l"/>
              </a:tabLst>
            </a:pPr>
            <a:r>
              <a:rPr lang="en-GB" sz="800" spc="-5" dirty="0">
                <a:solidFill>
                  <a:srgbClr val="231F20"/>
                </a:solidFill>
                <a:latin typeface="Neue Frutiger World" panose="020B0603040304020203" pitchFamily="34" charset="0"/>
                <a:cs typeface="Neue Frutiger World" panose="020B0603040304020203" pitchFamily="34" charset="0"/>
              </a:rPr>
              <a:t>Nausea</a:t>
            </a:r>
            <a:endParaRPr lang="en-GB" sz="800" dirty="0">
              <a:latin typeface="Neue Frutiger World" panose="020B0603040304020203" pitchFamily="34" charset="0"/>
              <a:cs typeface="Neue Frutiger World" panose="020B0603040304020203" pitchFamily="34" charset="0"/>
            </a:endParaRPr>
          </a:p>
          <a:p>
            <a:pPr marL="253979" indent="-76194">
              <a:spcBef>
                <a:spcPts val="270"/>
              </a:spcBef>
              <a:buChar char="•"/>
              <a:tabLst>
                <a:tab pos="253979" algn="l"/>
              </a:tabLst>
            </a:pPr>
            <a:r>
              <a:rPr lang="en-GB" sz="800" spc="-5" dirty="0">
                <a:solidFill>
                  <a:srgbClr val="231F20"/>
                </a:solidFill>
                <a:latin typeface="Neue Frutiger World" panose="020B0603040304020203" pitchFamily="34" charset="0"/>
                <a:cs typeface="Neue Frutiger World" panose="020B0603040304020203" pitchFamily="34" charset="0"/>
              </a:rPr>
              <a:t>Hypotension</a:t>
            </a:r>
            <a:r>
              <a:rPr lang="en-GB" sz="80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systolic</a:t>
            </a:r>
            <a:r>
              <a:rPr lang="en-GB" sz="800" dirty="0">
                <a:solidFill>
                  <a:srgbClr val="231F20"/>
                </a:solidFill>
                <a:latin typeface="Neue Frutiger World" panose="020B0603040304020203" pitchFamily="34" charset="0"/>
                <a:cs typeface="Neue Frutiger World" panose="020B0603040304020203" pitchFamily="34" charset="0"/>
              </a:rPr>
              <a:t> </a:t>
            </a:r>
            <a:r>
              <a:rPr lang="en-GB" sz="800" spc="-25" dirty="0">
                <a:solidFill>
                  <a:srgbClr val="231F20"/>
                </a:solidFill>
                <a:latin typeface="Neue Frutiger World" panose="020B0603040304020203" pitchFamily="34" charset="0"/>
                <a:cs typeface="Neue Frutiger World" panose="020B0603040304020203" pitchFamily="34" charset="0"/>
              </a:rPr>
              <a:t>&lt;90</a:t>
            </a:r>
            <a:r>
              <a:rPr lang="en-GB" sz="800" dirty="0">
                <a:solidFill>
                  <a:srgbClr val="231F20"/>
                </a:solidFill>
                <a:latin typeface="Neue Frutiger World" panose="020B0603040304020203" pitchFamily="34" charset="0"/>
                <a:cs typeface="Neue Frutiger World" panose="020B0603040304020203" pitchFamily="34" charset="0"/>
              </a:rPr>
              <a:t> mm Hg)</a:t>
            </a:r>
            <a:endParaRPr lang="en-GB" sz="800" dirty="0">
              <a:latin typeface="Neue Frutiger World" panose="020B0603040304020203" pitchFamily="34" charset="0"/>
              <a:cs typeface="Neue Frutiger World" panose="020B0603040304020203" pitchFamily="34" charset="0"/>
            </a:endParaRPr>
          </a:p>
          <a:p>
            <a:pPr marL="253979" indent="-76194">
              <a:spcBef>
                <a:spcPts val="275"/>
              </a:spcBef>
              <a:buChar char="•"/>
              <a:tabLst>
                <a:tab pos="253979" algn="l"/>
              </a:tabLst>
            </a:pPr>
            <a:r>
              <a:rPr lang="en-GB" sz="800" spc="-5" dirty="0">
                <a:solidFill>
                  <a:srgbClr val="231F20"/>
                </a:solidFill>
                <a:latin typeface="Neue Frutiger World" panose="020B0603040304020203" pitchFamily="34" charset="0"/>
                <a:cs typeface="Neue Frutiger World" panose="020B0603040304020203" pitchFamily="34" charset="0"/>
              </a:rPr>
              <a:t>Murmur</a:t>
            </a:r>
            <a:r>
              <a:rPr lang="en-GB" sz="800" spc="-45" dirty="0">
                <a:solidFill>
                  <a:srgbClr val="231F20"/>
                </a:solidFill>
                <a:latin typeface="Neue Frutiger World" panose="020B0603040304020203" pitchFamily="34" charset="0"/>
                <a:cs typeface="Neue Frutiger World" panose="020B0603040304020203" pitchFamily="34" charset="0"/>
              </a:rPr>
              <a:t> </a:t>
            </a:r>
            <a:r>
              <a:rPr lang="en-GB" sz="800" dirty="0">
                <a:solidFill>
                  <a:srgbClr val="231F20"/>
                </a:solidFill>
                <a:latin typeface="Neue Frutiger World" panose="020B0603040304020203" pitchFamily="34" charset="0"/>
                <a:cs typeface="Neue Frutiger World" panose="020B0603040304020203" pitchFamily="34" charset="0"/>
              </a:rPr>
              <a:t>on</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5" dirty="0">
                <a:solidFill>
                  <a:srgbClr val="231F20"/>
                </a:solidFill>
                <a:latin typeface="Neue Frutiger World" panose="020B0603040304020203" pitchFamily="34" charset="0"/>
                <a:cs typeface="Neue Frutiger World" panose="020B0603040304020203" pitchFamily="34" charset="0"/>
              </a:rPr>
              <a:t>examination</a:t>
            </a:r>
            <a:endParaRPr lang="en-GB" sz="800" dirty="0">
              <a:latin typeface="Neue Frutiger World" panose="020B0603040304020203" pitchFamily="34" charset="0"/>
              <a:cs typeface="Neue Frutiger World" panose="020B0603040304020203" pitchFamily="34" charset="0"/>
            </a:endParaRPr>
          </a:p>
          <a:p>
            <a:pPr marL="253979" indent="-76194">
              <a:spcBef>
                <a:spcPts val="275"/>
              </a:spcBef>
              <a:buChar char="•"/>
              <a:tabLst>
                <a:tab pos="253979" algn="l"/>
              </a:tabLst>
            </a:pPr>
            <a:r>
              <a:rPr lang="en-GB" sz="800" spc="-5" dirty="0">
                <a:solidFill>
                  <a:srgbClr val="231F20"/>
                </a:solidFill>
                <a:latin typeface="Neue Frutiger World" panose="020B0603040304020203" pitchFamily="34" charset="0"/>
                <a:cs typeface="Neue Frutiger World" panose="020B0603040304020203" pitchFamily="34" charset="0"/>
              </a:rPr>
              <a:t>Symptomatic</a:t>
            </a:r>
            <a:r>
              <a:rPr lang="en-GB" sz="800" spc="-15"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heart</a:t>
            </a:r>
            <a:r>
              <a:rPr lang="en-GB" sz="800" spc="-20" dirty="0">
                <a:solidFill>
                  <a:srgbClr val="231F20"/>
                </a:solidFill>
                <a:latin typeface="Neue Frutiger World" panose="020B0603040304020203" pitchFamily="34" charset="0"/>
                <a:cs typeface="Neue Frutiger World" panose="020B0603040304020203" pitchFamily="34" charset="0"/>
              </a:rPr>
              <a:t> </a:t>
            </a:r>
            <a:r>
              <a:rPr lang="en-GB" sz="800" spc="-10" dirty="0">
                <a:solidFill>
                  <a:srgbClr val="231F20"/>
                </a:solidFill>
                <a:latin typeface="Neue Frutiger World" panose="020B0603040304020203" pitchFamily="34" charset="0"/>
                <a:cs typeface="Neue Frutiger World" panose="020B0603040304020203" pitchFamily="34" charset="0"/>
              </a:rPr>
              <a:t>failure</a:t>
            </a:r>
            <a:endParaRPr lang="en-GB" sz="800" dirty="0">
              <a:latin typeface="Neue Frutiger World" panose="020B0603040304020203" pitchFamily="34" charset="0"/>
              <a:cs typeface="Neue Frutiger World" panose="020B0603040304020203" pitchFamily="34" charset="0"/>
            </a:endParaRPr>
          </a:p>
          <a:p>
            <a:pPr marL="0" indent="0">
              <a:buNone/>
            </a:pPr>
            <a:endParaRPr lang="en-GB" sz="800" dirty="0">
              <a:latin typeface="Neue Frutiger World" panose="020B0603040304020203" pitchFamily="34" charset="0"/>
              <a:cs typeface="Neue Frutiger World" panose="020B0603040304020203" pitchFamily="34" charset="0"/>
            </a:endParaRPr>
          </a:p>
        </p:txBody>
      </p:sp>
      <p:sp>
        <p:nvSpPr>
          <p:cNvPr id="6" name="object 4">
            <a:extLst>
              <a:ext uri="{FF2B5EF4-FFF2-40B4-BE49-F238E27FC236}">
                <a16:creationId xmlns:a16="http://schemas.microsoft.com/office/drawing/2014/main" id="{42D40A75-EB3C-4CC5-98BA-96F4C90B2990}"/>
              </a:ext>
            </a:extLst>
          </p:cNvPr>
          <p:cNvSpPr txBox="1"/>
          <p:nvPr/>
        </p:nvSpPr>
        <p:spPr>
          <a:xfrm>
            <a:off x="5789931" y="843176"/>
            <a:ext cx="2670501" cy="1212511"/>
          </a:xfrm>
          <a:prstGeom prst="rect">
            <a:avLst/>
          </a:prstGeom>
        </p:spPr>
        <p:txBody>
          <a:bodyPr vert="horz" wrap="square" lIns="0" tIns="7620" rIns="0" bIns="0" rtlCol="0">
            <a:spAutoFit/>
          </a:bodyPr>
          <a:lstStyle/>
          <a:p>
            <a:pPr marL="38097" marR="30477">
              <a:lnSpc>
                <a:spcPct val="102600"/>
              </a:lnSpc>
              <a:spcBef>
                <a:spcPts val="60"/>
              </a:spcBef>
            </a:pPr>
            <a:r>
              <a:rPr sz="1300" spc="-5" dirty="0">
                <a:solidFill>
                  <a:srgbClr val="0077CD"/>
                </a:solidFill>
                <a:latin typeface="Neue Frutiger World" panose="020B0603040304020203" pitchFamily="34" charset="0"/>
                <a:cs typeface="Neue Frutiger World" panose="020B0603040304020203" pitchFamily="34" charset="0"/>
              </a:rPr>
              <a:t>Removing</a:t>
            </a:r>
            <a:r>
              <a:rPr sz="1300" spc="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all</a:t>
            </a:r>
            <a:r>
              <a:rPr sz="1300" spc="10"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hardware,</a:t>
            </a:r>
            <a:r>
              <a:rPr sz="1300" spc="1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including</a:t>
            </a:r>
            <a:r>
              <a:rPr sz="1300" spc="1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leads</a:t>
            </a:r>
            <a:r>
              <a:rPr sz="1300" spc="10"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is</a:t>
            </a:r>
            <a:r>
              <a:rPr sz="1300" spc="10"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highly </a:t>
            </a:r>
            <a:r>
              <a:rPr sz="1300" spc="-5" dirty="0">
                <a:solidFill>
                  <a:srgbClr val="0077CD"/>
                </a:solidFill>
                <a:latin typeface="Neue Frutiger World" panose="020B0603040304020203" pitchFamily="34" charset="0"/>
                <a:cs typeface="Neue Frutiger World" panose="020B0603040304020203" pitchFamily="34" charset="0"/>
              </a:rPr>
              <a:t>recommended </a:t>
            </a:r>
            <a:r>
              <a:rPr sz="1300" spc="-15" dirty="0">
                <a:solidFill>
                  <a:srgbClr val="0077CD"/>
                </a:solidFill>
                <a:latin typeface="Neue Frutiger World" panose="020B0603040304020203" pitchFamily="34" charset="0"/>
                <a:cs typeface="Neue Frutiger World" panose="020B0603040304020203" pitchFamily="34" charset="0"/>
              </a:rPr>
              <a:t>for</a:t>
            </a:r>
            <a:r>
              <a:rPr sz="1300" spc="-25"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CIED</a:t>
            </a:r>
            <a:r>
              <a:rPr sz="1300" spc="10"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patients</a:t>
            </a:r>
            <a:r>
              <a:rPr sz="1300" spc="-3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with</a:t>
            </a:r>
            <a:r>
              <a:rPr sz="1300" spc="5"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a</a:t>
            </a:r>
            <a:r>
              <a:rPr sz="1300" spc="10" dirty="0">
                <a:solidFill>
                  <a:srgbClr val="0077CD"/>
                </a:solidFill>
                <a:latin typeface="Neue Frutiger World" panose="020B0603040304020203" pitchFamily="34" charset="0"/>
                <a:cs typeface="Neue Frutiger World" panose="020B0603040304020203" pitchFamily="34" charset="0"/>
              </a:rPr>
              <a:t> </a:t>
            </a:r>
            <a:r>
              <a:rPr sz="1300" spc="-15" dirty="0">
                <a:solidFill>
                  <a:srgbClr val="0077CD"/>
                </a:solidFill>
                <a:latin typeface="Neue Frutiger World" panose="020B0603040304020203" pitchFamily="34" charset="0"/>
                <a:cs typeface="Neue Frutiger World" panose="020B0603040304020203" pitchFamily="34" charset="0"/>
              </a:rPr>
              <a:t>pocket</a:t>
            </a:r>
            <a:r>
              <a:rPr sz="1300" spc="5" dirty="0">
                <a:solidFill>
                  <a:srgbClr val="0077CD"/>
                </a:solidFill>
                <a:latin typeface="Neue Frutiger World" panose="020B0603040304020203" pitchFamily="34" charset="0"/>
                <a:cs typeface="Neue Frutiger World" panose="020B0603040304020203" pitchFamily="34" charset="0"/>
              </a:rPr>
              <a:t> </a:t>
            </a:r>
            <a:r>
              <a:rPr sz="1300" spc="-5" dirty="0">
                <a:solidFill>
                  <a:srgbClr val="0077CD"/>
                </a:solidFill>
                <a:latin typeface="Neue Frutiger World" panose="020B0603040304020203" pitchFamily="34" charset="0"/>
                <a:cs typeface="Neue Frutiger World" panose="020B0603040304020203" pitchFamily="34" charset="0"/>
              </a:rPr>
              <a:t>infection,</a:t>
            </a:r>
            <a:r>
              <a:rPr lang="en-GB" sz="1300" spc="-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endocarditis</a:t>
            </a:r>
            <a:r>
              <a:rPr sz="1300" spc="1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or</a:t>
            </a:r>
            <a:r>
              <a:rPr sz="1300" spc="-1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occult</a:t>
            </a:r>
            <a:r>
              <a:rPr sz="1300" spc="20"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gram-positive</a:t>
            </a:r>
            <a:r>
              <a:rPr sz="1300" spc="20"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systemic</a:t>
            </a:r>
            <a:r>
              <a:rPr sz="1300" spc="15" dirty="0">
                <a:solidFill>
                  <a:srgbClr val="0077CD"/>
                </a:solidFill>
                <a:latin typeface="Neue Frutiger World" panose="020B0603040304020203" pitchFamily="34" charset="0"/>
                <a:cs typeface="Neue Frutiger World" panose="020B0603040304020203" pitchFamily="34" charset="0"/>
              </a:rPr>
              <a:t> </a:t>
            </a:r>
            <a:r>
              <a:rPr sz="1300" spc="-10" dirty="0">
                <a:solidFill>
                  <a:srgbClr val="0077CD"/>
                </a:solidFill>
                <a:latin typeface="Neue Frutiger World" panose="020B0603040304020203" pitchFamily="34" charset="0"/>
                <a:cs typeface="Neue Frutiger World" panose="020B0603040304020203" pitchFamily="34" charset="0"/>
              </a:rPr>
              <a:t>infection.</a:t>
            </a:r>
            <a:r>
              <a:rPr sz="1125" spc="-15" baseline="33333" dirty="0">
                <a:solidFill>
                  <a:srgbClr val="0077CD"/>
                </a:solidFill>
                <a:latin typeface="Neue Frutiger World" panose="020B0603040304020203" pitchFamily="34" charset="0"/>
                <a:cs typeface="Neue Frutiger World" panose="020B0603040304020203" pitchFamily="34" charset="0"/>
              </a:rPr>
              <a:t>17</a:t>
            </a:r>
            <a:endParaRPr sz="1125" baseline="33333" dirty="0">
              <a:latin typeface="Neue Frutiger World" panose="020B0603040304020203" pitchFamily="34" charset="0"/>
              <a:cs typeface="Neue Frutiger World" panose="020B0603040304020203" pitchFamily="34" charset="0"/>
            </a:endParaRPr>
          </a:p>
          <a:p>
            <a:pPr marL="894640">
              <a:spcBef>
                <a:spcPts val="390"/>
              </a:spcBef>
            </a:pPr>
            <a:r>
              <a:rPr sz="800" spc="90" dirty="0">
                <a:solidFill>
                  <a:srgbClr val="231F20"/>
                </a:solidFill>
                <a:latin typeface="Neue Frutiger World" panose="020B0603040304020203" pitchFamily="34" charset="0"/>
                <a:cs typeface="Neue Frutiger World" panose="020B0603040304020203" pitchFamily="34" charset="0"/>
              </a:rPr>
              <a:t>–</a:t>
            </a:r>
            <a:r>
              <a:rPr sz="800" spc="-3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AHA,</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HRS,</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EHRA</a:t>
            </a:r>
            <a:r>
              <a:rPr sz="800" spc="-3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guidelines</a:t>
            </a:r>
            <a:endParaRPr sz="800" dirty="0">
              <a:latin typeface="Neue Frutiger World" panose="020B0603040304020203" pitchFamily="34" charset="0"/>
              <a:cs typeface="Neue Frutiger World" panose="020B0603040304020203" pitchFamily="34" charset="0"/>
            </a:endParaRPr>
          </a:p>
        </p:txBody>
      </p:sp>
      <p:pic>
        <p:nvPicPr>
          <p:cNvPr id="8" name="Picture 7">
            <a:extLst>
              <a:ext uri="{FF2B5EF4-FFF2-40B4-BE49-F238E27FC236}">
                <a16:creationId xmlns:a16="http://schemas.microsoft.com/office/drawing/2014/main" id="{807F767A-A693-41D6-905E-3295014EB19F}"/>
              </a:ext>
            </a:extLst>
          </p:cNvPr>
          <p:cNvPicPr>
            <a:picLocks noChangeAspect="1"/>
          </p:cNvPicPr>
          <p:nvPr>
            <p:custDataLst>
              <p:tags r:id="rId1"/>
            </p:custDataLst>
          </p:nvPr>
        </p:nvPicPr>
        <p:blipFill rotWithShape="1">
          <a:blip r:embed="rId3"/>
          <a:srcRect/>
          <a:stretch/>
        </p:blipFill>
        <p:spPr>
          <a:xfrm>
            <a:off x="5789931" y="2140473"/>
            <a:ext cx="2699820" cy="1799430"/>
          </a:xfrm>
          <a:prstGeom prst="rect">
            <a:avLst/>
          </a:prstGeom>
        </p:spPr>
      </p:pic>
      <p:sp>
        <p:nvSpPr>
          <p:cNvPr id="9" name="TextBox 8">
            <a:extLst>
              <a:ext uri="{FF2B5EF4-FFF2-40B4-BE49-F238E27FC236}">
                <a16:creationId xmlns:a16="http://schemas.microsoft.com/office/drawing/2014/main" id="{CD3DCCEF-7695-41D5-9D09-803D7103DF34}"/>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10" name="Rectangle 9">
            <a:hlinkClick r:id="rId4" action="ppaction://hlinksldjump"/>
            <a:extLst>
              <a:ext uri="{FF2B5EF4-FFF2-40B4-BE49-F238E27FC236}">
                <a16:creationId xmlns:a16="http://schemas.microsoft.com/office/drawing/2014/main" id="{BEFB6166-D1A4-4317-9927-182058924660}"/>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1" name="Rectangle 10">
            <a:hlinkClick r:id="rId5" action="ppaction://hlinksldjump"/>
            <a:extLst>
              <a:ext uri="{FF2B5EF4-FFF2-40B4-BE49-F238E27FC236}">
                <a16:creationId xmlns:a16="http://schemas.microsoft.com/office/drawing/2014/main" id="{114218E9-3B79-4D5F-B601-9BD5BB50E133}"/>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2" name="Rectangle 11">
            <a:hlinkClick r:id="rId6" action="ppaction://hlinksldjump"/>
            <a:extLst>
              <a:ext uri="{FF2B5EF4-FFF2-40B4-BE49-F238E27FC236}">
                <a16:creationId xmlns:a16="http://schemas.microsoft.com/office/drawing/2014/main" id="{4F553E5A-F2EF-410E-BB2E-2B22C0085F51}"/>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3" name="Rectangle 12">
            <a:hlinkClick r:id="rId7" action="ppaction://hlinksldjump"/>
            <a:extLst>
              <a:ext uri="{FF2B5EF4-FFF2-40B4-BE49-F238E27FC236}">
                <a16:creationId xmlns:a16="http://schemas.microsoft.com/office/drawing/2014/main" id="{1D13F15D-948B-4956-B3B4-8B5A86C7FB0B}"/>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4" name="Rectangle 13">
            <a:hlinkClick r:id="rId8" action="ppaction://hlinksldjump"/>
            <a:extLst>
              <a:ext uri="{FF2B5EF4-FFF2-40B4-BE49-F238E27FC236}">
                <a16:creationId xmlns:a16="http://schemas.microsoft.com/office/drawing/2014/main" id="{9ABD39FD-AD79-4702-BE24-3B9EF9D0B957}"/>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5" name="Rectangle 14">
            <a:hlinkClick r:id="rId9" action="ppaction://hlinksldjump"/>
            <a:extLst>
              <a:ext uri="{FF2B5EF4-FFF2-40B4-BE49-F238E27FC236}">
                <a16:creationId xmlns:a16="http://schemas.microsoft.com/office/drawing/2014/main" id="{D2340E6C-8BE9-4101-802F-ADAAB8C2DBB9}"/>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6" name="Rectangle 15">
            <a:hlinkClick r:id="rId10" action="ppaction://hlinksldjump"/>
            <a:extLst>
              <a:ext uri="{FF2B5EF4-FFF2-40B4-BE49-F238E27FC236}">
                <a16:creationId xmlns:a16="http://schemas.microsoft.com/office/drawing/2014/main" id="{E9E7219C-80F8-40A0-BAEE-BCB292B6BB97}"/>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7" name="Rectangle 16">
            <a:hlinkClick r:id="rId11" action="ppaction://hlinksldjump"/>
            <a:extLst>
              <a:ext uri="{FF2B5EF4-FFF2-40B4-BE49-F238E27FC236}">
                <a16:creationId xmlns:a16="http://schemas.microsoft.com/office/drawing/2014/main" id="{746A1C00-53EB-41A2-B1BF-CA755807FA34}"/>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8" name="Rectangle 17">
            <a:extLst>
              <a:ext uri="{FF2B5EF4-FFF2-40B4-BE49-F238E27FC236}">
                <a16:creationId xmlns:a16="http://schemas.microsoft.com/office/drawing/2014/main" id="{109C1F7C-71F1-445E-8273-C752A3BF09EB}"/>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19" name="Rectangle 18">
            <a:hlinkClick r:id="rId12" action="ppaction://hlinksldjump"/>
            <a:extLst>
              <a:ext uri="{FF2B5EF4-FFF2-40B4-BE49-F238E27FC236}">
                <a16:creationId xmlns:a16="http://schemas.microsoft.com/office/drawing/2014/main" id="{BCC2BA61-F5F1-44A0-8219-98A0A9279894}"/>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0" name="Rectangle 19">
            <a:hlinkClick r:id="rId13" action="ppaction://hlinksldjump"/>
            <a:extLst>
              <a:ext uri="{FF2B5EF4-FFF2-40B4-BE49-F238E27FC236}">
                <a16:creationId xmlns:a16="http://schemas.microsoft.com/office/drawing/2014/main" id="{1D07F509-8C26-40BF-851A-CDA8ABF5B8A1}"/>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1" name="Rectangle 20">
            <a:hlinkClick r:id="rId14" action="ppaction://hlinksldjump"/>
            <a:extLst>
              <a:ext uri="{FF2B5EF4-FFF2-40B4-BE49-F238E27FC236}">
                <a16:creationId xmlns:a16="http://schemas.microsoft.com/office/drawing/2014/main" id="{39E71A74-05C7-4DF5-8FFD-73B3FE1FD2AA}"/>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2" name="Rectangle 21">
            <a:hlinkClick r:id="rId15" action="ppaction://hlinksldjump"/>
            <a:extLst>
              <a:ext uri="{FF2B5EF4-FFF2-40B4-BE49-F238E27FC236}">
                <a16:creationId xmlns:a16="http://schemas.microsoft.com/office/drawing/2014/main" id="{89CEF76C-BC0E-485D-80E8-BA2AFD2875D1}"/>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3" name="Rectangle 22">
            <a:hlinkClick r:id="rId16" action="ppaction://hlinksldjump"/>
            <a:extLst>
              <a:ext uri="{FF2B5EF4-FFF2-40B4-BE49-F238E27FC236}">
                <a16:creationId xmlns:a16="http://schemas.microsoft.com/office/drawing/2014/main" id="{E85C4A88-3615-442C-BB09-D43EF33C7E6D}"/>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17" action="ppaction://hlinksldjump"/>
            <a:extLst>
              <a:ext uri="{FF2B5EF4-FFF2-40B4-BE49-F238E27FC236}">
                <a16:creationId xmlns:a16="http://schemas.microsoft.com/office/drawing/2014/main" id="{135A7FFF-0089-4EF5-9ADF-67C2FABC1B39}"/>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18" action="ppaction://hlinksldjump"/>
            <a:extLst>
              <a:ext uri="{FF2B5EF4-FFF2-40B4-BE49-F238E27FC236}">
                <a16:creationId xmlns:a16="http://schemas.microsoft.com/office/drawing/2014/main" id="{5CC4FE36-CF1F-4ABD-B6FE-BC0B9BDA8EAC}"/>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19" action="ppaction://hlinksldjump"/>
            <a:extLst>
              <a:ext uri="{FF2B5EF4-FFF2-40B4-BE49-F238E27FC236}">
                <a16:creationId xmlns:a16="http://schemas.microsoft.com/office/drawing/2014/main" id="{C23FC635-EB4A-44AF-92D1-DA7FE0ED919E}"/>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20" action="ppaction://hlinksldjump"/>
            <a:extLst>
              <a:ext uri="{FF2B5EF4-FFF2-40B4-BE49-F238E27FC236}">
                <a16:creationId xmlns:a16="http://schemas.microsoft.com/office/drawing/2014/main" id="{2514FC0C-7936-4A92-92C7-0D0FC768375C}"/>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21" action="ppaction://hlinksldjump"/>
            <a:extLst>
              <a:ext uri="{FF2B5EF4-FFF2-40B4-BE49-F238E27FC236}">
                <a16:creationId xmlns:a16="http://schemas.microsoft.com/office/drawing/2014/main" id="{3CA90A14-A53C-4F23-8BD0-9D7C2570D3C4}"/>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22" action="ppaction://hlinksldjump"/>
            <a:extLst>
              <a:ext uri="{FF2B5EF4-FFF2-40B4-BE49-F238E27FC236}">
                <a16:creationId xmlns:a16="http://schemas.microsoft.com/office/drawing/2014/main" id="{AF606C4B-E1BC-49D4-8C88-E2B38B2DDCB3}"/>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23" action="ppaction://hlinksldjump"/>
            <a:extLst>
              <a:ext uri="{FF2B5EF4-FFF2-40B4-BE49-F238E27FC236}">
                <a16:creationId xmlns:a16="http://schemas.microsoft.com/office/drawing/2014/main" id="{7F841523-E041-4955-BC60-888C23E29961}"/>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24" action="ppaction://hlinksldjump"/>
            <a:extLst>
              <a:ext uri="{FF2B5EF4-FFF2-40B4-BE49-F238E27FC236}">
                <a16:creationId xmlns:a16="http://schemas.microsoft.com/office/drawing/2014/main" id="{1E17C744-E536-4709-9A6A-DD1818A57258}"/>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extLst>
              <a:ext uri="{FF2B5EF4-FFF2-40B4-BE49-F238E27FC236}">
                <a16:creationId xmlns:a16="http://schemas.microsoft.com/office/drawing/2014/main" id="{C0E13968-92BE-4521-BA36-E5A251379C93}"/>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25" action="ppaction://hlinksldjump"/>
            <a:extLst>
              <a:ext uri="{FF2B5EF4-FFF2-40B4-BE49-F238E27FC236}">
                <a16:creationId xmlns:a16="http://schemas.microsoft.com/office/drawing/2014/main" id="{C16C1123-4451-4775-988B-4A59DFD69E90}"/>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26" action="ppaction://hlinksldjump"/>
            <a:extLst>
              <a:ext uri="{FF2B5EF4-FFF2-40B4-BE49-F238E27FC236}">
                <a16:creationId xmlns:a16="http://schemas.microsoft.com/office/drawing/2014/main" id="{DDFD990E-7833-44C0-8752-10C340C2D6B8}"/>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27" action="ppaction://hlinksldjump"/>
            <a:extLst>
              <a:ext uri="{FF2B5EF4-FFF2-40B4-BE49-F238E27FC236}">
                <a16:creationId xmlns:a16="http://schemas.microsoft.com/office/drawing/2014/main" id="{72C02957-DFEC-4BFE-98B5-BE15341EEEA2}"/>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extLst>
              <a:ext uri="{FF2B5EF4-FFF2-40B4-BE49-F238E27FC236}">
                <a16:creationId xmlns:a16="http://schemas.microsoft.com/office/drawing/2014/main" id="{96F36D03-AEA5-477E-9C94-2F4A128F46C3}"/>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37" name="Table 36">
            <a:extLst>
              <a:ext uri="{FF2B5EF4-FFF2-40B4-BE49-F238E27FC236}">
                <a16:creationId xmlns:a16="http://schemas.microsoft.com/office/drawing/2014/main" id="{6C652C33-548A-498A-840F-B99289A12B0D}"/>
              </a:ext>
            </a:extLst>
          </p:cNvPr>
          <p:cNvGraphicFramePr>
            <a:graphicFrameLocks noGrp="1"/>
          </p:cNvGraphicFramePr>
          <p:nvPr>
            <p:extLst>
              <p:ext uri="{D42A27DB-BD31-4B8C-83A1-F6EECF244321}">
                <p14:modId xmlns:p14="http://schemas.microsoft.com/office/powerpoint/2010/main" val="1137990040"/>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38" name="Rectangle 37">
            <a:hlinkClick r:id="rId4" action="ppaction://hlinksldjump"/>
            <a:extLst>
              <a:ext uri="{FF2B5EF4-FFF2-40B4-BE49-F238E27FC236}">
                <a16:creationId xmlns:a16="http://schemas.microsoft.com/office/drawing/2014/main" id="{790404D6-D810-4772-8CE9-84F32E04D183}"/>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5" action="ppaction://hlinksldjump"/>
            <a:extLst>
              <a:ext uri="{FF2B5EF4-FFF2-40B4-BE49-F238E27FC236}">
                <a16:creationId xmlns:a16="http://schemas.microsoft.com/office/drawing/2014/main" id="{0D3FE13C-3DC1-4007-942A-B969BF813671}"/>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6" action="ppaction://hlinksldjump"/>
            <a:extLst>
              <a:ext uri="{FF2B5EF4-FFF2-40B4-BE49-F238E27FC236}">
                <a16:creationId xmlns:a16="http://schemas.microsoft.com/office/drawing/2014/main" id="{0C81A1EE-D36F-4951-95CF-F55CCEA4CCBC}"/>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7" action="ppaction://hlinksldjump"/>
            <a:extLst>
              <a:ext uri="{FF2B5EF4-FFF2-40B4-BE49-F238E27FC236}">
                <a16:creationId xmlns:a16="http://schemas.microsoft.com/office/drawing/2014/main" id="{98D241E1-5F58-4539-B635-80646018B730}"/>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8" action="ppaction://hlinksldjump"/>
            <a:extLst>
              <a:ext uri="{FF2B5EF4-FFF2-40B4-BE49-F238E27FC236}">
                <a16:creationId xmlns:a16="http://schemas.microsoft.com/office/drawing/2014/main" id="{5C2FF602-A350-416A-AD8D-F21CE81D98C3}"/>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9" action="ppaction://hlinksldjump"/>
            <a:extLst>
              <a:ext uri="{FF2B5EF4-FFF2-40B4-BE49-F238E27FC236}">
                <a16:creationId xmlns:a16="http://schemas.microsoft.com/office/drawing/2014/main" id="{3A375496-9962-4250-AE3C-98DC88C1458F}"/>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10" action="ppaction://hlinksldjump"/>
            <a:extLst>
              <a:ext uri="{FF2B5EF4-FFF2-40B4-BE49-F238E27FC236}">
                <a16:creationId xmlns:a16="http://schemas.microsoft.com/office/drawing/2014/main" id="{25C95DAA-B74D-4146-84E4-D0DAEAE69D6A}"/>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11" action="ppaction://hlinksldjump"/>
            <a:extLst>
              <a:ext uri="{FF2B5EF4-FFF2-40B4-BE49-F238E27FC236}">
                <a16:creationId xmlns:a16="http://schemas.microsoft.com/office/drawing/2014/main" id="{FBDBC4A3-73A0-4C01-986A-2E458F9ABCC6}"/>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extLst>
              <a:ext uri="{FF2B5EF4-FFF2-40B4-BE49-F238E27FC236}">
                <a16:creationId xmlns:a16="http://schemas.microsoft.com/office/drawing/2014/main" id="{2339571A-DFE1-47C8-8212-29B0AC274029}"/>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12" action="ppaction://hlinksldjump"/>
            <a:extLst>
              <a:ext uri="{FF2B5EF4-FFF2-40B4-BE49-F238E27FC236}">
                <a16:creationId xmlns:a16="http://schemas.microsoft.com/office/drawing/2014/main" id="{9FB3C3FD-456D-4890-8399-231E7220905A}"/>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13" action="ppaction://hlinksldjump"/>
            <a:extLst>
              <a:ext uri="{FF2B5EF4-FFF2-40B4-BE49-F238E27FC236}">
                <a16:creationId xmlns:a16="http://schemas.microsoft.com/office/drawing/2014/main" id="{1710D67E-6E33-4D46-B35B-20D511351611}"/>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14" action="ppaction://hlinksldjump"/>
            <a:extLst>
              <a:ext uri="{FF2B5EF4-FFF2-40B4-BE49-F238E27FC236}">
                <a16:creationId xmlns:a16="http://schemas.microsoft.com/office/drawing/2014/main" id="{93A7F4B5-30FD-49B4-90B2-544B98280884}"/>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hlinkClick r:id="rId15" action="ppaction://hlinksldjump"/>
            <a:extLst>
              <a:ext uri="{FF2B5EF4-FFF2-40B4-BE49-F238E27FC236}">
                <a16:creationId xmlns:a16="http://schemas.microsoft.com/office/drawing/2014/main" id="{3868FE5B-7C77-48F4-8ED2-BA9D68BE6D73}"/>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1" name="Rectangle 50">
            <a:hlinkClick r:id="rId16" action="ppaction://hlinksldjump"/>
            <a:extLst>
              <a:ext uri="{FF2B5EF4-FFF2-40B4-BE49-F238E27FC236}">
                <a16:creationId xmlns:a16="http://schemas.microsoft.com/office/drawing/2014/main" id="{1C008807-B659-43A5-A4B7-655FE300A893}"/>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2" name="Rectangle 51">
            <a:hlinkClick r:id="rId17" action="ppaction://hlinksldjump"/>
            <a:extLst>
              <a:ext uri="{FF2B5EF4-FFF2-40B4-BE49-F238E27FC236}">
                <a16:creationId xmlns:a16="http://schemas.microsoft.com/office/drawing/2014/main" id="{007AA7F3-999C-4FA6-9D6A-17A830BC15D4}"/>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18" action="ppaction://hlinksldjump"/>
            <a:extLst>
              <a:ext uri="{FF2B5EF4-FFF2-40B4-BE49-F238E27FC236}">
                <a16:creationId xmlns:a16="http://schemas.microsoft.com/office/drawing/2014/main" id="{0C9361EB-2CC6-4353-B4CA-E5150BDAB589}"/>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19" action="ppaction://hlinksldjump"/>
            <a:extLst>
              <a:ext uri="{FF2B5EF4-FFF2-40B4-BE49-F238E27FC236}">
                <a16:creationId xmlns:a16="http://schemas.microsoft.com/office/drawing/2014/main" id="{AF1EC09A-7227-4406-9EC9-4623C4D6A26B}"/>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20" action="ppaction://hlinksldjump"/>
            <a:extLst>
              <a:ext uri="{FF2B5EF4-FFF2-40B4-BE49-F238E27FC236}">
                <a16:creationId xmlns:a16="http://schemas.microsoft.com/office/drawing/2014/main" id="{FEC73B92-21DD-4E31-8467-526F3594F72D}"/>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21" action="ppaction://hlinksldjump"/>
            <a:extLst>
              <a:ext uri="{FF2B5EF4-FFF2-40B4-BE49-F238E27FC236}">
                <a16:creationId xmlns:a16="http://schemas.microsoft.com/office/drawing/2014/main" id="{4668249A-C8B3-48E8-9DFB-790D5C33566B}"/>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22" action="ppaction://hlinksldjump"/>
            <a:extLst>
              <a:ext uri="{FF2B5EF4-FFF2-40B4-BE49-F238E27FC236}">
                <a16:creationId xmlns:a16="http://schemas.microsoft.com/office/drawing/2014/main" id="{9DA5D01A-36E7-4A75-80B9-720BDE145D39}"/>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23" action="ppaction://hlinksldjump"/>
            <a:extLst>
              <a:ext uri="{FF2B5EF4-FFF2-40B4-BE49-F238E27FC236}">
                <a16:creationId xmlns:a16="http://schemas.microsoft.com/office/drawing/2014/main" id="{11A3D3CE-346F-41D1-A557-99CF8A7305ED}"/>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24" action="ppaction://hlinksldjump"/>
            <a:extLst>
              <a:ext uri="{FF2B5EF4-FFF2-40B4-BE49-F238E27FC236}">
                <a16:creationId xmlns:a16="http://schemas.microsoft.com/office/drawing/2014/main" id="{B3D918F1-AB6B-474B-86BB-7569D9632ABC}"/>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extLst>
              <a:ext uri="{FF2B5EF4-FFF2-40B4-BE49-F238E27FC236}">
                <a16:creationId xmlns:a16="http://schemas.microsoft.com/office/drawing/2014/main" id="{30B6D39D-9429-4705-8773-F0B8C5918A4E}"/>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25" action="ppaction://hlinksldjump"/>
            <a:extLst>
              <a:ext uri="{FF2B5EF4-FFF2-40B4-BE49-F238E27FC236}">
                <a16:creationId xmlns:a16="http://schemas.microsoft.com/office/drawing/2014/main" id="{D6C04A07-55FC-4AFE-9A30-7FA8B159B404}"/>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26" action="ppaction://hlinksldjump"/>
            <a:extLst>
              <a:ext uri="{FF2B5EF4-FFF2-40B4-BE49-F238E27FC236}">
                <a16:creationId xmlns:a16="http://schemas.microsoft.com/office/drawing/2014/main" id="{5886683C-AE6C-4F63-A7ED-A95196129471}"/>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27" action="ppaction://hlinksldjump"/>
            <a:extLst>
              <a:ext uri="{FF2B5EF4-FFF2-40B4-BE49-F238E27FC236}">
                <a16:creationId xmlns:a16="http://schemas.microsoft.com/office/drawing/2014/main" id="{5128E9B1-F66D-49E8-82A0-A5BBD325936D}"/>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33836410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1E96A-7E24-467A-8084-1D164740BEDF}"/>
              </a:ext>
            </a:extLst>
          </p:cNvPr>
          <p:cNvSpPr>
            <a:spLocks noGrp="1"/>
          </p:cNvSpPr>
          <p:nvPr>
            <p:ph type="title"/>
          </p:nvPr>
        </p:nvSpPr>
        <p:spPr/>
        <p:txBody>
          <a:bodyPr/>
          <a:lstStyle/>
          <a:p>
            <a:r>
              <a:rPr lang="en-GB" noProof="0" dirty="0">
                <a:latin typeface="Neue Frutiger World" panose="020B0603040304020203" pitchFamily="34" charset="0"/>
                <a:cs typeface="Neue Frutiger World" panose="020B0603040304020203" pitchFamily="34" charset="0"/>
              </a:rPr>
              <a:t>Infection - pocket</a:t>
            </a:r>
          </a:p>
        </p:txBody>
      </p:sp>
      <p:sp>
        <p:nvSpPr>
          <p:cNvPr id="3" name="Footer Placeholder 2">
            <a:extLst>
              <a:ext uri="{FF2B5EF4-FFF2-40B4-BE49-F238E27FC236}">
                <a16:creationId xmlns:a16="http://schemas.microsoft.com/office/drawing/2014/main" id="{0918143B-2D70-403D-9695-D92F45C71A27}"/>
              </a:ext>
            </a:extLst>
          </p:cNvPr>
          <p:cNvSpPr>
            <a:spLocks noGrp="1"/>
          </p:cNvSpPr>
          <p:nvPr>
            <p:ph type="ftr" sz="quarter" idx="17"/>
          </p:nvPr>
        </p:nvSpPr>
        <p:spPr/>
        <p:txBody>
          <a:bodyPr/>
          <a:lstStyle/>
          <a:p>
            <a:r>
              <a:rPr lang="en-US" noProof="0" dirty="0"/>
              <a:t>©2021 Koninklijke Philips N.V. All rights reserved. Approved for internal distribution. D2021120801</a:t>
            </a:r>
          </a:p>
        </p:txBody>
      </p:sp>
      <p:sp>
        <p:nvSpPr>
          <p:cNvPr id="4" name="Slide Number Placeholder 3">
            <a:extLst>
              <a:ext uri="{FF2B5EF4-FFF2-40B4-BE49-F238E27FC236}">
                <a16:creationId xmlns:a16="http://schemas.microsoft.com/office/drawing/2014/main" id="{CBB83E1D-74C4-4C5D-A818-90B19AF73F41}"/>
              </a:ext>
            </a:extLst>
          </p:cNvPr>
          <p:cNvSpPr>
            <a:spLocks noGrp="1"/>
          </p:cNvSpPr>
          <p:nvPr>
            <p:ph type="sldNum" sz="quarter" idx="18"/>
          </p:nvPr>
        </p:nvSpPr>
        <p:spPr/>
        <p:txBody>
          <a:bodyPr/>
          <a:lstStyle/>
          <a:p>
            <a:fld id="{A5163908-529D-4A49-892F-D37C4044DFD8}" type="slidenum">
              <a:rPr lang="en-US" noProof="0" smtClean="0">
                <a:latin typeface="Neue Frutiger World" panose="020B0603040304020203" pitchFamily="34" charset="0"/>
                <a:cs typeface="Neue Frutiger World" panose="020B0603040304020203" pitchFamily="34" charset="0"/>
              </a:rPr>
              <a:pPr/>
              <a:t>9</a:t>
            </a:fld>
            <a:endParaRPr lang="en-US" noProof="0" dirty="0">
              <a:latin typeface="Neue Frutiger World" panose="020B0603040304020203" pitchFamily="34" charset="0"/>
              <a:cs typeface="Neue Frutiger World" panose="020B0603040304020203" pitchFamily="34" charset="0"/>
            </a:endParaRPr>
          </a:p>
        </p:txBody>
      </p:sp>
      <p:sp>
        <p:nvSpPr>
          <p:cNvPr id="5" name="Text Placeholder 4">
            <a:extLst>
              <a:ext uri="{FF2B5EF4-FFF2-40B4-BE49-F238E27FC236}">
                <a16:creationId xmlns:a16="http://schemas.microsoft.com/office/drawing/2014/main" id="{FA086760-5B2E-4D4F-9F83-8143641E8D3E}"/>
              </a:ext>
            </a:extLst>
          </p:cNvPr>
          <p:cNvSpPr>
            <a:spLocks noGrp="1"/>
          </p:cNvSpPr>
          <p:nvPr>
            <p:ph type="body" sz="quarter" idx="14"/>
          </p:nvPr>
        </p:nvSpPr>
        <p:spPr>
          <a:xfrm>
            <a:off x="1547665" y="843558"/>
            <a:ext cx="4176464" cy="3322703"/>
          </a:xfrm>
        </p:spPr>
        <p:txBody>
          <a:bodyPr/>
          <a:lstStyle/>
          <a:p>
            <a:pPr marL="0" marR="30477" indent="0" algn="just">
              <a:lnSpc>
                <a:spcPct val="104200"/>
              </a:lnSpc>
              <a:spcBef>
                <a:spcPts val="60"/>
              </a:spcBef>
              <a:buNone/>
            </a:pPr>
            <a:r>
              <a:rPr lang="en-GB" sz="800" b="1" spc="-10" noProof="0" dirty="0">
                <a:solidFill>
                  <a:srgbClr val="231F20"/>
                </a:solidFill>
                <a:latin typeface="Neue Frutiger World" panose="020B0603040304020203" pitchFamily="34" charset="0"/>
                <a:cs typeface="Neue Frutiger World" panose="020B0603040304020203" pitchFamily="34" charset="0"/>
              </a:rPr>
              <a:t>Pocket</a:t>
            </a:r>
            <a:r>
              <a:rPr lang="en-GB" sz="800" b="1" spc="10" noProof="0" dirty="0">
                <a:solidFill>
                  <a:srgbClr val="231F20"/>
                </a:solidFill>
                <a:latin typeface="Neue Frutiger World" panose="020B0603040304020203" pitchFamily="34" charset="0"/>
                <a:cs typeface="Neue Frutiger World" panose="020B0603040304020203" pitchFamily="34" charset="0"/>
              </a:rPr>
              <a:t> </a:t>
            </a:r>
            <a:r>
              <a:rPr lang="en-GB" sz="800" b="1" spc="-10" noProof="0" dirty="0">
                <a:solidFill>
                  <a:srgbClr val="231F20"/>
                </a:solidFill>
                <a:latin typeface="Neue Frutiger World" panose="020B0603040304020203" pitchFamily="34" charset="0"/>
                <a:cs typeface="Neue Frutiger World" panose="020B0603040304020203" pitchFamily="34" charset="0"/>
              </a:rPr>
              <a:t>infection</a:t>
            </a:r>
            <a:r>
              <a:rPr lang="en-GB" sz="800" b="1"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infection</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5" noProof="0" dirty="0">
                <a:solidFill>
                  <a:srgbClr val="231F20"/>
                </a:solidFill>
                <a:latin typeface="Neue Frutiger World" panose="020B0603040304020203" pitchFamily="34" charset="0"/>
                <a:cs typeface="Neue Frutiger World" panose="020B0603040304020203" pitchFamily="34" charset="0"/>
              </a:rPr>
              <a:t>that</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s</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limited</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20" noProof="0" dirty="0">
                <a:solidFill>
                  <a:srgbClr val="231F20"/>
                </a:solidFill>
                <a:latin typeface="Neue Frutiger World" panose="020B0603040304020203" pitchFamily="34" charset="0"/>
                <a:cs typeface="Neue Frutiger World" panose="020B0603040304020203" pitchFamily="34" charset="0"/>
              </a:rPr>
              <a:t>to</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generator </a:t>
            </a:r>
            <a:r>
              <a:rPr lang="en-GB" sz="800" spc="-5" noProof="0" dirty="0">
                <a:solidFill>
                  <a:srgbClr val="231F20"/>
                </a:solidFill>
                <a:latin typeface="Neue Frutiger World" panose="020B0603040304020203" pitchFamily="34" charset="0"/>
                <a:cs typeface="Neue Frutiger World" panose="020B0603040304020203" pitchFamily="34" charset="0"/>
              </a:rPr>
              <a:t>pocket)</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s</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Class</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I</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ndication</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for removal</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of</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ll</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hardware </a:t>
            </a:r>
            <a:r>
              <a:rPr lang="en-GB" sz="800" spc="-5" noProof="0" dirty="0">
                <a:solidFill>
                  <a:srgbClr val="231F20"/>
                </a:solidFill>
                <a:latin typeface="Neue Frutiger World" panose="020B0603040304020203" pitchFamily="34" charset="0"/>
                <a:cs typeface="Neue Frutiger World" panose="020B0603040304020203" pitchFamily="34" charset="0"/>
              </a:rPr>
              <a:t>including</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leads.</a:t>
            </a:r>
            <a:r>
              <a:rPr lang="en-GB" sz="800" spc="-7" baseline="30864" noProof="0" dirty="0">
                <a:solidFill>
                  <a:srgbClr val="231F20"/>
                </a:solidFill>
                <a:latin typeface="Neue Frutiger World" panose="020B0603040304020203" pitchFamily="34" charset="0"/>
                <a:cs typeface="Neue Frutiger World" panose="020B0603040304020203" pitchFamily="34" charset="0"/>
              </a:rPr>
              <a:t>17</a:t>
            </a:r>
            <a:r>
              <a:rPr lang="en-GB" sz="800" spc="157" baseline="30864" noProof="0" dirty="0">
                <a:solidFill>
                  <a:srgbClr val="231F20"/>
                </a:solidFill>
                <a:latin typeface="Neue Frutiger World" panose="020B0603040304020203" pitchFamily="34" charset="0"/>
                <a:cs typeface="Neue Frutiger World" panose="020B0603040304020203" pitchFamily="34" charset="0"/>
              </a:rPr>
              <a:t> </a:t>
            </a:r>
            <a:r>
              <a:rPr lang="en-GB" sz="800" spc="-15" noProof="0" dirty="0">
                <a:solidFill>
                  <a:srgbClr val="231F20"/>
                </a:solidFill>
                <a:latin typeface="Neue Frutiger World" panose="020B0603040304020203" pitchFamily="34" charset="0"/>
                <a:cs typeface="Neue Frutiger World" panose="020B0603040304020203" pitchFamily="34" charset="0"/>
              </a:rPr>
              <a:t>Fast</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removal</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of</a:t>
            </a:r>
            <a:r>
              <a:rPr lang="en-GB" sz="800" spc="-5" noProof="0" dirty="0">
                <a:solidFill>
                  <a:srgbClr val="231F20"/>
                </a:solidFill>
                <a:latin typeface="Neue Frutiger World" panose="020B0603040304020203" pitchFamily="34" charset="0"/>
                <a:cs typeface="Neue Frutiger World" panose="020B0603040304020203" pitchFamily="34" charset="0"/>
              </a:rPr>
              <a:t> all</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hardware</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including</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leads</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s</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needed</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20" noProof="0" dirty="0">
                <a:solidFill>
                  <a:srgbClr val="231F20"/>
                </a:solidFill>
                <a:latin typeface="Neue Frutiger World" panose="020B0603040304020203" pitchFamily="34" charset="0"/>
                <a:cs typeface="Neue Frutiger World" panose="020B0603040304020203" pitchFamily="34" charset="0"/>
              </a:rPr>
              <a:t>to</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5" noProof="0" dirty="0">
                <a:solidFill>
                  <a:srgbClr val="231F20"/>
                </a:solidFill>
                <a:latin typeface="Neue Frutiger World" panose="020B0603040304020203" pitchFamily="34" charset="0"/>
                <a:cs typeface="Neue Frutiger World" panose="020B0603040304020203" pitchFamily="34" charset="0"/>
              </a:rPr>
              <a:t>avoid</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having</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pocket</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nfection progress</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20" noProof="0" dirty="0">
                <a:solidFill>
                  <a:srgbClr val="231F20"/>
                </a:solidFill>
                <a:latin typeface="Neue Frutiger World" panose="020B0603040304020203" pitchFamily="34" charset="0"/>
                <a:cs typeface="Neue Frutiger World" panose="020B0603040304020203" pitchFamily="34" charset="0"/>
              </a:rPr>
              <a:t>to</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systemic</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nfection</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or endocarditis.</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There</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s</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need</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20" noProof="0" dirty="0">
                <a:solidFill>
                  <a:srgbClr val="231F20"/>
                </a:solidFill>
                <a:latin typeface="Neue Frutiger World" panose="020B0603040304020203" pitchFamily="34" charset="0"/>
                <a:cs typeface="Neue Frutiger World" panose="020B0603040304020203" pitchFamily="34" charset="0"/>
              </a:rPr>
              <a:t>to</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educate</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device</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managing</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physicians</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nd</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HCPs</a:t>
            </a:r>
            <a:r>
              <a:rPr lang="en-GB" sz="800" spc="15"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on </a:t>
            </a:r>
            <a:r>
              <a:rPr lang="en-GB" sz="800" spc="-10" noProof="0" dirty="0">
                <a:solidFill>
                  <a:srgbClr val="231F20"/>
                </a:solidFill>
                <a:latin typeface="Neue Frutiger World" panose="020B0603040304020203" pitchFamily="34" charset="0"/>
                <a:cs typeface="Neue Frutiger World" panose="020B0603040304020203" pitchFamily="34" charset="0"/>
              </a:rPr>
              <a:t>pocket</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infection</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symptoms</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nd</a:t>
            </a:r>
            <a:r>
              <a:rPr lang="en-GB" sz="80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th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need </a:t>
            </a:r>
            <a:r>
              <a:rPr lang="en-GB" sz="800" spc="-20" noProof="0" dirty="0">
                <a:solidFill>
                  <a:srgbClr val="231F20"/>
                </a:solidFill>
                <a:latin typeface="Neue Frutiger World" panose="020B0603040304020203" pitchFamily="34" charset="0"/>
                <a:cs typeface="Neue Frutiger World" panose="020B0603040304020203" pitchFamily="34" charset="0"/>
              </a:rPr>
              <a:t>to</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remove</a:t>
            </a:r>
            <a:r>
              <a:rPr lang="en-GB" sz="800" spc="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all</a:t>
            </a:r>
            <a:r>
              <a:rPr lang="en-GB" sz="800" spc="1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hardware.</a:t>
            </a:r>
          </a:p>
          <a:p>
            <a:pPr marL="38097" marR="30477">
              <a:lnSpc>
                <a:spcPct val="104200"/>
              </a:lnSpc>
              <a:spcBef>
                <a:spcPts val="60"/>
              </a:spcBef>
            </a:pPr>
            <a:endParaRPr lang="en-GB" sz="800" spc="-10" noProof="0" dirty="0">
              <a:solidFill>
                <a:srgbClr val="231F20"/>
              </a:solidFill>
              <a:latin typeface="Neue Frutiger World" panose="020B0603040304020203" pitchFamily="34" charset="0"/>
              <a:cs typeface="Neue Frutiger World" panose="020B0603040304020203" pitchFamily="34" charset="0"/>
            </a:endParaRPr>
          </a:p>
          <a:p>
            <a:pPr marL="0" marR="30477" indent="0" algn="just">
              <a:lnSpc>
                <a:spcPct val="104200"/>
              </a:lnSpc>
              <a:spcBef>
                <a:spcPts val="60"/>
              </a:spcBef>
              <a:buNone/>
            </a:pPr>
            <a:r>
              <a:rPr lang="en-GB" sz="800" spc="-15" noProof="0" dirty="0">
                <a:solidFill>
                  <a:srgbClr val="231F20"/>
                </a:solidFill>
                <a:latin typeface="Neue Frutiger World" panose="020B0603040304020203" pitchFamily="34" charset="0"/>
                <a:cs typeface="Neue Frutiger World" panose="020B0603040304020203" pitchFamily="34" charset="0"/>
              </a:rPr>
              <a:t>The key aspect to successful treatment of definite CIED infections is complete removal of all parts of the system and transvenous hardware, including the device and all leads (active, abandoned, epicardial as well as lead fragments) as well as vascular ports or permanent haemodialysis catheter. </a:t>
            </a:r>
            <a:r>
              <a:rPr lang="en-GB" sz="800" b="1" spc="-15" noProof="0" dirty="0">
                <a:solidFill>
                  <a:srgbClr val="231F20"/>
                </a:solidFill>
                <a:latin typeface="Neue Frutiger World" panose="020B0603040304020203" pitchFamily="34" charset="0"/>
                <a:cs typeface="Neue Frutiger World" panose="020B0603040304020203" pitchFamily="34" charset="0"/>
              </a:rPr>
              <a:t>This treatment concept applies to systemic as well as localised CIED pocket infections.</a:t>
            </a:r>
            <a:r>
              <a:rPr lang="en-GB" sz="800" b="1" spc="-15" baseline="30000" noProof="0" dirty="0">
                <a:solidFill>
                  <a:srgbClr val="231F20"/>
                </a:solidFill>
                <a:latin typeface="Neue Frutiger World" panose="020B0603040304020203" pitchFamily="34" charset="0"/>
                <a:cs typeface="Neue Frutiger World" panose="020B0603040304020203" pitchFamily="34" charset="0"/>
              </a:rPr>
              <a:t>28</a:t>
            </a:r>
            <a:endParaRPr lang="en-GB" sz="800" spc="-10" noProof="0" dirty="0">
              <a:solidFill>
                <a:srgbClr val="231F20"/>
              </a:solidFill>
              <a:latin typeface="Neue Frutiger World" panose="020B0603040304020203" pitchFamily="34" charset="0"/>
              <a:cs typeface="Neue Frutiger World" panose="020B0603040304020203" pitchFamily="34" charset="0"/>
            </a:endParaRPr>
          </a:p>
          <a:p>
            <a:pPr marL="0" indent="0">
              <a:spcBef>
                <a:spcPts val="730"/>
              </a:spcBef>
              <a:buNone/>
            </a:pPr>
            <a:r>
              <a:rPr lang="en-GB" sz="800" b="1" spc="-5" noProof="0" dirty="0">
                <a:solidFill>
                  <a:srgbClr val="231F20"/>
                </a:solidFill>
                <a:latin typeface="Neue Frutiger World" panose="020B0603040304020203" pitchFamily="34" charset="0"/>
                <a:cs typeface="Neue Frutiger World" panose="020B0603040304020203" pitchFamily="34" charset="0"/>
              </a:rPr>
              <a:t>Symptoms</a:t>
            </a:r>
            <a:r>
              <a:rPr lang="en-GB" sz="800" b="1" spc="25"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of</a:t>
            </a:r>
            <a:r>
              <a:rPr lang="en-GB" sz="800" b="1" noProof="0" dirty="0">
                <a:solidFill>
                  <a:srgbClr val="231F20"/>
                </a:solidFill>
                <a:latin typeface="Neue Frutiger World" panose="020B0603040304020203" pitchFamily="34" charset="0"/>
                <a:cs typeface="Neue Frutiger World" panose="020B0603040304020203" pitchFamily="34" charset="0"/>
              </a:rPr>
              <a:t> </a:t>
            </a:r>
            <a:r>
              <a:rPr lang="en-GB" sz="800" b="1" spc="-15" noProof="0" dirty="0">
                <a:solidFill>
                  <a:srgbClr val="231F20"/>
                </a:solidFill>
                <a:latin typeface="Neue Frutiger World" panose="020B0603040304020203" pitchFamily="34" charset="0"/>
                <a:cs typeface="Neue Frutiger World" panose="020B0603040304020203" pitchFamily="34" charset="0"/>
              </a:rPr>
              <a:t>pocket</a:t>
            </a:r>
            <a:r>
              <a:rPr lang="en-GB" sz="800" b="1" spc="25" noProof="0" dirty="0">
                <a:solidFill>
                  <a:srgbClr val="231F20"/>
                </a:solidFill>
                <a:latin typeface="Neue Frutiger World" panose="020B0603040304020203" pitchFamily="34" charset="0"/>
                <a:cs typeface="Neue Frutiger World" panose="020B0603040304020203" pitchFamily="34" charset="0"/>
              </a:rPr>
              <a:t> </a:t>
            </a:r>
            <a:r>
              <a:rPr lang="en-GB" sz="800" b="1" spc="-5" noProof="0" dirty="0">
                <a:solidFill>
                  <a:srgbClr val="231F20"/>
                </a:solidFill>
                <a:latin typeface="Neue Frutiger World" panose="020B0603040304020203" pitchFamily="34" charset="0"/>
                <a:cs typeface="Neue Frutiger World" panose="020B0603040304020203" pitchFamily="34" charset="0"/>
              </a:rPr>
              <a:t>infection</a:t>
            </a:r>
            <a:r>
              <a:rPr lang="en-GB" sz="800" b="1" spc="-7" baseline="33333" noProof="0" dirty="0">
                <a:solidFill>
                  <a:srgbClr val="231F20"/>
                </a:solidFill>
                <a:latin typeface="Neue Frutiger World" panose="020B0603040304020203" pitchFamily="34" charset="0"/>
                <a:cs typeface="Neue Frutiger World" panose="020B0603040304020203" pitchFamily="34" charset="0"/>
              </a:rPr>
              <a:t>7</a:t>
            </a:r>
            <a:endParaRPr lang="en-GB" sz="800" baseline="33333" noProof="0" dirty="0">
              <a:latin typeface="Neue Frutiger World" panose="020B0603040304020203" pitchFamily="34" charset="0"/>
              <a:cs typeface="Neue Frutiger World" panose="020B0603040304020203" pitchFamily="34" charset="0"/>
            </a:endParaRPr>
          </a:p>
          <a:p>
            <a:pPr marL="139688" indent="-101592">
              <a:spcBef>
                <a:spcPts val="390"/>
              </a:spcBef>
              <a:buChar char="•"/>
              <a:tabLst>
                <a:tab pos="139688" algn="l"/>
              </a:tabLst>
            </a:pPr>
            <a:r>
              <a:rPr lang="en-GB" sz="800" spc="-5" noProof="0" dirty="0">
                <a:solidFill>
                  <a:srgbClr val="231F20"/>
                </a:solidFill>
                <a:latin typeface="Neue Frutiger World" panose="020B0603040304020203" pitchFamily="34" charset="0"/>
                <a:cs typeface="Neue Frutiger World" panose="020B0603040304020203" pitchFamily="34" charset="0"/>
              </a:rPr>
              <a:t>Redness</a:t>
            </a:r>
            <a:r>
              <a:rPr lang="en-GB" sz="800" spc="-25" noProof="0" dirty="0">
                <a:solidFill>
                  <a:srgbClr val="231F20"/>
                </a:solidFill>
                <a:latin typeface="Neue Frutiger World" panose="020B0603040304020203" pitchFamily="34" charset="0"/>
                <a:cs typeface="Neue Frutiger World" panose="020B0603040304020203" pitchFamily="34" charset="0"/>
              </a:rPr>
              <a:t> </a:t>
            </a:r>
            <a:r>
              <a:rPr lang="en-GB" sz="800" noProof="0" dirty="0">
                <a:solidFill>
                  <a:srgbClr val="231F20"/>
                </a:solidFill>
                <a:latin typeface="Neue Frutiger World" panose="020B0603040304020203" pitchFamily="34" charset="0"/>
                <a:cs typeface="Neue Frutiger World" panose="020B0603040304020203" pitchFamily="34" charset="0"/>
              </a:rPr>
              <a:t>of</a:t>
            </a:r>
            <a:r>
              <a:rPr lang="en-GB" sz="800" spc="-4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skin</a:t>
            </a:r>
            <a:endParaRPr lang="en-GB" sz="800" noProof="0" dirty="0">
              <a:latin typeface="Neue Frutiger World" panose="020B0603040304020203" pitchFamily="34" charset="0"/>
              <a:cs typeface="Neue Frutiger World" panose="020B0603040304020203" pitchFamily="34" charset="0"/>
            </a:endParaRPr>
          </a:p>
          <a:p>
            <a:pPr marL="139688" indent="-101592">
              <a:spcBef>
                <a:spcPts val="490"/>
              </a:spcBef>
              <a:buChar char="•"/>
              <a:tabLst>
                <a:tab pos="139688" algn="l"/>
              </a:tabLst>
            </a:pPr>
            <a:r>
              <a:rPr lang="en-GB" sz="800" spc="-10" noProof="0" dirty="0">
                <a:solidFill>
                  <a:srgbClr val="231F20"/>
                </a:solidFill>
                <a:latin typeface="Neue Frutiger World" panose="020B0603040304020203" pitchFamily="34" charset="0"/>
                <a:cs typeface="Neue Frutiger World" panose="020B0603040304020203" pitchFamily="34" charset="0"/>
              </a:rPr>
              <a:t>Pain/tenderness</a:t>
            </a:r>
            <a:endParaRPr lang="en-GB" sz="800" noProof="0" dirty="0">
              <a:latin typeface="Neue Frutiger World" panose="020B0603040304020203" pitchFamily="34" charset="0"/>
              <a:cs typeface="Neue Frutiger World" panose="020B0603040304020203" pitchFamily="34" charset="0"/>
            </a:endParaRPr>
          </a:p>
          <a:p>
            <a:pPr marL="139688" indent="-101592">
              <a:spcBef>
                <a:spcPts val="490"/>
              </a:spcBef>
              <a:buChar char="•"/>
              <a:tabLst>
                <a:tab pos="139688" algn="l"/>
              </a:tabLst>
            </a:pPr>
            <a:r>
              <a:rPr lang="en-GB" sz="800" spc="-10" noProof="0" dirty="0">
                <a:solidFill>
                  <a:srgbClr val="231F20"/>
                </a:solidFill>
                <a:latin typeface="Neue Frutiger World" panose="020B0603040304020203" pitchFamily="34" charset="0"/>
                <a:cs typeface="Neue Frutiger World" panose="020B0603040304020203" pitchFamily="34" charset="0"/>
              </a:rPr>
              <a:t>Swelling/warmth</a:t>
            </a:r>
            <a:endParaRPr lang="en-GB" sz="800" noProof="0" dirty="0">
              <a:latin typeface="Neue Frutiger World" panose="020B0603040304020203" pitchFamily="34" charset="0"/>
              <a:cs typeface="Neue Frutiger World" panose="020B0603040304020203" pitchFamily="34" charset="0"/>
            </a:endParaRPr>
          </a:p>
          <a:p>
            <a:pPr marL="139688" indent="-101592">
              <a:spcBef>
                <a:spcPts val="490"/>
              </a:spcBef>
              <a:buChar char="•"/>
              <a:tabLst>
                <a:tab pos="139688" algn="l"/>
              </a:tabLst>
            </a:pPr>
            <a:r>
              <a:rPr lang="en-GB" sz="800" spc="-10" noProof="0" dirty="0">
                <a:solidFill>
                  <a:srgbClr val="231F20"/>
                </a:solidFill>
                <a:latin typeface="Neue Frutiger World" panose="020B0603040304020203" pitchFamily="34" charset="0"/>
                <a:cs typeface="Neue Frutiger World" panose="020B0603040304020203" pitchFamily="34" charset="0"/>
              </a:rPr>
              <a:t>Drainage</a:t>
            </a:r>
            <a:endParaRPr lang="en-GB" sz="800" noProof="0" dirty="0">
              <a:latin typeface="Neue Frutiger World" panose="020B0603040304020203" pitchFamily="34" charset="0"/>
              <a:cs typeface="Neue Frutiger World" panose="020B0603040304020203" pitchFamily="34" charset="0"/>
            </a:endParaRPr>
          </a:p>
          <a:p>
            <a:pPr marL="139688" indent="-101592">
              <a:spcBef>
                <a:spcPts val="490"/>
              </a:spcBef>
              <a:buChar char="•"/>
              <a:tabLst>
                <a:tab pos="139688" algn="l"/>
              </a:tabLst>
            </a:pPr>
            <a:r>
              <a:rPr lang="en-GB" sz="800" spc="-5" noProof="0" dirty="0">
                <a:solidFill>
                  <a:srgbClr val="231F20"/>
                </a:solidFill>
                <a:latin typeface="Neue Frutiger World" panose="020B0603040304020203" pitchFamily="34" charset="0"/>
                <a:cs typeface="Neue Frutiger World" panose="020B0603040304020203" pitchFamily="34" charset="0"/>
              </a:rPr>
              <a:t>Skin</a:t>
            </a:r>
            <a:r>
              <a:rPr lang="en-GB" sz="800" spc="-25"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ulceration</a:t>
            </a:r>
            <a:endParaRPr lang="en-GB" sz="800" noProof="0" dirty="0">
              <a:latin typeface="Neue Frutiger World" panose="020B0603040304020203" pitchFamily="34" charset="0"/>
              <a:cs typeface="Neue Frutiger World" panose="020B0603040304020203" pitchFamily="34" charset="0"/>
            </a:endParaRPr>
          </a:p>
          <a:p>
            <a:pPr marL="139688" indent="-101592">
              <a:spcBef>
                <a:spcPts val="490"/>
              </a:spcBef>
              <a:buChar char="•"/>
              <a:tabLst>
                <a:tab pos="139688" algn="l"/>
              </a:tabLst>
            </a:pPr>
            <a:r>
              <a:rPr lang="en-GB" sz="800" spc="-10" noProof="0" dirty="0">
                <a:solidFill>
                  <a:srgbClr val="231F20"/>
                </a:solidFill>
                <a:latin typeface="Neue Frutiger World" panose="020B0603040304020203" pitchFamily="34" charset="0"/>
                <a:cs typeface="Neue Frutiger World" panose="020B0603040304020203" pitchFamily="34" charset="0"/>
              </a:rPr>
              <a:t>Generator</a:t>
            </a:r>
            <a:r>
              <a:rPr lang="en-GB" sz="800" spc="-25"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or</a:t>
            </a:r>
            <a:r>
              <a:rPr lang="en-GB" sz="800" spc="-20" noProof="0" dirty="0">
                <a:solidFill>
                  <a:srgbClr val="231F20"/>
                </a:solidFill>
                <a:latin typeface="Neue Frutiger World" panose="020B0603040304020203" pitchFamily="34" charset="0"/>
                <a:cs typeface="Neue Frutiger World" panose="020B0603040304020203" pitchFamily="34" charset="0"/>
              </a:rPr>
              <a:t> </a:t>
            </a:r>
            <a:r>
              <a:rPr lang="en-GB" sz="800" spc="-5" noProof="0" dirty="0">
                <a:solidFill>
                  <a:srgbClr val="231F20"/>
                </a:solidFill>
                <a:latin typeface="Neue Frutiger World" panose="020B0603040304020203" pitchFamily="34" charset="0"/>
                <a:cs typeface="Neue Frutiger World" panose="020B0603040304020203" pitchFamily="34" charset="0"/>
              </a:rPr>
              <a:t>lead</a:t>
            </a:r>
            <a:r>
              <a:rPr lang="en-GB" sz="800" noProof="0" dirty="0">
                <a:solidFill>
                  <a:srgbClr val="231F20"/>
                </a:solidFill>
                <a:latin typeface="Neue Frutiger World" panose="020B0603040304020203" pitchFamily="34" charset="0"/>
                <a:cs typeface="Neue Frutiger World" panose="020B0603040304020203" pitchFamily="34" charset="0"/>
              </a:rPr>
              <a:t> </a:t>
            </a:r>
            <a:r>
              <a:rPr lang="en-GB" sz="800" spc="-10" noProof="0" dirty="0">
                <a:solidFill>
                  <a:srgbClr val="231F20"/>
                </a:solidFill>
                <a:latin typeface="Neue Frutiger World" panose="020B0603040304020203" pitchFamily="34" charset="0"/>
                <a:cs typeface="Neue Frutiger World" panose="020B0603040304020203" pitchFamily="34" charset="0"/>
              </a:rPr>
              <a:t>erosion</a:t>
            </a:r>
            <a:endParaRPr lang="en-GB" sz="800" noProof="0" dirty="0">
              <a:latin typeface="Neue Frutiger World" panose="020B0603040304020203" pitchFamily="34" charset="0"/>
              <a:cs typeface="Neue Frutiger World" panose="020B0603040304020203" pitchFamily="34" charset="0"/>
            </a:endParaRPr>
          </a:p>
          <a:p>
            <a:pPr marL="0" indent="0">
              <a:buNone/>
            </a:pPr>
            <a:endParaRPr lang="en-GB" sz="800" noProof="0" dirty="0">
              <a:latin typeface="Neue Frutiger World" panose="020B0603040304020203" pitchFamily="34" charset="0"/>
              <a:cs typeface="Neue Frutiger World" panose="020B0603040304020203" pitchFamily="34" charset="0"/>
            </a:endParaRPr>
          </a:p>
        </p:txBody>
      </p:sp>
      <p:pic>
        <p:nvPicPr>
          <p:cNvPr id="9" name="Picture 8">
            <a:extLst>
              <a:ext uri="{FF2B5EF4-FFF2-40B4-BE49-F238E27FC236}">
                <a16:creationId xmlns:a16="http://schemas.microsoft.com/office/drawing/2014/main" id="{C34D6D8F-B463-4E0B-9CA1-113C0D22F648}"/>
              </a:ext>
            </a:extLst>
          </p:cNvPr>
          <p:cNvPicPr>
            <a:picLocks noChangeAspect="1"/>
          </p:cNvPicPr>
          <p:nvPr>
            <p:custDataLst>
              <p:tags r:id="rId1"/>
            </p:custDataLst>
          </p:nvPr>
        </p:nvPicPr>
        <p:blipFill rotWithShape="1">
          <a:blip r:embed="rId3"/>
          <a:srcRect/>
          <a:stretch/>
        </p:blipFill>
        <p:spPr>
          <a:xfrm>
            <a:off x="6012160" y="843558"/>
            <a:ext cx="2592937" cy="1728192"/>
          </a:xfrm>
          <a:prstGeom prst="rect">
            <a:avLst/>
          </a:prstGeom>
        </p:spPr>
      </p:pic>
      <p:sp>
        <p:nvSpPr>
          <p:cNvPr id="10" name="object 2">
            <a:extLst>
              <a:ext uri="{FF2B5EF4-FFF2-40B4-BE49-F238E27FC236}">
                <a16:creationId xmlns:a16="http://schemas.microsoft.com/office/drawing/2014/main" id="{AE73FC86-FF78-4E83-97B9-B0BC8614B304}"/>
              </a:ext>
            </a:extLst>
          </p:cNvPr>
          <p:cNvSpPr txBox="1"/>
          <p:nvPr/>
        </p:nvSpPr>
        <p:spPr>
          <a:xfrm>
            <a:off x="5586518" y="4221202"/>
            <a:ext cx="554990" cy="259045"/>
          </a:xfrm>
          <a:prstGeom prst="rect">
            <a:avLst/>
          </a:prstGeom>
        </p:spPr>
        <p:txBody>
          <a:bodyPr vert="horz" wrap="square" lIns="0" tIns="12700" rIns="0" bIns="0" rtlCol="0">
            <a:spAutoFit/>
          </a:bodyPr>
          <a:lstStyle/>
          <a:p>
            <a:pPr marL="61589" marR="5079" indent="-49526">
              <a:spcBef>
                <a:spcPts val="100"/>
              </a:spcBef>
            </a:pPr>
            <a:r>
              <a:rPr sz="800" spc="-5" dirty="0">
                <a:solidFill>
                  <a:srgbClr val="231F20"/>
                </a:solidFill>
                <a:latin typeface="Neue Frutiger World" panose="020B0603040304020203" pitchFamily="34" charset="0"/>
                <a:cs typeface="Neue Frutiger World" panose="020B0603040304020203" pitchFamily="34" charset="0"/>
              </a:rPr>
              <a:t>I</a:t>
            </a:r>
            <a:r>
              <a:rPr sz="800" dirty="0">
                <a:solidFill>
                  <a:srgbClr val="231F20"/>
                </a:solidFill>
                <a:latin typeface="Neue Frutiger World" panose="020B0603040304020203" pitchFamily="34" charset="0"/>
                <a:cs typeface="Neue Frutiger World" panose="020B0603040304020203" pitchFamily="34" charset="0"/>
              </a:rPr>
              <a:t>n-hos</a:t>
            </a:r>
            <a:r>
              <a:rPr sz="800" spc="-5" dirty="0">
                <a:solidFill>
                  <a:srgbClr val="231F20"/>
                </a:solidFill>
                <a:latin typeface="Neue Frutiger World" panose="020B0603040304020203" pitchFamily="34" charset="0"/>
                <a:cs typeface="Neue Frutiger World" panose="020B0603040304020203" pitchFamily="34" charset="0"/>
              </a:rPr>
              <a:t>p</a:t>
            </a:r>
            <a:r>
              <a:rPr sz="800" spc="-15" dirty="0">
                <a:solidFill>
                  <a:srgbClr val="231F20"/>
                </a:solidFill>
                <a:latin typeface="Neue Frutiger World" panose="020B0603040304020203" pitchFamily="34" charset="0"/>
                <a:cs typeface="Neue Frutiger World" panose="020B0603040304020203" pitchFamily="34" charset="0"/>
              </a:rPr>
              <a:t>it</a:t>
            </a:r>
            <a:r>
              <a:rPr sz="800" spc="-10" dirty="0">
                <a:solidFill>
                  <a:srgbClr val="231F20"/>
                </a:solidFill>
                <a:latin typeface="Neue Frutiger World" panose="020B0603040304020203" pitchFamily="34" charset="0"/>
                <a:cs typeface="Neue Frutiger World" panose="020B0603040304020203" pitchFamily="34" charset="0"/>
              </a:rPr>
              <a:t>a</a:t>
            </a:r>
            <a:r>
              <a:rPr sz="800" dirty="0">
                <a:solidFill>
                  <a:srgbClr val="231F20"/>
                </a:solidFill>
                <a:latin typeface="Neue Frutiger World" panose="020B0603040304020203" pitchFamily="34" charset="0"/>
                <a:cs typeface="Neue Frutiger World" panose="020B0603040304020203" pitchFamily="34" charset="0"/>
              </a:rPr>
              <a:t>l</a:t>
            </a:r>
            <a:r>
              <a:rPr lang="en-GB" sz="80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mortality</a:t>
            </a:r>
            <a:endParaRPr sz="800" dirty="0">
              <a:latin typeface="Neue Frutiger World" panose="020B0603040304020203" pitchFamily="34" charset="0"/>
              <a:cs typeface="Neue Frutiger World" panose="020B0603040304020203" pitchFamily="34" charset="0"/>
            </a:endParaRPr>
          </a:p>
        </p:txBody>
      </p:sp>
      <p:sp>
        <p:nvSpPr>
          <p:cNvPr id="11" name="object 3">
            <a:extLst>
              <a:ext uri="{FF2B5EF4-FFF2-40B4-BE49-F238E27FC236}">
                <a16:creationId xmlns:a16="http://schemas.microsoft.com/office/drawing/2014/main" id="{5E4E6C68-FEE0-420D-85D6-CFB0566FCE1F}"/>
              </a:ext>
            </a:extLst>
          </p:cNvPr>
          <p:cNvSpPr txBox="1"/>
          <p:nvPr/>
        </p:nvSpPr>
        <p:spPr>
          <a:xfrm>
            <a:off x="5720020" y="2738049"/>
            <a:ext cx="963294" cy="135935"/>
          </a:xfrm>
          <a:prstGeom prst="rect">
            <a:avLst/>
          </a:prstGeom>
        </p:spPr>
        <p:txBody>
          <a:bodyPr vert="horz" wrap="square" lIns="0" tIns="12700" rIns="0" bIns="0" rtlCol="0">
            <a:spAutoFit/>
          </a:bodyPr>
          <a:lstStyle/>
          <a:p>
            <a:pPr marL="12699">
              <a:spcBef>
                <a:spcPts val="100"/>
              </a:spcBef>
            </a:pPr>
            <a:r>
              <a:rPr sz="800" spc="-5" dirty="0">
                <a:solidFill>
                  <a:srgbClr val="231F20"/>
                </a:solidFill>
                <a:latin typeface="Neue Frutiger World" panose="020B0603040304020203" pitchFamily="34" charset="0"/>
                <a:cs typeface="Neue Frutiger World" panose="020B0603040304020203" pitchFamily="34" charset="0"/>
              </a:rPr>
              <a:t>Extraction</a:t>
            </a:r>
            <a:r>
              <a:rPr sz="800" spc="-2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in</a:t>
            </a:r>
            <a:r>
              <a:rPr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7</a:t>
            </a:r>
            <a:r>
              <a:rPr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ays</a:t>
            </a:r>
            <a:endParaRPr sz="800" dirty="0">
              <a:latin typeface="Neue Frutiger World" panose="020B0603040304020203" pitchFamily="34" charset="0"/>
              <a:cs typeface="Neue Frutiger World" panose="020B0603040304020203" pitchFamily="34" charset="0"/>
            </a:endParaRPr>
          </a:p>
        </p:txBody>
      </p:sp>
      <p:sp>
        <p:nvSpPr>
          <p:cNvPr id="12" name="object 4">
            <a:extLst>
              <a:ext uri="{FF2B5EF4-FFF2-40B4-BE49-F238E27FC236}">
                <a16:creationId xmlns:a16="http://schemas.microsoft.com/office/drawing/2014/main" id="{05168EE5-32CF-4B03-93F3-D099227B9157}"/>
              </a:ext>
            </a:extLst>
          </p:cNvPr>
          <p:cNvSpPr txBox="1"/>
          <p:nvPr/>
        </p:nvSpPr>
        <p:spPr>
          <a:xfrm>
            <a:off x="6938001" y="2738049"/>
            <a:ext cx="1014094" cy="135935"/>
          </a:xfrm>
          <a:prstGeom prst="rect">
            <a:avLst/>
          </a:prstGeom>
        </p:spPr>
        <p:txBody>
          <a:bodyPr vert="horz" wrap="square" lIns="0" tIns="12700" rIns="0" bIns="0" rtlCol="0">
            <a:spAutoFit/>
          </a:bodyPr>
          <a:lstStyle/>
          <a:p>
            <a:pPr marL="12699">
              <a:spcBef>
                <a:spcPts val="100"/>
              </a:spcBef>
            </a:pPr>
            <a:r>
              <a:rPr sz="800" spc="-5" dirty="0">
                <a:solidFill>
                  <a:srgbClr val="231F20"/>
                </a:solidFill>
                <a:latin typeface="Neue Frutiger World" panose="020B0603040304020203" pitchFamily="34" charset="0"/>
                <a:cs typeface="Neue Frutiger World" panose="020B0603040304020203" pitchFamily="34" charset="0"/>
              </a:rPr>
              <a:t>Delayed</a:t>
            </a:r>
            <a:r>
              <a:rPr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extraction</a:t>
            </a:r>
            <a:r>
              <a:rPr sz="800" spc="-15"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a:t>
            </a:r>
            <a:endParaRPr sz="800" dirty="0">
              <a:latin typeface="Neue Frutiger World" panose="020B0603040304020203" pitchFamily="34" charset="0"/>
              <a:cs typeface="Neue Frutiger World" panose="020B0603040304020203" pitchFamily="34" charset="0"/>
            </a:endParaRPr>
          </a:p>
        </p:txBody>
      </p:sp>
      <p:graphicFrame>
        <p:nvGraphicFramePr>
          <p:cNvPr id="13" name="object 5">
            <a:extLst>
              <a:ext uri="{FF2B5EF4-FFF2-40B4-BE49-F238E27FC236}">
                <a16:creationId xmlns:a16="http://schemas.microsoft.com/office/drawing/2014/main" id="{B8139124-90A2-471B-9D7C-8ED52DE586CA}"/>
              </a:ext>
            </a:extLst>
          </p:cNvPr>
          <p:cNvGraphicFramePr>
            <a:graphicFrameLocks noGrp="1"/>
          </p:cNvGraphicFramePr>
          <p:nvPr>
            <p:extLst>
              <p:ext uri="{D42A27DB-BD31-4B8C-83A1-F6EECF244321}">
                <p14:modId xmlns:p14="http://schemas.microsoft.com/office/powerpoint/2010/main" val="4044864405"/>
              </p:ext>
            </p:extLst>
          </p:nvPr>
        </p:nvGraphicFramePr>
        <p:xfrm>
          <a:off x="5359614" y="2872824"/>
          <a:ext cx="3245483" cy="1315720"/>
        </p:xfrm>
        <a:graphic>
          <a:graphicData uri="http://schemas.openxmlformats.org/drawingml/2006/table">
            <a:tbl>
              <a:tblPr firstRow="1" bandRow="1">
                <a:tableStyleId>{2D5ABB26-0587-4C30-8999-92F81FD0307C}</a:tableStyleId>
              </a:tblPr>
              <a:tblGrid>
                <a:gridCol w="516255">
                  <a:extLst>
                    <a:ext uri="{9D8B030D-6E8A-4147-A177-3AD203B41FA5}">
                      <a16:colId xmlns:a16="http://schemas.microsoft.com/office/drawing/2014/main" val="20000"/>
                    </a:ext>
                  </a:extLst>
                </a:gridCol>
                <a:gridCol w="281940">
                  <a:extLst>
                    <a:ext uri="{9D8B030D-6E8A-4147-A177-3AD203B41FA5}">
                      <a16:colId xmlns:a16="http://schemas.microsoft.com/office/drawing/2014/main" val="20001"/>
                    </a:ext>
                  </a:extLst>
                </a:gridCol>
                <a:gridCol w="253364">
                  <a:extLst>
                    <a:ext uri="{9D8B030D-6E8A-4147-A177-3AD203B41FA5}">
                      <a16:colId xmlns:a16="http://schemas.microsoft.com/office/drawing/2014/main" val="20002"/>
                    </a:ext>
                  </a:extLst>
                </a:gridCol>
                <a:gridCol w="181609">
                  <a:extLst>
                    <a:ext uri="{9D8B030D-6E8A-4147-A177-3AD203B41FA5}">
                      <a16:colId xmlns:a16="http://schemas.microsoft.com/office/drawing/2014/main" val="20003"/>
                    </a:ext>
                  </a:extLst>
                </a:gridCol>
                <a:gridCol w="292100">
                  <a:extLst>
                    <a:ext uri="{9D8B030D-6E8A-4147-A177-3AD203B41FA5}">
                      <a16:colId xmlns:a16="http://schemas.microsoft.com/office/drawing/2014/main" val="20004"/>
                    </a:ext>
                  </a:extLst>
                </a:gridCol>
                <a:gridCol w="431165">
                  <a:extLst>
                    <a:ext uri="{9D8B030D-6E8A-4147-A177-3AD203B41FA5}">
                      <a16:colId xmlns:a16="http://schemas.microsoft.com/office/drawing/2014/main" val="20005"/>
                    </a:ext>
                  </a:extLst>
                </a:gridCol>
                <a:gridCol w="151130">
                  <a:extLst>
                    <a:ext uri="{9D8B030D-6E8A-4147-A177-3AD203B41FA5}">
                      <a16:colId xmlns:a16="http://schemas.microsoft.com/office/drawing/2014/main" val="20006"/>
                    </a:ext>
                  </a:extLst>
                </a:gridCol>
                <a:gridCol w="573405">
                  <a:extLst>
                    <a:ext uri="{9D8B030D-6E8A-4147-A177-3AD203B41FA5}">
                      <a16:colId xmlns:a16="http://schemas.microsoft.com/office/drawing/2014/main" val="20007"/>
                    </a:ext>
                  </a:extLst>
                </a:gridCol>
                <a:gridCol w="564515">
                  <a:extLst>
                    <a:ext uri="{9D8B030D-6E8A-4147-A177-3AD203B41FA5}">
                      <a16:colId xmlns:a16="http://schemas.microsoft.com/office/drawing/2014/main" val="20008"/>
                    </a:ext>
                  </a:extLst>
                </a:gridCol>
              </a:tblGrid>
              <a:tr h="283210">
                <a:tc gridSpan="2">
                  <a:txBody>
                    <a:bodyPr/>
                    <a:lstStyle/>
                    <a:p>
                      <a:pPr marL="369570">
                        <a:lnSpc>
                          <a:spcPts val="960"/>
                        </a:lnSpc>
                        <a:spcBef>
                          <a:spcPts val="5"/>
                        </a:spcBef>
                      </a:pPr>
                      <a:r>
                        <a:rPr sz="800" spc="-5" dirty="0">
                          <a:solidFill>
                            <a:srgbClr val="231F20"/>
                          </a:solidFill>
                          <a:latin typeface="CentraleSans Book"/>
                          <a:cs typeface="CentraleSans Book"/>
                        </a:rPr>
                        <a:t>or less </a:t>
                      </a:r>
                      <a:r>
                        <a:rPr sz="800" spc="20" dirty="0">
                          <a:solidFill>
                            <a:srgbClr val="231F20"/>
                          </a:solidFill>
                          <a:latin typeface="CentraleSans Book"/>
                          <a:cs typeface="CentraleSans Book"/>
                        </a:rPr>
                        <a:t>-</a:t>
                      </a:r>
                      <a:r>
                        <a:rPr lang="en-GB" sz="800" spc="20" dirty="0">
                          <a:solidFill>
                            <a:srgbClr val="231F20"/>
                          </a:solidFill>
                          <a:latin typeface="CentraleSans Book"/>
                          <a:cs typeface="CentraleSans Book"/>
                        </a:rPr>
                        <a:t> </a:t>
                      </a:r>
                      <a:r>
                        <a:rPr sz="800" dirty="0">
                          <a:solidFill>
                            <a:srgbClr val="231F20"/>
                          </a:solidFill>
                          <a:latin typeface="CentraleSans Book"/>
                          <a:cs typeface="CentraleSans Book"/>
                        </a:rPr>
                        <a:t>in</a:t>
                      </a:r>
                      <a:r>
                        <a:rPr sz="800" spc="-20" dirty="0">
                          <a:solidFill>
                            <a:srgbClr val="231F20"/>
                          </a:solidFill>
                          <a:latin typeface="CentraleSans Book"/>
                          <a:cs typeface="CentraleSans Book"/>
                        </a:rPr>
                        <a:t>f</a:t>
                      </a:r>
                      <a:r>
                        <a:rPr sz="800" dirty="0">
                          <a:solidFill>
                            <a:srgbClr val="231F20"/>
                          </a:solidFill>
                          <a:latin typeface="CentraleSans Book"/>
                          <a:cs typeface="CentraleSans Book"/>
                        </a:rPr>
                        <a:t>ection</a:t>
                      </a:r>
                      <a:endParaRPr sz="800" dirty="0">
                        <a:latin typeface="CentraleSans Book"/>
                        <a:cs typeface="CentraleSans Book"/>
                      </a:endParaRPr>
                    </a:p>
                  </a:txBody>
                  <a:tcPr marL="0" marR="0" marT="635" marB="0">
                    <a:lnL w="6350">
                      <a:solidFill>
                        <a:srgbClr val="231F20"/>
                      </a:solidFill>
                      <a:prstDash val="solid"/>
                    </a:lnL>
                  </a:tcPr>
                </a:tc>
                <a:tc hMerge="1">
                  <a:txBody>
                    <a:bodyPr/>
                    <a:lstStyle/>
                    <a:p>
                      <a:endParaRPr/>
                    </a:p>
                  </a:txBody>
                  <a:tcPr marL="0" marR="0" marT="0" marB="0"/>
                </a:tc>
                <a:tc gridSpan="2">
                  <a:txBody>
                    <a:bodyPr/>
                    <a:lstStyle/>
                    <a:p>
                      <a:pPr marL="13335">
                        <a:lnSpc>
                          <a:spcPts val="935"/>
                        </a:lnSpc>
                      </a:pPr>
                      <a:r>
                        <a:rPr sz="800" spc="-10" dirty="0">
                          <a:solidFill>
                            <a:srgbClr val="231F20"/>
                          </a:solidFill>
                          <a:latin typeface="CentraleSans Book"/>
                          <a:cs typeface="CentraleSans Book"/>
                        </a:rPr>
                        <a:t>pocket</a:t>
                      </a:r>
                      <a:endParaRPr sz="800" dirty="0">
                        <a:latin typeface="CentraleSans Book"/>
                        <a:cs typeface="CentraleSans Book"/>
                      </a:endParaRPr>
                    </a:p>
                  </a:txBody>
                  <a:tcPr marL="0" marR="0" marT="0" marB="0"/>
                </a:tc>
                <a:tc hMerge="1">
                  <a:txBody>
                    <a:bodyPr/>
                    <a:lstStyle/>
                    <a:p>
                      <a:endParaRPr/>
                    </a:p>
                  </a:txBody>
                  <a:tcPr marL="0" marR="0" marT="0" marB="0"/>
                </a:tc>
                <a:tc>
                  <a:txBody>
                    <a:bodyPr/>
                    <a:lstStyle/>
                    <a:p>
                      <a:pPr>
                        <a:lnSpc>
                          <a:spcPct val="100000"/>
                        </a:lnSpc>
                      </a:pPr>
                      <a:endParaRPr sz="800" dirty="0">
                        <a:latin typeface="Times New Roman"/>
                        <a:cs typeface="Times New Roman"/>
                      </a:endParaRPr>
                    </a:p>
                  </a:txBody>
                  <a:tcPr marL="0" marR="0" marT="0" marB="0"/>
                </a:tc>
                <a:tc>
                  <a:txBody>
                    <a:bodyPr/>
                    <a:lstStyle/>
                    <a:p>
                      <a:pPr marL="89535">
                        <a:lnSpc>
                          <a:spcPts val="935"/>
                        </a:lnSpc>
                      </a:pPr>
                      <a:r>
                        <a:rPr sz="800" dirty="0">
                          <a:solidFill>
                            <a:srgbClr val="231F20"/>
                          </a:solidFill>
                          <a:latin typeface="CentraleSans Book"/>
                          <a:cs typeface="CentraleSans Book"/>
                        </a:rPr>
                        <a:t>poc</a:t>
                      </a:r>
                      <a:r>
                        <a:rPr sz="800" spc="-25" dirty="0">
                          <a:solidFill>
                            <a:srgbClr val="231F20"/>
                          </a:solidFill>
                          <a:latin typeface="CentraleSans Book"/>
                          <a:cs typeface="CentraleSans Book"/>
                        </a:rPr>
                        <a:t>k</a:t>
                      </a:r>
                      <a:r>
                        <a:rPr sz="800" dirty="0">
                          <a:solidFill>
                            <a:srgbClr val="231F20"/>
                          </a:solidFill>
                          <a:latin typeface="CentraleSans Book"/>
                          <a:cs typeface="CentraleSans Book"/>
                        </a:rPr>
                        <a:t>et</a:t>
                      </a:r>
                      <a:endParaRPr sz="800" dirty="0">
                        <a:latin typeface="CentraleSans Book"/>
                        <a:cs typeface="CentraleSans Book"/>
                      </a:endParaRPr>
                    </a:p>
                  </a:txBody>
                  <a:tcPr marL="0" marR="0" marT="0" marB="0"/>
                </a:tc>
                <a:tc gridSpan="3">
                  <a:txBody>
                    <a:bodyPr/>
                    <a:lstStyle/>
                    <a:p>
                      <a:pPr marL="13335">
                        <a:lnSpc>
                          <a:spcPts val="935"/>
                        </a:lnSpc>
                      </a:pPr>
                      <a:r>
                        <a:rPr sz="800" spc="-10" dirty="0">
                          <a:solidFill>
                            <a:srgbClr val="231F20"/>
                          </a:solidFill>
                          <a:latin typeface="CentraleSans Book"/>
                          <a:cs typeface="CentraleSans Book"/>
                        </a:rPr>
                        <a:t>infection</a:t>
                      </a:r>
                      <a:endParaRPr sz="800" dirty="0">
                        <a:latin typeface="CentraleSans Book"/>
                        <a:cs typeface="CentraleSans Book"/>
                      </a:endParaRPr>
                    </a:p>
                  </a:txBody>
                  <a:tcPr marL="0" marR="0" marT="0" marB="0">
                    <a:lnR w="6350">
                      <a:solidFill>
                        <a:srgbClr val="231F20"/>
                      </a:solidFill>
                      <a:prstDash val="solid"/>
                    </a:lnR>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13055">
                <a:tc>
                  <a:txBody>
                    <a:bodyPr/>
                    <a:lstStyle/>
                    <a:p>
                      <a:pPr>
                        <a:lnSpc>
                          <a:spcPct val="100000"/>
                        </a:lnSpc>
                      </a:pPr>
                      <a:endParaRPr sz="800" dirty="0">
                        <a:latin typeface="Times New Roman"/>
                        <a:cs typeface="Times New Roman"/>
                      </a:endParaRPr>
                    </a:p>
                  </a:txBody>
                  <a:tcPr marL="0" marR="0" marT="0" marB="0">
                    <a:lnL w="6350">
                      <a:solidFill>
                        <a:srgbClr val="231F20"/>
                      </a:solidFill>
                      <a:prstDash val="solid"/>
                    </a:lnL>
                  </a:tcPr>
                </a:tc>
                <a:tc gridSpan="2">
                  <a:txBody>
                    <a:bodyPr/>
                    <a:lstStyle/>
                    <a:p>
                      <a:pPr>
                        <a:lnSpc>
                          <a:spcPct val="100000"/>
                        </a:lnSpc>
                      </a:pPr>
                      <a:endParaRPr sz="800" dirty="0">
                        <a:latin typeface="Times New Roman"/>
                        <a:cs typeface="Times New Roman"/>
                      </a:endParaRPr>
                    </a:p>
                  </a:txBody>
                  <a:tcPr marL="0" marR="0" marT="0" marB="0">
                    <a:lnR w="6350">
                      <a:solidFill>
                        <a:srgbClr val="BCBEC0"/>
                      </a:solidFill>
                      <a:prstDash val="solid"/>
                    </a:lnR>
                  </a:tcPr>
                </a:tc>
                <a:tc hMerge="1">
                  <a:txBody>
                    <a:bodyPr/>
                    <a:lstStyle/>
                    <a:p>
                      <a:endParaRPr/>
                    </a:p>
                  </a:txBody>
                  <a:tcPr marL="0" marR="0" marT="0" marB="0"/>
                </a:tc>
                <a:tc gridSpan="2">
                  <a:txBody>
                    <a:bodyPr/>
                    <a:lstStyle/>
                    <a:p>
                      <a:pPr>
                        <a:lnSpc>
                          <a:spcPct val="100000"/>
                        </a:lnSpc>
                      </a:pPr>
                      <a:endParaRPr sz="800" dirty="0">
                        <a:latin typeface="Times New Roman"/>
                        <a:cs typeface="Times New Roman"/>
                      </a:endParaRPr>
                    </a:p>
                  </a:txBody>
                  <a:tcPr marL="0" marR="0" marT="0" marB="0">
                    <a:lnL w="6350">
                      <a:solidFill>
                        <a:srgbClr val="BCBEC0"/>
                      </a:solidFill>
                      <a:prstDash val="solid"/>
                    </a:lnL>
                  </a:tcPr>
                </a:tc>
                <a:tc hMerge="1">
                  <a:txBody>
                    <a:bodyPr/>
                    <a:lstStyle/>
                    <a:p>
                      <a:endParaRPr/>
                    </a:p>
                  </a:txBody>
                  <a:tcPr marL="0" marR="0" marT="0" marB="0"/>
                </a:tc>
                <a:tc gridSpan="2">
                  <a:txBody>
                    <a:bodyPr/>
                    <a:lstStyle/>
                    <a:p>
                      <a:pPr>
                        <a:lnSpc>
                          <a:spcPct val="100000"/>
                        </a:lnSpc>
                      </a:pPr>
                      <a:endParaRPr sz="800" dirty="0">
                        <a:latin typeface="Times New Roman"/>
                        <a:cs typeface="Times New Roman"/>
                      </a:endParaRPr>
                    </a:p>
                  </a:txBody>
                  <a:tcPr marL="0" marR="0" marT="0" marB="0">
                    <a:lnR w="6350">
                      <a:solidFill>
                        <a:srgbClr val="BCBEC0"/>
                      </a:solidFill>
                      <a:prstDash val="solid"/>
                    </a:lnR>
                  </a:tcPr>
                </a:tc>
                <a:tc hMerge="1">
                  <a:txBody>
                    <a:bodyPr/>
                    <a:lstStyle/>
                    <a:p>
                      <a:endParaRPr/>
                    </a:p>
                  </a:txBody>
                  <a:tcPr marL="0" marR="0" marT="0" marB="0"/>
                </a:tc>
                <a:tc>
                  <a:txBody>
                    <a:bodyPr/>
                    <a:lstStyle/>
                    <a:p>
                      <a:pPr>
                        <a:lnSpc>
                          <a:spcPct val="100000"/>
                        </a:lnSpc>
                      </a:pPr>
                      <a:endParaRPr sz="800" dirty="0">
                        <a:latin typeface="Times New Roman"/>
                        <a:cs typeface="Times New Roman"/>
                      </a:endParaRPr>
                    </a:p>
                  </a:txBody>
                  <a:tcPr marL="0" marR="0" marT="0" marB="0">
                    <a:lnL w="6350">
                      <a:solidFill>
                        <a:srgbClr val="BCBEC0"/>
                      </a:solidFill>
                      <a:prstDash val="solid"/>
                    </a:lnL>
                  </a:tcPr>
                </a:tc>
                <a:tc>
                  <a:txBody>
                    <a:bodyPr/>
                    <a:lstStyle/>
                    <a:p>
                      <a:pPr>
                        <a:lnSpc>
                          <a:spcPct val="100000"/>
                        </a:lnSpc>
                        <a:spcBef>
                          <a:spcPts val="30"/>
                        </a:spcBef>
                      </a:pPr>
                      <a:endParaRPr sz="1200" dirty="0">
                        <a:latin typeface="Times New Roman"/>
                        <a:cs typeface="Times New Roman"/>
                      </a:endParaRPr>
                    </a:p>
                    <a:p>
                      <a:pPr marL="176530">
                        <a:lnSpc>
                          <a:spcPct val="100000"/>
                        </a:lnSpc>
                      </a:pPr>
                      <a:r>
                        <a:rPr sz="800" dirty="0">
                          <a:solidFill>
                            <a:srgbClr val="231F20"/>
                          </a:solidFill>
                          <a:latin typeface="CentraleSans Book"/>
                          <a:cs typeface="CentraleSans Book"/>
                        </a:rPr>
                        <a:t>31</a:t>
                      </a:r>
                      <a:endParaRPr sz="800" dirty="0">
                        <a:latin typeface="CentraleSans Book"/>
                        <a:cs typeface="CentraleSans Book"/>
                      </a:endParaRPr>
                    </a:p>
                  </a:txBody>
                  <a:tcPr marL="0" marR="0" marT="3810" marB="0">
                    <a:lnR w="6350">
                      <a:solidFill>
                        <a:srgbClr val="231F20"/>
                      </a:solidFill>
                      <a:prstDash val="solid"/>
                    </a:lnR>
                  </a:tcPr>
                </a:tc>
                <a:extLst>
                  <a:ext uri="{0D108BD9-81ED-4DB2-BD59-A6C34878D82A}">
                    <a16:rowId xmlns:a16="http://schemas.microsoft.com/office/drawing/2014/main" val="10001"/>
                  </a:ext>
                </a:extLst>
              </a:tr>
              <a:tr h="241300">
                <a:tc>
                  <a:txBody>
                    <a:bodyPr/>
                    <a:lstStyle/>
                    <a:p>
                      <a:pPr>
                        <a:lnSpc>
                          <a:spcPct val="100000"/>
                        </a:lnSpc>
                      </a:pPr>
                      <a:endParaRPr sz="800" dirty="0">
                        <a:latin typeface="Times New Roman"/>
                        <a:cs typeface="Times New Roman"/>
                      </a:endParaRPr>
                    </a:p>
                  </a:txBody>
                  <a:tcPr marL="0" marR="0" marT="0" marB="0">
                    <a:lnL w="6350">
                      <a:solidFill>
                        <a:srgbClr val="231F20"/>
                      </a:solidFill>
                      <a:prstDash val="solid"/>
                    </a:lnL>
                  </a:tcPr>
                </a:tc>
                <a:tc gridSpan="2">
                  <a:txBody>
                    <a:bodyPr/>
                    <a:lstStyle/>
                    <a:p>
                      <a:pPr>
                        <a:lnSpc>
                          <a:spcPct val="100000"/>
                        </a:lnSpc>
                      </a:pPr>
                      <a:endParaRPr sz="800" dirty="0">
                        <a:latin typeface="Times New Roman"/>
                        <a:cs typeface="Times New Roman"/>
                      </a:endParaRPr>
                    </a:p>
                  </a:txBody>
                  <a:tcPr marL="0" marR="0" marT="0" marB="0">
                    <a:lnR w="6350">
                      <a:solidFill>
                        <a:srgbClr val="BCBEC0"/>
                      </a:solidFill>
                      <a:prstDash val="solid"/>
                    </a:lnR>
                  </a:tcPr>
                </a:tc>
                <a:tc hMerge="1">
                  <a:txBody>
                    <a:bodyPr/>
                    <a:lstStyle/>
                    <a:p>
                      <a:endParaRPr/>
                    </a:p>
                  </a:txBody>
                  <a:tcPr marL="0" marR="0" marT="0" marB="0"/>
                </a:tc>
                <a:tc gridSpan="2">
                  <a:txBody>
                    <a:bodyPr/>
                    <a:lstStyle/>
                    <a:p>
                      <a:pPr>
                        <a:lnSpc>
                          <a:spcPct val="100000"/>
                        </a:lnSpc>
                      </a:pPr>
                      <a:endParaRPr sz="800" dirty="0">
                        <a:latin typeface="Times New Roman"/>
                        <a:cs typeface="Times New Roman"/>
                      </a:endParaRPr>
                    </a:p>
                  </a:txBody>
                  <a:tcPr marL="0" marR="0" marT="0" marB="0">
                    <a:lnL w="6350">
                      <a:solidFill>
                        <a:srgbClr val="BCBEC0"/>
                      </a:solidFill>
                      <a:prstDash val="solid"/>
                    </a:lnL>
                  </a:tcPr>
                </a:tc>
                <a:tc hMerge="1">
                  <a:txBody>
                    <a:bodyPr/>
                    <a:lstStyle/>
                    <a:p>
                      <a:endParaRPr/>
                    </a:p>
                  </a:txBody>
                  <a:tcPr marL="0" marR="0" marT="0" marB="0"/>
                </a:tc>
                <a:tc gridSpan="2">
                  <a:txBody>
                    <a:bodyPr/>
                    <a:lstStyle/>
                    <a:p>
                      <a:pPr marR="39370" algn="ctr">
                        <a:lnSpc>
                          <a:spcPct val="100000"/>
                        </a:lnSpc>
                        <a:spcBef>
                          <a:spcPts val="95"/>
                        </a:spcBef>
                      </a:pPr>
                      <a:r>
                        <a:rPr sz="800" dirty="0">
                          <a:solidFill>
                            <a:srgbClr val="231F20"/>
                          </a:solidFill>
                          <a:latin typeface="CentraleSans Book"/>
                          <a:cs typeface="CentraleSans Book"/>
                        </a:rPr>
                        <a:t>22</a:t>
                      </a:r>
                      <a:endParaRPr sz="800" dirty="0">
                        <a:latin typeface="CentraleSans Book"/>
                        <a:cs typeface="CentraleSans Book"/>
                      </a:endParaRPr>
                    </a:p>
                  </a:txBody>
                  <a:tcPr marL="0" marR="0" marT="12065" marB="0">
                    <a:lnR w="6350">
                      <a:solidFill>
                        <a:srgbClr val="BCBEC0"/>
                      </a:solidFill>
                      <a:prstDash val="solid"/>
                    </a:lnR>
                  </a:tcPr>
                </a:tc>
                <a:tc hMerge="1">
                  <a:txBody>
                    <a:bodyPr/>
                    <a:lstStyle/>
                    <a:p>
                      <a:endParaRPr/>
                    </a:p>
                  </a:txBody>
                  <a:tcPr marL="0" marR="0" marT="0" marB="0"/>
                </a:tc>
                <a:tc>
                  <a:txBody>
                    <a:bodyPr/>
                    <a:lstStyle/>
                    <a:p>
                      <a:pPr marL="280670">
                        <a:lnSpc>
                          <a:spcPct val="100000"/>
                        </a:lnSpc>
                        <a:spcBef>
                          <a:spcPts val="370"/>
                        </a:spcBef>
                      </a:pPr>
                      <a:r>
                        <a:rPr sz="800" dirty="0">
                          <a:solidFill>
                            <a:srgbClr val="231F20"/>
                          </a:solidFill>
                          <a:latin typeface="CentraleSans Book"/>
                          <a:cs typeface="CentraleSans Book"/>
                        </a:rPr>
                        <a:t>22</a:t>
                      </a:r>
                      <a:endParaRPr sz="800" dirty="0">
                        <a:latin typeface="CentraleSans Book"/>
                        <a:cs typeface="CentraleSans Book"/>
                      </a:endParaRPr>
                    </a:p>
                  </a:txBody>
                  <a:tcPr marL="0" marR="0" marT="46990" marB="0">
                    <a:lnL w="6350">
                      <a:solidFill>
                        <a:srgbClr val="BCBEC0"/>
                      </a:solidFill>
                      <a:prstDash val="solid"/>
                    </a:lnL>
                  </a:tcPr>
                </a:tc>
                <a:tc>
                  <a:txBody>
                    <a:bodyPr/>
                    <a:lstStyle/>
                    <a:p>
                      <a:pPr>
                        <a:lnSpc>
                          <a:spcPct val="100000"/>
                        </a:lnSpc>
                      </a:pPr>
                      <a:endParaRPr sz="800" dirty="0">
                        <a:latin typeface="Times New Roman"/>
                        <a:cs typeface="Times New Roman"/>
                      </a:endParaRPr>
                    </a:p>
                  </a:txBody>
                  <a:tcPr marL="0" marR="0" marT="0" marB="0">
                    <a:lnR w="6350">
                      <a:solidFill>
                        <a:srgbClr val="231F20"/>
                      </a:solidFill>
                      <a:prstDash val="solid"/>
                    </a:lnR>
                  </a:tcPr>
                </a:tc>
                <a:extLst>
                  <a:ext uri="{0D108BD9-81ED-4DB2-BD59-A6C34878D82A}">
                    <a16:rowId xmlns:a16="http://schemas.microsoft.com/office/drawing/2014/main" val="10002"/>
                  </a:ext>
                </a:extLst>
              </a:tr>
              <a:tr h="245745">
                <a:tc>
                  <a:txBody>
                    <a:bodyPr/>
                    <a:lstStyle/>
                    <a:p>
                      <a:pPr>
                        <a:lnSpc>
                          <a:spcPct val="100000"/>
                        </a:lnSpc>
                      </a:pPr>
                      <a:endParaRPr sz="800" dirty="0">
                        <a:latin typeface="Times New Roman"/>
                        <a:cs typeface="Times New Roman"/>
                      </a:endParaRPr>
                    </a:p>
                  </a:txBody>
                  <a:tcPr marL="0" marR="0" marT="0" marB="0">
                    <a:lnL w="6350">
                      <a:solidFill>
                        <a:srgbClr val="231F20"/>
                      </a:solidFill>
                      <a:prstDash val="solid"/>
                    </a:lnL>
                  </a:tcPr>
                </a:tc>
                <a:tc gridSpan="2">
                  <a:txBody>
                    <a:bodyPr/>
                    <a:lstStyle/>
                    <a:p>
                      <a:pPr>
                        <a:lnSpc>
                          <a:spcPct val="100000"/>
                        </a:lnSpc>
                      </a:pPr>
                      <a:endParaRPr sz="800" dirty="0">
                        <a:latin typeface="Times New Roman"/>
                        <a:cs typeface="Times New Roman"/>
                      </a:endParaRPr>
                    </a:p>
                  </a:txBody>
                  <a:tcPr marL="0" marR="0" marT="0" marB="0">
                    <a:lnR w="6350">
                      <a:solidFill>
                        <a:srgbClr val="BCBEC0"/>
                      </a:solidFill>
                      <a:prstDash val="solid"/>
                    </a:lnR>
                  </a:tcPr>
                </a:tc>
                <a:tc hMerge="1">
                  <a:txBody>
                    <a:bodyPr/>
                    <a:lstStyle/>
                    <a:p>
                      <a:endParaRPr/>
                    </a:p>
                  </a:txBody>
                  <a:tcPr marL="0" marR="0" marT="0" marB="0"/>
                </a:tc>
                <a:tc gridSpan="2">
                  <a:txBody>
                    <a:bodyPr/>
                    <a:lstStyle/>
                    <a:p>
                      <a:pPr marL="275590">
                        <a:lnSpc>
                          <a:spcPct val="100000"/>
                        </a:lnSpc>
                        <a:spcBef>
                          <a:spcPts val="515"/>
                        </a:spcBef>
                      </a:pPr>
                      <a:r>
                        <a:rPr sz="800" spc="5" dirty="0">
                          <a:solidFill>
                            <a:srgbClr val="231F20"/>
                          </a:solidFill>
                          <a:latin typeface="CentraleSans Book"/>
                          <a:cs typeface="CentraleSans Book"/>
                        </a:rPr>
                        <a:t>10</a:t>
                      </a:r>
                      <a:endParaRPr sz="800" dirty="0">
                        <a:latin typeface="CentraleSans Book"/>
                        <a:cs typeface="CentraleSans Book"/>
                      </a:endParaRPr>
                    </a:p>
                  </a:txBody>
                  <a:tcPr marL="0" marR="0" marT="65405" marB="0">
                    <a:lnL w="6350">
                      <a:solidFill>
                        <a:srgbClr val="BCBEC0"/>
                      </a:solidFill>
                      <a:prstDash val="solid"/>
                    </a:lnL>
                  </a:tcPr>
                </a:tc>
                <a:tc hMerge="1">
                  <a:txBody>
                    <a:bodyPr/>
                    <a:lstStyle/>
                    <a:p>
                      <a:endParaRPr/>
                    </a:p>
                  </a:txBody>
                  <a:tcPr marL="0" marR="0" marT="0" marB="0"/>
                </a:tc>
                <a:tc gridSpan="2">
                  <a:txBody>
                    <a:bodyPr/>
                    <a:lstStyle/>
                    <a:p>
                      <a:pPr>
                        <a:lnSpc>
                          <a:spcPct val="100000"/>
                        </a:lnSpc>
                      </a:pPr>
                      <a:endParaRPr sz="800" dirty="0">
                        <a:latin typeface="Times New Roman"/>
                        <a:cs typeface="Times New Roman"/>
                      </a:endParaRPr>
                    </a:p>
                  </a:txBody>
                  <a:tcPr marL="0" marR="0" marT="0" marB="0">
                    <a:lnR w="6350">
                      <a:solidFill>
                        <a:srgbClr val="BCBEC0"/>
                      </a:solidFill>
                      <a:prstDash val="solid"/>
                    </a:lnR>
                  </a:tcPr>
                </a:tc>
                <a:tc hMerge="1">
                  <a:txBody>
                    <a:bodyPr/>
                    <a:lstStyle/>
                    <a:p>
                      <a:endParaRPr/>
                    </a:p>
                  </a:txBody>
                  <a:tcPr marL="0" marR="0" marT="0" marB="0"/>
                </a:tc>
                <a:tc>
                  <a:txBody>
                    <a:bodyPr/>
                    <a:lstStyle/>
                    <a:p>
                      <a:pPr>
                        <a:lnSpc>
                          <a:spcPct val="100000"/>
                        </a:lnSpc>
                      </a:pPr>
                      <a:endParaRPr sz="800" dirty="0">
                        <a:latin typeface="Times New Roman"/>
                        <a:cs typeface="Times New Roman"/>
                      </a:endParaRPr>
                    </a:p>
                  </a:txBody>
                  <a:tcPr marL="0" marR="0" marT="0" marB="0">
                    <a:lnL w="6350">
                      <a:solidFill>
                        <a:srgbClr val="BCBEC0"/>
                      </a:solidFill>
                      <a:prstDash val="solid"/>
                    </a:lnL>
                  </a:tcPr>
                </a:tc>
                <a:tc>
                  <a:txBody>
                    <a:bodyPr/>
                    <a:lstStyle/>
                    <a:p>
                      <a:pPr>
                        <a:lnSpc>
                          <a:spcPct val="100000"/>
                        </a:lnSpc>
                      </a:pPr>
                      <a:endParaRPr sz="800" dirty="0">
                        <a:latin typeface="Times New Roman"/>
                        <a:cs typeface="Times New Roman"/>
                      </a:endParaRPr>
                    </a:p>
                  </a:txBody>
                  <a:tcPr marL="0" marR="0" marT="0" marB="0">
                    <a:lnR w="6350">
                      <a:solidFill>
                        <a:srgbClr val="231F20"/>
                      </a:solidFill>
                      <a:prstDash val="solid"/>
                    </a:lnR>
                  </a:tcPr>
                </a:tc>
                <a:extLst>
                  <a:ext uri="{0D108BD9-81ED-4DB2-BD59-A6C34878D82A}">
                    <a16:rowId xmlns:a16="http://schemas.microsoft.com/office/drawing/2014/main" val="10003"/>
                  </a:ext>
                </a:extLst>
              </a:tr>
              <a:tr h="232410">
                <a:tc>
                  <a:txBody>
                    <a:bodyPr/>
                    <a:lstStyle/>
                    <a:p>
                      <a:pPr marL="66040" algn="ctr">
                        <a:lnSpc>
                          <a:spcPct val="100000"/>
                        </a:lnSpc>
                        <a:spcBef>
                          <a:spcPts val="505"/>
                        </a:spcBef>
                      </a:pPr>
                      <a:r>
                        <a:rPr sz="800" dirty="0">
                          <a:solidFill>
                            <a:srgbClr val="231F20"/>
                          </a:solidFill>
                          <a:latin typeface="CentraleSans Book"/>
                          <a:cs typeface="CentraleSans Book"/>
                        </a:rPr>
                        <a:t>0</a:t>
                      </a:r>
                      <a:endParaRPr sz="800" dirty="0">
                        <a:latin typeface="CentraleSans Book"/>
                        <a:cs typeface="CentraleSans Book"/>
                      </a:endParaRPr>
                    </a:p>
                  </a:txBody>
                  <a:tcPr marL="0" marR="0" marT="64135" marB="0">
                    <a:lnL w="6350">
                      <a:solidFill>
                        <a:srgbClr val="231F20"/>
                      </a:solidFill>
                      <a:prstDash val="solid"/>
                    </a:lnL>
                    <a:lnB w="6350">
                      <a:solidFill>
                        <a:srgbClr val="231F20"/>
                      </a:solidFill>
                      <a:prstDash val="solid"/>
                    </a:lnB>
                  </a:tcPr>
                </a:tc>
                <a:tc gridSpan="2">
                  <a:txBody>
                    <a:bodyPr/>
                    <a:lstStyle/>
                    <a:p>
                      <a:pPr marR="81915" algn="ctr">
                        <a:lnSpc>
                          <a:spcPct val="100000"/>
                        </a:lnSpc>
                        <a:spcBef>
                          <a:spcPts val="400"/>
                        </a:spcBef>
                      </a:pPr>
                      <a:r>
                        <a:rPr sz="800" dirty="0">
                          <a:solidFill>
                            <a:srgbClr val="231F20"/>
                          </a:solidFill>
                          <a:latin typeface="CentraleSans Book"/>
                          <a:cs typeface="CentraleSans Book"/>
                        </a:rPr>
                        <a:t>1</a:t>
                      </a:r>
                      <a:endParaRPr sz="800" dirty="0">
                        <a:latin typeface="CentraleSans Book"/>
                        <a:cs typeface="CentraleSans Book"/>
                      </a:endParaRPr>
                    </a:p>
                  </a:txBody>
                  <a:tcPr marL="0" marR="0" marT="50800" marB="0">
                    <a:lnR w="6350">
                      <a:solidFill>
                        <a:srgbClr val="BCBEC0"/>
                      </a:solidFill>
                      <a:prstDash val="solid"/>
                    </a:lnR>
                    <a:lnB w="28575">
                      <a:solidFill>
                        <a:srgbClr val="26A7DF"/>
                      </a:solidFill>
                      <a:prstDash val="solid"/>
                    </a:lnB>
                  </a:tcPr>
                </a:tc>
                <a:tc hMerge="1">
                  <a:txBody>
                    <a:bodyPr/>
                    <a:lstStyle/>
                    <a:p>
                      <a:endParaRPr/>
                    </a:p>
                  </a:txBody>
                  <a:tcPr marL="0" marR="0" marT="0" marB="0"/>
                </a:tc>
                <a:tc gridSpan="2">
                  <a:txBody>
                    <a:bodyPr/>
                    <a:lstStyle/>
                    <a:p>
                      <a:pPr>
                        <a:lnSpc>
                          <a:spcPct val="100000"/>
                        </a:lnSpc>
                      </a:pPr>
                      <a:endParaRPr sz="800" dirty="0">
                        <a:latin typeface="Times New Roman"/>
                        <a:cs typeface="Times New Roman"/>
                      </a:endParaRPr>
                    </a:p>
                  </a:txBody>
                  <a:tcPr marL="0" marR="0" marT="0" marB="0">
                    <a:lnL w="6350">
                      <a:solidFill>
                        <a:srgbClr val="BCBEC0"/>
                      </a:solidFill>
                      <a:prstDash val="solid"/>
                    </a:lnL>
                    <a:lnB w="6350">
                      <a:solidFill>
                        <a:srgbClr val="231F20"/>
                      </a:solidFill>
                      <a:prstDash val="solid"/>
                    </a:lnB>
                  </a:tcPr>
                </a:tc>
                <a:tc hMerge="1">
                  <a:txBody>
                    <a:bodyPr/>
                    <a:lstStyle/>
                    <a:p>
                      <a:endParaRPr/>
                    </a:p>
                  </a:txBody>
                  <a:tcPr marL="0" marR="0" marT="0" marB="0"/>
                </a:tc>
                <a:tc gridSpan="2">
                  <a:txBody>
                    <a:bodyPr/>
                    <a:lstStyle/>
                    <a:p>
                      <a:pPr>
                        <a:lnSpc>
                          <a:spcPct val="100000"/>
                        </a:lnSpc>
                      </a:pPr>
                      <a:endParaRPr sz="800" dirty="0">
                        <a:latin typeface="Times New Roman"/>
                        <a:cs typeface="Times New Roman"/>
                      </a:endParaRPr>
                    </a:p>
                  </a:txBody>
                  <a:tcPr marL="0" marR="0" marT="0" marB="0">
                    <a:lnR w="6350">
                      <a:solidFill>
                        <a:srgbClr val="BCBEC0"/>
                      </a:solidFill>
                      <a:prstDash val="solid"/>
                    </a:lnR>
                    <a:lnB w="6350">
                      <a:solidFill>
                        <a:srgbClr val="231F20"/>
                      </a:solidFill>
                      <a:prstDash val="solid"/>
                    </a:lnB>
                  </a:tcPr>
                </a:tc>
                <a:tc hMerge="1">
                  <a:txBody>
                    <a:bodyPr/>
                    <a:lstStyle/>
                    <a:p>
                      <a:endParaRPr/>
                    </a:p>
                  </a:txBody>
                  <a:tcPr marL="0" marR="0" marT="0" marB="0"/>
                </a:tc>
                <a:tc>
                  <a:txBody>
                    <a:bodyPr/>
                    <a:lstStyle/>
                    <a:p>
                      <a:pPr>
                        <a:lnSpc>
                          <a:spcPct val="100000"/>
                        </a:lnSpc>
                      </a:pPr>
                      <a:endParaRPr sz="800" dirty="0">
                        <a:latin typeface="Times New Roman"/>
                        <a:cs typeface="Times New Roman"/>
                      </a:endParaRPr>
                    </a:p>
                  </a:txBody>
                  <a:tcPr marL="0" marR="0" marT="0" marB="0">
                    <a:lnL w="6350">
                      <a:solidFill>
                        <a:srgbClr val="BCBEC0"/>
                      </a:solidFill>
                      <a:prstDash val="solid"/>
                    </a:lnL>
                    <a:lnB w="6350">
                      <a:solidFill>
                        <a:srgbClr val="231F20"/>
                      </a:solidFill>
                      <a:prstDash val="solid"/>
                    </a:lnB>
                  </a:tcPr>
                </a:tc>
                <a:tc>
                  <a:txBody>
                    <a:bodyPr/>
                    <a:lstStyle/>
                    <a:p>
                      <a:pPr>
                        <a:lnSpc>
                          <a:spcPct val="100000"/>
                        </a:lnSpc>
                      </a:pPr>
                      <a:endParaRPr sz="800" dirty="0">
                        <a:latin typeface="Times New Roman"/>
                        <a:cs typeface="Times New Roman"/>
                      </a:endParaRPr>
                    </a:p>
                  </a:txBody>
                  <a:tcPr marL="0" marR="0" marT="0" marB="0">
                    <a:lnR w="6350">
                      <a:solidFill>
                        <a:srgbClr val="231F20"/>
                      </a:solidFill>
                      <a:prstDash val="solid"/>
                    </a:lnR>
                    <a:lnB w="6350">
                      <a:solidFill>
                        <a:srgbClr val="231F20"/>
                      </a:solidFill>
                      <a:prstDash val="solid"/>
                    </a:lnB>
                  </a:tcPr>
                </a:tc>
                <a:extLst>
                  <a:ext uri="{0D108BD9-81ED-4DB2-BD59-A6C34878D82A}">
                    <a16:rowId xmlns:a16="http://schemas.microsoft.com/office/drawing/2014/main" val="10004"/>
                  </a:ext>
                </a:extLst>
              </a:tr>
            </a:tbl>
          </a:graphicData>
        </a:graphic>
      </p:graphicFrame>
      <p:sp>
        <p:nvSpPr>
          <p:cNvPr id="14" name="object 6">
            <a:extLst>
              <a:ext uri="{FF2B5EF4-FFF2-40B4-BE49-F238E27FC236}">
                <a16:creationId xmlns:a16="http://schemas.microsoft.com/office/drawing/2014/main" id="{116D37AA-D5EC-45FA-9DE1-6CCDABABDF17}"/>
              </a:ext>
            </a:extLst>
          </p:cNvPr>
          <p:cNvSpPr txBox="1"/>
          <p:nvPr/>
        </p:nvSpPr>
        <p:spPr>
          <a:xfrm>
            <a:off x="6618676" y="4221202"/>
            <a:ext cx="678815" cy="259045"/>
          </a:xfrm>
          <a:prstGeom prst="rect">
            <a:avLst/>
          </a:prstGeom>
        </p:spPr>
        <p:txBody>
          <a:bodyPr vert="horz" wrap="square" lIns="0" tIns="12700" rIns="0" bIns="0" rtlCol="0">
            <a:spAutoFit/>
          </a:bodyPr>
          <a:lstStyle/>
          <a:p>
            <a:pPr marL="12699" marR="5079" indent="41271">
              <a:spcBef>
                <a:spcPts val="100"/>
              </a:spcBef>
            </a:pPr>
            <a:r>
              <a:rPr sz="800" spc="-20" dirty="0">
                <a:solidFill>
                  <a:srgbClr val="231F20"/>
                </a:solidFill>
                <a:latin typeface="Neue Frutiger World" panose="020B0603040304020203" pitchFamily="34" charset="0"/>
                <a:cs typeface="Neue Frutiger World" panose="020B0603040304020203" pitchFamily="34" charset="0"/>
              </a:rPr>
              <a:t>Total </a:t>
            </a:r>
            <a:r>
              <a:rPr sz="800" spc="-5" dirty="0">
                <a:solidFill>
                  <a:srgbClr val="231F20"/>
                </a:solidFill>
                <a:latin typeface="Neue Frutiger World" panose="020B0603040304020203" pitchFamily="34" charset="0"/>
                <a:cs typeface="Neue Frutiger World" panose="020B0603040304020203" pitchFamily="34" charset="0"/>
              </a:rPr>
              <a:t>length</a:t>
            </a:r>
            <a:r>
              <a:rPr lang="en-GB" sz="800" spc="-5" dirty="0">
                <a:solidFill>
                  <a:srgbClr val="231F20"/>
                </a:solidFill>
                <a:latin typeface="Neue Frutiger World" panose="020B0603040304020203" pitchFamily="34" charset="0"/>
                <a:cs typeface="Neue Frutiger World" panose="020B0603040304020203" pitchFamily="34" charset="0"/>
              </a:rPr>
              <a:t> </a:t>
            </a:r>
            <a:r>
              <a:rPr sz="800" dirty="0">
                <a:solidFill>
                  <a:srgbClr val="231F20"/>
                </a:solidFill>
                <a:latin typeface="Neue Frutiger World" panose="020B0603040304020203" pitchFamily="34" charset="0"/>
                <a:cs typeface="Neue Frutiger World" panose="020B0603040304020203" pitchFamily="34" charset="0"/>
              </a:rPr>
              <a:t>of</a:t>
            </a:r>
            <a:r>
              <a:rPr sz="800" spc="-15" dirty="0">
                <a:solidFill>
                  <a:srgbClr val="231F20"/>
                </a:solidFill>
                <a:latin typeface="Neue Frutiger World" panose="020B0603040304020203" pitchFamily="34" charset="0"/>
                <a:cs typeface="Neue Frutiger World" panose="020B0603040304020203" pitchFamily="34" charset="0"/>
              </a:rPr>
              <a:t> st</a:t>
            </a:r>
            <a:r>
              <a:rPr sz="800" spc="-35" dirty="0">
                <a:solidFill>
                  <a:srgbClr val="231F20"/>
                </a:solidFill>
                <a:latin typeface="Neue Frutiger World" panose="020B0603040304020203" pitchFamily="34" charset="0"/>
                <a:cs typeface="Neue Frutiger World" panose="020B0603040304020203" pitchFamily="34" charset="0"/>
              </a:rPr>
              <a:t>a</a:t>
            </a:r>
            <a:r>
              <a:rPr sz="800" spc="30" dirty="0">
                <a:solidFill>
                  <a:srgbClr val="231F20"/>
                </a:solidFill>
                <a:latin typeface="Neue Frutiger World" panose="020B0603040304020203" pitchFamily="34" charset="0"/>
                <a:cs typeface="Neue Frutiger World" panose="020B0603040304020203" pitchFamily="34" charset="0"/>
              </a:rPr>
              <a:t>y</a:t>
            </a:r>
            <a:r>
              <a:rPr sz="800" spc="-2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a:t>
            </a:r>
            <a:r>
              <a:rPr sz="800" spc="5"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a:t>
            </a:r>
            <a:r>
              <a:rPr sz="800" spc="-35" dirty="0">
                <a:solidFill>
                  <a:srgbClr val="231F20"/>
                </a:solidFill>
                <a:latin typeface="Neue Frutiger World" panose="020B0603040304020203" pitchFamily="34" charset="0"/>
                <a:cs typeface="Neue Frutiger World" panose="020B0603040304020203" pitchFamily="34" charset="0"/>
              </a:rPr>
              <a:t>a</a:t>
            </a:r>
            <a:r>
              <a:rPr sz="800" spc="20" dirty="0">
                <a:solidFill>
                  <a:srgbClr val="231F20"/>
                </a:solidFill>
                <a:latin typeface="Neue Frutiger World" panose="020B0603040304020203" pitchFamily="34" charset="0"/>
                <a:cs typeface="Neue Frutiger World" panose="020B0603040304020203" pitchFamily="34" charset="0"/>
              </a:rPr>
              <a:t>y</a:t>
            </a:r>
            <a:r>
              <a:rPr sz="800" spc="-10" dirty="0">
                <a:solidFill>
                  <a:srgbClr val="231F20"/>
                </a:solidFill>
                <a:latin typeface="Neue Frutiger World" panose="020B0603040304020203" pitchFamily="34" charset="0"/>
                <a:cs typeface="Neue Frutiger World" panose="020B0603040304020203" pitchFamily="34" charset="0"/>
              </a:rPr>
              <a:t>s</a:t>
            </a:r>
            <a:endParaRPr sz="800" dirty="0">
              <a:latin typeface="Neue Frutiger World" panose="020B0603040304020203" pitchFamily="34" charset="0"/>
              <a:cs typeface="Neue Frutiger World" panose="020B0603040304020203" pitchFamily="34" charset="0"/>
            </a:endParaRPr>
          </a:p>
        </p:txBody>
      </p:sp>
      <p:sp>
        <p:nvSpPr>
          <p:cNvPr id="15" name="object 7">
            <a:extLst>
              <a:ext uri="{FF2B5EF4-FFF2-40B4-BE49-F238E27FC236}">
                <a16:creationId xmlns:a16="http://schemas.microsoft.com/office/drawing/2014/main" id="{3DDB5E1B-C034-4462-983A-E3B57ED3BFC4}"/>
              </a:ext>
            </a:extLst>
          </p:cNvPr>
          <p:cNvSpPr txBox="1"/>
          <p:nvPr/>
        </p:nvSpPr>
        <p:spPr>
          <a:xfrm>
            <a:off x="7572295" y="4221202"/>
            <a:ext cx="998219" cy="259045"/>
          </a:xfrm>
          <a:prstGeom prst="rect">
            <a:avLst/>
          </a:prstGeom>
        </p:spPr>
        <p:txBody>
          <a:bodyPr vert="horz" wrap="square" lIns="0" tIns="12700" rIns="0" bIns="0" rtlCol="0">
            <a:spAutoFit/>
          </a:bodyPr>
          <a:lstStyle/>
          <a:p>
            <a:pPr marL="385413" marR="5079" indent="-373349">
              <a:spcBef>
                <a:spcPts val="100"/>
              </a:spcBef>
            </a:pPr>
            <a:r>
              <a:rPr sz="800" spc="-10" dirty="0">
                <a:solidFill>
                  <a:srgbClr val="231F20"/>
                </a:solidFill>
                <a:latin typeface="Neue Frutiger World" panose="020B0603040304020203" pitchFamily="34" charset="0"/>
                <a:cs typeface="Neue Frutiger World" panose="020B0603040304020203" pitchFamily="34" charset="0"/>
              </a:rPr>
              <a:t>Antibiotic</a:t>
            </a:r>
            <a:r>
              <a:rPr sz="800" spc="-20" dirty="0">
                <a:solidFill>
                  <a:srgbClr val="231F20"/>
                </a:solidFill>
                <a:latin typeface="Neue Frutiger World" panose="020B0603040304020203" pitchFamily="34" charset="0"/>
                <a:cs typeface="Neue Frutiger World" panose="020B0603040304020203" pitchFamily="34" charset="0"/>
              </a:rPr>
              <a:t> </a:t>
            </a:r>
            <a:r>
              <a:rPr sz="800" spc="-10" dirty="0">
                <a:solidFill>
                  <a:srgbClr val="231F20"/>
                </a:solidFill>
                <a:latin typeface="Neue Frutiger World" panose="020B0603040304020203" pitchFamily="34" charset="0"/>
                <a:cs typeface="Neue Frutiger World" panose="020B0603040304020203" pitchFamily="34" charset="0"/>
              </a:rPr>
              <a:t>duration</a:t>
            </a:r>
            <a:r>
              <a:rPr sz="800" spc="-20" dirty="0">
                <a:solidFill>
                  <a:srgbClr val="231F20"/>
                </a:solidFill>
                <a:latin typeface="Neue Frutiger World" panose="020B0603040304020203" pitchFamily="34" charset="0"/>
                <a:cs typeface="Neue Frutiger World" panose="020B0603040304020203" pitchFamily="34" charset="0"/>
              </a:rPr>
              <a:t> </a:t>
            </a:r>
            <a:r>
              <a:rPr sz="800" spc="20" dirty="0">
                <a:solidFill>
                  <a:srgbClr val="231F20"/>
                </a:solidFill>
                <a:latin typeface="Neue Frutiger World" panose="020B0603040304020203" pitchFamily="34" charset="0"/>
                <a:cs typeface="Neue Frutiger World" panose="020B0603040304020203" pitchFamily="34" charset="0"/>
              </a:rPr>
              <a:t>-</a:t>
            </a:r>
            <a:r>
              <a:rPr lang="en-GB" sz="800" spc="20" dirty="0">
                <a:solidFill>
                  <a:srgbClr val="231F20"/>
                </a:solidFill>
                <a:latin typeface="Neue Frutiger World" panose="020B0603040304020203" pitchFamily="34" charset="0"/>
                <a:cs typeface="Neue Frutiger World" panose="020B0603040304020203" pitchFamily="34" charset="0"/>
              </a:rPr>
              <a:t> </a:t>
            </a:r>
            <a:r>
              <a:rPr sz="800" spc="-5" dirty="0">
                <a:solidFill>
                  <a:srgbClr val="231F20"/>
                </a:solidFill>
                <a:latin typeface="Neue Frutiger World" panose="020B0603040304020203" pitchFamily="34" charset="0"/>
                <a:cs typeface="Neue Frutiger World" panose="020B0603040304020203" pitchFamily="34" charset="0"/>
              </a:rPr>
              <a:t>days</a:t>
            </a:r>
            <a:endParaRPr sz="800" dirty="0">
              <a:latin typeface="Neue Frutiger World" panose="020B0603040304020203" pitchFamily="34" charset="0"/>
              <a:cs typeface="Neue Frutiger World" panose="020B0603040304020203" pitchFamily="34" charset="0"/>
            </a:endParaRPr>
          </a:p>
        </p:txBody>
      </p:sp>
      <p:sp>
        <p:nvSpPr>
          <p:cNvPr id="16" name="object 8">
            <a:extLst>
              <a:ext uri="{FF2B5EF4-FFF2-40B4-BE49-F238E27FC236}">
                <a16:creationId xmlns:a16="http://schemas.microsoft.com/office/drawing/2014/main" id="{BF832F13-5DCA-4086-91EA-BE33849E2604}"/>
              </a:ext>
            </a:extLst>
          </p:cNvPr>
          <p:cNvSpPr/>
          <p:nvPr/>
        </p:nvSpPr>
        <p:spPr>
          <a:xfrm>
            <a:off x="6983535" y="3722598"/>
            <a:ext cx="289560" cy="467359"/>
          </a:xfrm>
          <a:custGeom>
            <a:avLst/>
            <a:gdLst/>
            <a:ahLst/>
            <a:cxnLst/>
            <a:rect l="l" t="t" r="r" b="b"/>
            <a:pathLst>
              <a:path w="289560" h="467359">
                <a:moveTo>
                  <a:pt x="289547" y="0"/>
                </a:moveTo>
                <a:lnTo>
                  <a:pt x="0" y="0"/>
                </a:lnTo>
                <a:lnTo>
                  <a:pt x="0" y="466979"/>
                </a:lnTo>
                <a:lnTo>
                  <a:pt x="289547" y="466979"/>
                </a:lnTo>
                <a:lnTo>
                  <a:pt x="289547" y="0"/>
                </a:lnTo>
                <a:close/>
              </a:path>
            </a:pathLst>
          </a:custGeom>
          <a:solidFill>
            <a:srgbClr val="26A7DF"/>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7" name="object 9">
            <a:extLst>
              <a:ext uri="{FF2B5EF4-FFF2-40B4-BE49-F238E27FC236}">
                <a16:creationId xmlns:a16="http://schemas.microsoft.com/office/drawing/2014/main" id="{F09475D5-9A65-48BB-ACF7-01A2539AC441}"/>
              </a:ext>
            </a:extLst>
          </p:cNvPr>
          <p:cNvSpPr/>
          <p:nvPr/>
        </p:nvSpPr>
        <p:spPr>
          <a:xfrm>
            <a:off x="6572525" y="3966794"/>
            <a:ext cx="289560" cy="222885"/>
          </a:xfrm>
          <a:custGeom>
            <a:avLst/>
            <a:gdLst/>
            <a:ahLst/>
            <a:cxnLst/>
            <a:rect l="l" t="t" r="r" b="b"/>
            <a:pathLst>
              <a:path w="289560" h="222884">
                <a:moveTo>
                  <a:pt x="289547" y="0"/>
                </a:moveTo>
                <a:lnTo>
                  <a:pt x="0" y="0"/>
                </a:lnTo>
                <a:lnTo>
                  <a:pt x="0" y="222783"/>
                </a:lnTo>
                <a:lnTo>
                  <a:pt x="289547" y="222783"/>
                </a:lnTo>
                <a:lnTo>
                  <a:pt x="289547" y="0"/>
                </a:lnTo>
                <a:close/>
              </a:path>
            </a:pathLst>
          </a:custGeom>
          <a:solidFill>
            <a:srgbClr val="D9DAE4"/>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8" name="object 10">
            <a:extLst>
              <a:ext uri="{FF2B5EF4-FFF2-40B4-BE49-F238E27FC236}">
                <a16:creationId xmlns:a16="http://schemas.microsoft.com/office/drawing/2014/main" id="{49C7F532-B722-4669-93A8-84B56BF9877B}"/>
              </a:ext>
            </a:extLst>
          </p:cNvPr>
          <p:cNvSpPr/>
          <p:nvPr/>
        </p:nvSpPr>
        <p:spPr>
          <a:xfrm>
            <a:off x="8097540" y="3536238"/>
            <a:ext cx="289560" cy="653415"/>
          </a:xfrm>
          <a:custGeom>
            <a:avLst/>
            <a:gdLst/>
            <a:ahLst/>
            <a:cxnLst/>
            <a:rect l="l" t="t" r="r" b="b"/>
            <a:pathLst>
              <a:path w="289560" h="653415">
                <a:moveTo>
                  <a:pt x="289560" y="0"/>
                </a:moveTo>
                <a:lnTo>
                  <a:pt x="0" y="0"/>
                </a:lnTo>
                <a:lnTo>
                  <a:pt x="0" y="653338"/>
                </a:lnTo>
                <a:lnTo>
                  <a:pt x="289560" y="653338"/>
                </a:lnTo>
                <a:lnTo>
                  <a:pt x="289560" y="0"/>
                </a:lnTo>
                <a:close/>
              </a:path>
            </a:pathLst>
          </a:custGeom>
          <a:solidFill>
            <a:srgbClr val="26A7DF"/>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sp>
        <p:nvSpPr>
          <p:cNvPr id="19" name="object 11">
            <a:extLst>
              <a:ext uri="{FF2B5EF4-FFF2-40B4-BE49-F238E27FC236}">
                <a16:creationId xmlns:a16="http://schemas.microsoft.com/office/drawing/2014/main" id="{0725F1B2-87C4-40E0-9C38-E7FDF9BE5E5A}"/>
              </a:ext>
            </a:extLst>
          </p:cNvPr>
          <p:cNvSpPr/>
          <p:nvPr/>
        </p:nvSpPr>
        <p:spPr>
          <a:xfrm>
            <a:off x="7637382" y="3709746"/>
            <a:ext cx="289560" cy="480059"/>
          </a:xfrm>
          <a:custGeom>
            <a:avLst/>
            <a:gdLst/>
            <a:ahLst/>
            <a:cxnLst/>
            <a:rect l="l" t="t" r="r" b="b"/>
            <a:pathLst>
              <a:path w="289560" h="480059">
                <a:moveTo>
                  <a:pt x="289547" y="0"/>
                </a:moveTo>
                <a:lnTo>
                  <a:pt x="0" y="0"/>
                </a:lnTo>
                <a:lnTo>
                  <a:pt x="0" y="479831"/>
                </a:lnTo>
                <a:lnTo>
                  <a:pt x="289547" y="479831"/>
                </a:lnTo>
                <a:lnTo>
                  <a:pt x="289547" y="0"/>
                </a:lnTo>
                <a:close/>
              </a:path>
            </a:pathLst>
          </a:custGeom>
          <a:solidFill>
            <a:srgbClr val="D9DAE4"/>
          </a:solidFill>
        </p:spPr>
        <p:txBody>
          <a:bodyPr wrap="square" lIns="0" tIns="0" rIns="0" bIns="0" rtlCol="0"/>
          <a:lstStyle/>
          <a:p>
            <a:endParaRPr dirty="0">
              <a:latin typeface="Neue Frutiger World" panose="020B0603040304020203" pitchFamily="34" charset="0"/>
              <a:cs typeface="Neue Frutiger World" panose="020B0603040304020203" pitchFamily="34" charset="0"/>
            </a:endParaRPr>
          </a:p>
        </p:txBody>
      </p:sp>
      <p:pic>
        <p:nvPicPr>
          <p:cNvPr id="20" name="object 12">
            <a:extLst>
              <a:ext uri="{FF2B5EF4-FFF2-40B4-BE49-F238E27FC236}">
                <a16:creationId xmlns:a16="http://schemas.microsoft.com/office/drawing/2014/main" id="{4B7D6933-B322-4234-826D-4108813CEAE7}"/>
              </a:ext>
            </a:extLst>
          </p:cNvPr>
          <p:cNvPicPr/>
          <p:nvPr/>
        </p:nvPicPr>
        <p:blipFill>
          <a:blip r:embed="rId4" cstate="print"/>
          <a:stretch>
            <a:fillRect/>
          </a:stretch>
        </p:blipFill>
        <p:spPr>
          <a:xfrm>
            <a:off x="5561770" y="2777921"/>
            <a:ext cx="98259" cy="98272"/>
          </a:xfrm>
          <a:prstGeom prst="rect">
            <a:avLst/>
          </a:prstGeom>
        </p:spPr>
      </p:pic>
      <p:pic>
        <p:nvPicPr>
          <p:cNvPr id="21" name="object 13">
            <a:extLst>
              <a:ext uri="{FF2B5EF4-FFF2-40B4-BE49-F238E27FC236}">
                <a16:creationId xmlns:a16="http://schemas.microsoft.com/office/drawing/2014/main" id="{6B250FE0-956A-4DCB-B4FF-52117EA5C3CB}"/>
              </a:ext>
            </a:extLst>
          </p:cNvPr>
          <p:cNvPicPr/>
          <p:nvPr/>
        </p:nvPicPr>
        <p:blipFill>
          <a:blip r:embed="rId5" cstate="print"/>
          <a:stretch>
            <a:fillRect/>
          </a:stretch>
        </p:blipFill>
        <p:spPr>
          <a:xfrm>
            <a:off x="6785287" y="2777921"/>
            <a:ext cx="98259" cy="98272"/>
          </a:xfrm>
          <a:prstGeom prst="rect">
            <a:avLst/>
          </a:prstGeom>
        </p:spPr>
      </p:pic>
      <p:sp>
        <p:nvSpPr>
          <p:cNvPr id="22" name="TextBox 21">
            <a:extLst>
              <a:ext uri="{FF2B5EF4-FFF2-40B4-BE49-F238E27FC236}">
                <a16:creationId xmlns:a16="http://schemas.microsoft.com/office/drawing/2014/main" id="{CCBC7F15-155F-4B67-8D15-56E76BBDC459}"/>
              </a:ext>
            </a:extLst>
          </p:cNvPr>
          <p:cNvSpPr txBox="1"/>
          <p:nvPr/>
        </p:nvSpPr>
        <p:spPr>
          <a:xfrm>
            <a:off x="1418011" y="3715167"/>
            <a:ext cx="3781564" cy="584775"/>
          </a:xfrm>
          <a:prstGeom prst="rect">
            <a:avLst/>
          </a:prstGeom>
          <a:noFill/>
        </p:spPr>
        <p:txBody>
          <a:bodyPr wrap="square" rtlCol="0">
            <a:spAutoFit/>
          </a:bodyPr>
          <a:lstStyle/>
          <a:p>
            <a:pPr marL="38096" marR="0" lvl="0" indent="0" defTabSz="914377" rtl="0" eaLnBrk="1" fontAlgn="auto" latinLnBrk="0" hangingPunct="1">
              <a:lnSpc>
                <a:spcPct val="100000"/>
              </a:lnSpc>
              <a:spcBef>
                <a:spcPts val="490"/>
              </a:spcBef>
              <a:spcAft>
                <a:spcPts val="0"/>
              </a:spcAft>
              <a:buClr>
                <a:srgbClr val="000000"/>
              </a:buClr>
              <a:buSzPct val="100000"/>
              <a:buFont typeface="Arial" panose="020B0604020202020204" pitchFamily="34" charset="0"/>
              <a:buNone/>
              <a:tabLst>
                <a:tab pos="139688" algn="l"/>
              </a:tabLst>
              <a:defRPr/>
            </a:pP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a:t>
            </a:r>
            <a:r>
              <a:rPr kumimoji="0" lang="en-US"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patients</a:t>
            </a:r>
            <a:r>
              <a:rPr kumimoji="0" lang="en-US" sz="800" b="0"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with</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n</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solated</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pocket</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fection, delayed</a:t>
            </a:r>
            <a:r>
              <a:rPr kumimoji="0" lang="en-US"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extraction</a:t>
            </a:r>
            <a:r>
              <a:rPr kumimoji="0" lang="en-US"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led </a:t>
            </a:r>
            <a:r>
              <a:rPr kumimoji="0" lang="en-US" sz="800" b="0"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o</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a:t>
            </a:r>
            <a:r>
              <a:rPr kumimoji="0" lang="en-US"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higher</a:t>
            </a:r>
            <a:r>
              <a:rPr kumimoji="0" lang="en-US" sz="8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in-hospital mortality</a:t>
            </a:r>
            <a:r>
              <a:rPr kumimoji="0" lang="en-US" sz="800" b="0" i="0" u="none" strike="noStrike" kern="1200" cap="none" spc="-2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rate,</a:t>
            </a:r>
            <a:r>
              <a:rPr kumimoji="0" lang="en-US"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longer</a:t>
            </a:r>
            <a:r>
              <a:rPr kumimoji="0" lang="en-US" sz="800" b="0"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length</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of</a:t>
            </a:r>
            <a:r>
              <a:rPr kumimoji="0" lang="en-US" sz="800" b="0"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stay</a:t>
            </a:r>
            <a:r>
              <a:rPr kumimoji="0" lang="en-US" sz="800" b="0"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he</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hospital</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more</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han</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double</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the</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LOHS </a:t>
            </a:r>
            <a:r>
              <a:rPr kumimoji="0" lang="en-US"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of</a:t>
            </a:r>
            <a:r>
              <a:rPr kumimoji="0" lang="en-US" sz="800" b="0"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early</a:t>
            </a:r>
            <a:r>
              <a:rPr kumimoji="0" lang="en-US" sz="800" b="0" i="0" u="none" strike="noStrike" kern="1200" cap="none" spc="-2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extraction)</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nd</a:t>
            </a:r>
            <a:r>
              <a:rPr kumimoji="0" lang="en-US"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n</a:t>
            </a:r>
            <a:r>
              <a:rPr kumimoji="0" lang="en-US"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verage</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8</a:t>
            </a:r>
            <a:r>
              <a:rPr kumimoji="0" lang="en-US" sz="800" b="0" i="0" u="none" strike="noStrike" kern="1200" cap="none" spc="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days longer</a:t>
            </a:r>
            <a:r>
              <a:rPr kumimoji="0" lang="en-US" sz="800" b="0" i="0" u="none" strike="noStrike" kern="1200" cap="none" spc="-2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10"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antibiotic</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 </a:t>
            </a:r>
            <a:r>
              <a:rPr kumimoji="0" lang="en-US" sz="800" b="0" i="0" u="none" strike="noStrike" kern="1200" cap="none" spc="-5" normalizeH="0" baseline="0" noProof="0" dirty="0">
                <a:ln>
                  <a:noFill/>
                </a:ln>
                <a:solidFill>
                  <a:srgbClr val="231F20"/>
                </a:solidFill>
                <a:effectLst/>
                <a:uLnTx/>
                <a:uFillTx/>
                <a:latin typeface="Neue Frutiger World" panose="020B0603040304020203" pitchFamily="34" charset="0"/>
                <a:cs typeface="Neue Frutiger World" panose="020B0603040304020203" pitchFamily="34" charset="0"/>
              </a:rPr>
              <a:t>duration.</a:t>
            </a:r>
            <a:r>
              <a:rPr kumimoji="0" lang="en-US" sz="800" b="0" i="0" u="none" strike="noStrike" kern="1200" cap="none" spc="-7" normalizeH="0" baseline="30864" noProof="0" dirty="0">
                <a:ln>
                  <a:noFill/>
                </a:ln>
                <a:solidFill>
                  <a:srgbClr val="231F20"/>
                </a:solidFill>
                <a:effectLst/>
                <a:uLnTx/>
                <a:uFillTx/>
                <a:latin typeface="Neue Frutiger World" panose="020B0603040304020203" pitchFamily="34" charset="0"/>
                <a:cs typeface="Neue Frutiger World" panose="020B0603040304020203" pitchFamily="34" charset="0"/>
              </a:rPr>
              <a:t>22</a:t>
            </a:r>
            <a:endParaRPr kumimoji="0" lang="en-US" sz="800" b="0" i="0" u="none" strike="noStrike" kern="1200" cap="none" spc="0" normalizeH="0" baseline="30864" noProof="0" dirty="0">
              <a:ln>
                <a:noFill/>
              </a:ln>
              <a:solidFill>
                <a:srgbClr val="000000"/>
              </a:solidFill>
              <a:effectLst/>
              <a:uLnTx/>
              <a:uFillTx/>
              <a:latin typeface="Neue Frutiger World" panose="020B0603040304020203" pitchFamily="34" charset="0"/>
              <a:cs typeface="Neue Frutiger World" panose="020B0603040304020203" pitchFamily="34" charset="0"/>
            </a:endParaRPr>
          </a:p>
        </p:txBody>
      </p:sp>
      <p:sp>
        <p:nvSpPr>
          <p:cNvPr id="23" name="TextBox 22">
            <a:extLst>
              <a:ext uri="{FF2B5EF4-FFF2-40B4-BE49-F238E27FC236}">
                <a16:creationId xmlns:a16="http://schemas.microsoft.com/office/drawing/2014/main" id="{B8D7979F-AEAF-42A4-9C14-6561EE0CD994}"/>
              </a:ext>
            </a:extLst>
          </p:cNvPr>
          <p:cNvSpPr txBox="1"/>
          <p:nvPr/>
        </p:nvSpPr>
        <p:spPr>
          <a:xfrm>
            <a:off x="1630499" y="4838563"/>
            <a:ext cx="917322" cy="215444"/>
          </a:xfrm>
          <a:prstGeom prst="rect">
            <a:avLst/>
          </a:prstGeom>
          <a:noFill/>
        </p:spPr>
        <p:txBody>
          <a:bodyPr wrap="square">
            <a:spAutoFit/>
          </a:bodyPr>
          <a:lstStyle/>
          <a:p>
            <a:r>
              <a:rPr kumimoji="0" lang="en-US" sz="800" b="1" i="0" u="none" strike="noStrike" kern="1200" cap="none" spc="5" normalizeH="0" baseline="0" noProof="0" dirty="0">
                <a:ln>
                  <a:noFill/>
                </a:ln>
                <a:solidFill>
                  <a:srgbClr val="E82C2E"/>
                </a:solidFill>
                <a:effectLst/>
                <a:uLnTx/>
                <a:uFillTx/>
                <a:latin typeface="Neue Frutiger World" panose="020B0603040304020203" pitchFamily="34" charset="0"/>
                <a:cs typeface="Neue Frutiger World" panose="020B0603040304020203" pitchFamily="34" charset="0"/>
              </a:rPr>
              <a:t>- Confidential</a:t>
            </a:r>
            <a:endParaRPr lang="en-US" dirty="0">
              <a:latin typeface="Neue Frutiger World" panose="020B0603040304020203" pitchFamily="34" charset="0"/>
              <a:cs typeface="Neue Frutiger World" panose="020B0603040304020203" pitchFamily="34" charset="0"/>
            </a:endParaRPr>
          </a:p>
        </p:txBody>
      </p:sp>
      <p:sp>
        <p:nvSpPr>
          <p:cNvPr id="24" name="Rectangle 23">
            <a:hlinkClick r:id="rId6" action="ppaction://hlinksldjump"/>
            <a:extLst>
              <a:ext uri="{FF2B5EF4-FFF2-40B4-BE49-F238E27FC236}">
                <a16:creationId xmlns:a16="http://schemas.microsoft.com/office/drawing/2014/main" id="{866C7E29-6FDB-4A2D-B4BA-E833E9FA239E}"/>
              </a:ext>
            </a:extLst>
          </p:cNvPr>
          <p:cNvSpPr/>
          <p:nvPr/>
        </p:nvSpPr>
        <p:spPr>
          <a:xfrm>
            <a:off x="-2" y="26140"/>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5" name="Rectangle 24">
            <a:hlinkClick r:id="rId7" action="ppaction://hlinksldjump"/>
            <a:extLst>
              <a:ext uri="{FF2B5EF4-FFF2-40B4-BE49-F238E27FC236}">
                <a16:creationId xmlns:a16="http://schemas.microsoft.com/office/drawing/2014/main" id="{32911729-D84D-4FE2-B41E-98409A78D5F7}"/>
              </a:ext>
            </a:extLst>
          </p:cNvPr>
          <p:cNvSpPr/>
          <p:nvPr/>
        </p:nvSpPr>
        <p:spPr>
          <a:xfrm>
            <a:off x="10884" y="330352"/>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6" name="Rectangle 25">
            <a:hlinkClick r:id="rId8" action="ppaction://hlinksldjump"/>
            <a:extLst>
              <a:ext uri="{FF2B5EF4-FFF2-40B4-BE49-F238E27FC236}">
                <a16:creationId xmlns:a16="http://schemas.microsoft.com/office/drawing/2014/main" id="{6D51FCC5-5A53-4F2B-AB6A-2BDC9A747D8E}"/>
              </a:ext>
            </a:extLst>
          </p:cNvPr>
          <p:cNvSpPr/>
          <p:nvPr/>
        </p:nvSpPr>
        <p:spPr>
          <a:xfrm>
            <a:off x="-2" y="454402"/>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7" name="Rectangle 26">
            <a:hlinkClick r:id="rId9" action="ppaction://hlinksldjump"/>
            <a:extLst>
              <a:ext uri="{FF2B5EF4-FFF2-40B4-BE49-F238E27FC236}">
                <a16:creationId xmlns:a16="http://schemas.microsoft.com/office/drawing/2014/main" id="{88687EA7-6369-4EB4-98FD-63FAA97A839B}"/>
              </a:ext>
            </a:extLst>
          </p:cNvPr>
          <p:cNvSpPr/>
          <p:nvPr/>
        </p:nvSpPr>
        <p:spPr>
          <a:xfrm>
            <a:off x="45703" y="789323"/>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8" name="Rectangle 27">
            <a:hlinkClick r:id="rId10" action="ppaction://hlinksldjump"/>
            <a:extLst>
              <a:ext uri="{FF2B5EF4-FFF2-40B4-BE49-F238E27FC236}">
                <a16:creationId xmlns:a16="http://schemas.microsoft.com/office/drawing/2014/main" id="{BA914E5B-9DE2-4635-ADF5-25CA1FDF2335}"/>
              </a:ext>
            </a:extLst>
          </p:cNvPr>
          <p:cNvSpPr/>
          <p:nvPr/>
        </p:nvSpPr>
        <p:spPr>
          <a:xfrm>
            <a:off x="74378" y="923724"/>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29" name="Rectangle 28">
            <a:hlinkClick r:id="rId11" action="ppaction://hlinksldjump"/>
            <a:extLst>
              <a:ext uri="{FF2B5EF4-FFF2-40B4-BE49-F238E27FC236}">
                <a16:creationId xmlns:a16="http://schemas.microsoft.com/office/drawing/2014/main" id="{9C7E2D50-6F33-4407-981D-245595340082}"/>
              </a:ext>
            </a:extLst>
          </p:cNvPr>
          <p:cNvSpPr/>
          <p:nvPr/>
        </p:nvSpPr>
        <p:spPr>
          <a:xfrm>
            <a:off x="77827" y="1070681"/>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0" name="Rectangle 29">
            <a:hlinkClick r:id="rId12" action="ppaction://hlinksldjump"/>
            <a:extLst>
              <a:ext uri="{FF2B5EF4-FFF2-40B4-BE49-F238E27FC236}">
                <a16:creationId xmlns:a16="http://schemas.microsoft.com/office/drawing/2014/main" id="{F50A094E-4218-407C-A458-9A5BC97FDA4E}"/>
              </a:ext>
            </a:extLst>
          </p:cNvPr>
          <p:cNvSpPr/>
          <p:nvPr/>
        </p:nvSpPr>
        <p:spPr>
          <a:xfrm>
            <a:off x="0" y="1226155"/>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1" name="Rectangle 30">
            <a:hlinkClick r:id="rId13" action="ppaction://hlinksldjump"/>
            <a:extLst>
              <a:ext uri="{FF2B5EF4-FFF2-40B4-BE49-F238E27FC236}">
                <a16:creationId xmlns:a16="http://schemas.microsoft.com/office/drawing/2014/main" id="{DDB90F68-5359-492F-9FF2-97DAE8F603E9}"/>
              </a:ext>
            </a:extLst>
          </p:cNvPr>
          <p:cNvSpPr/>
          <p:nvPr/>
        </p:nvSpPr>
        <p:spPr>
          <a:xfrm>
            <a:off x="62966" y="1522756"/>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2" name="Rectangle 31">
            <a:extLst>
              <a:ext uri="{FF2B5EF4-FFF2-40B4-BE49-F238E27FC236}">
                <a16:creationId xmlns:a16="http://schemas.microsoft.com/office/drawing/2014/main" id="{9F1FE7CC-6D36-4DAC-B20F-0B060C66EABE}"/>
              </a:ext>
            </a:extLst>
          </p:cNvPr>
          <p:cNvSpPr/>
          <p:nvPr/>
        </p:nvSpPr>
        <p:spPr>
          <a:xfrm>
            <a:off x="69638" y="1806827"/>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3" name="Rectangle 32">
            <a:hlinkClick r:id="rId14" action="ppaction://hlinksldjump"/>
            <a:extLst>
              <a:ext uri="{FF2B5EF4-FFF2-40B4-BE49-F238E27FC236}">
                <a16:creationId xmlns:a16="http://schemas.microsoft.com/office/drawing/2014/main" id="{1B24CD62-71D9-4B8A-AD04-7CA4D3B1AE8F}"/>
              </a:ext>
            </a:extLst>
          </p:cNvPr>
          <p:cNvSpPr/>
          <p:nvPr/>
        </p:nvSpPr>
        <p:spPr>
          <a:xfrm>
            <a:off x="89185" y="1681935"/>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4" name="Rectangle 33">
            <a:hlinkClick r:id="rId15" action="ppaction://hlinksldjump"/>
            <a:extLst>
              <a:ext uri="{FF2B5EF4-FFF2-40B4-BE49-F238E27FC236}">
                <a16:creationId xmlns:a16="http://schemas.microsoft.com/office/drawing/2014/main" id="{CD97AF12-B21A-44AA-8C61-9DC5AB619AF1}"/>
              </a:ext>
            </a:extLst>
          </p:cNvPr>
          <p:cNvSpPr/>
          <p:nvPr/>
        </p:nvSpPr>
        <p:spPr>
          <a:xfrm>
            <a:off x="191877" y="1974548"/>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5" name="Rectangle 34">
            <a:hlinkClick r:id="rId16" action="ppaction://hlinksldjump"/>
            <a:extLst>
              <a:ext uri="{FF2B5EF4-FFF2-40B4-BE49-F238E27FC236}">
                <a16:creationId xmlns:a16="http://schemas.microsoft.com/office/drawing/2014/main" id="{F04AC5DD-2A4A-49A4-A8A7-50793E836AAE}"/>
              </a:ext>
            </a:extLst>
          </p:cNvPr>
          <p:cNvSpPr/>
          <p:nvPr/>
        </p:nvSpPr>
        <p:spPr>
          <a:xfrm>
            <a:off x="191877" y="2140473"/>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6" name="Rectangle 35">
            <a:hlinkClick r:id="rId17" action="ppaction://hlinksldjump"/>
            <a:extLst>
              <a:ext uri="{FF2B5EF4-FFF2-40B4-BE49-F238E27FC236}">
                <a16:creationId xmlns:a16="http://schemas.microsoft.com/office/drawing/2014/main" id="{999D5888-EC7B-46B7-AD21-B54AD001663B}"/>
              </a:ext>
            </a:extLst>
          </p:cNvPr>
          <p:cNvSpPr/>
          <p:nvPr/>
        </p:nvSpPr>
        <p:spPr>
          <a:xfrm>
            <a:off x="191877" y="2275555"/>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7" name="Rectangle 36">
            <a:hlinkClick r:id="rId18" action="ppaction://hlinksldjump"/>
            <a:extLst>
              <a:ext uri="{FF2B5EF4-FFF2-40B4-BE49-F238E27FC236}">
                <a16:creationId xmlns:a16="http://schemas.microsoft.com/office/drawing/2014/main" id="{C75A7A43-C9A6-4A97-B126-6617BD4F1B3F}"/>
              </a:ext>
            </a:extLst>
          </p:cNvPr>
          <p:cNvSpPr/>
          <p:nvPr/>
        </p:nvSpPr>
        <p:spPr>
          <a:xfrm>
            <a:off x="182796" y="2433257"/>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8" name="Rectangle 37">
            <a:hlinkClick r:id="rId19" action="ppaction://hlinksldjump"/>
            <a:extLst>
              <a:ext uri="{FF2B5EF4-FFF2-40B4-BE49-F238E27FC236}">
                <a16:creationId xmlns:a16="http://schemas.microsoft.com/office/drawing/2014/main" id="{00A790C1-C977-4759-9D8E-B1C749BDD426}"/>
              </a:ext>
            </a:extLst>
          </p:cNvPr>
          <p:cNvSpPr/>
          <p:nvPr/>
        </p:nvSpPr>
        <p:spPr>
          <a:xfrm>
            <a:off x="187339" y="259255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39" name="Rectangle 38">
            <a:hlinkClick r:id="rId20" action="ppaction://hlinksldjump"/>
            <a:extLst>
              <a:ext uri="{FF2B5EF4-FFF2-40B4-BE49-F238E27FC236}">
                <a16:creationId xmlns:a16="http://schemas.microsoft.com/office/drawing/2014/main" id="{2DBC2A68-5766-483B-BA2A-B0D21097E97B}"/>
              </a:ext>
            </a:extLst>
          </p:cNvPr>
          <p:cNvSpPr/>
          <p:nvPr/>
        </p:nvSpPr>
        <p:spPr>
          <a:xfrm>
            <a:off x="27199" y="2734520"/>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0" name="Rectangle 39">
            <a:hlinkClick r:id="rId21" action="ppaction://hlinksldjump"/>
            <a:extLst>
              <a:ext uri="{FF2B5EF4-FFF2-40B4-BE49-F238E27FC236}">
                <a16:creationId xmlns:a16="http://schemas.microsoft.com/office/drawing/2014/main" id="{C71D09D9-3A02-4ADD-87E9-8F01AB1D3A18}"/>
              </a:ext>
            </a:extLst>
          </p:cNvPr>
          <p:cNvSpPr/>
          <p:nvPr/>
        </p:nvSpPr>
        <p:spPr>
          <a:xfrm>
            <a:off x="81237" y="31163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1" name="Rectangle 40">
            <a:hlinkClick r:id="rId22" action="ppaction://hlinksldjump"/>
            <a:extLst>
              <a:ext uri="{FF2B5EF4-FFF2-40B4-BE49-F238E27FC236}">
                <a16:creationId xmlns:a16="http://schemas.microsoft.com/office/drawing/2014/main" id="{C20523C9-D919-48FD-8A09-55A0B5576983}"/>
              </a:ext>
            </a:extLst>
          </p:cNvPr>
          <p:cNvSpPr/>
          <p:nvPr/>
        </p:nvSpPr>
        <p:spPr>
          <a:xfrm>
            <a:off x="171763" y="343367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2" name="Rectangle 41">
            <a:hlinkClick r:id="rId23" action="ppaction://hlinksldjump"/>
            <a:extLst>
              <a:ext uri="{FF2B5EF4-FFF2-40B4-BE49-F238E27FC236}">
                <a16:creationId xmlns:a16="http://schemas.microsoft.com/office/drawing/2014/main" id="{2FEC293B-0AD4-4891-8600-2CAAFED4AC3F}"/>
              </a:ext>
            </a:extLst>
          </p:cNvPr>
          <p:cNvSpPr/>
          <p:nvPr/>
        </p:nvSpPr>
        <p:spPr>
          <a:xfrm>
            <a:off x="163966" y="357411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3" name="Rectangle 42">
            <a:hlinkClick r:id="rId24" action="ppaction://hlinksldjump"/>
            <a:extLst>
              <a:ext uri="{FF2B5EF4-FFF2-40B4-BE49-F238E27FC236}">
                <a16:creationId xmlns:a16="http://schemas.microsoft.com/office/drawing/2014/main" id="{6D03DC36-DEF1-48AF-A745-6CF93F1E2ABD}"/>
              </a:ext>
            </a:extLst>
          </p:cNvPr>
          <p:cNvSpPr/>
          <p:nvPr/>
        </p:nvSpPr>
        <p:spPr>
          <a:xfrm>
            <a:off x="157227" y="3737452"/>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4" name="Rectangle 43">
            <a:hlinkClick r:id="rId25" action="ppaction://hlinksldjump"/>
            <a:extLst>
              <a:ext uri="{FF2B5EF4-FFF2-40B4-BE49-F238E27FC236}">
                <a16:creationId xmlns:a16="http://schemas.microsoft.com/office/drawing/2014/main" id="{DFFD0A31-815D-4BE7-A240-43011CAC6881}"/>
              </a:ext>
            </a:extLst>
          </p:cNvPr>
          <p:cNvSpPr/>
          <p:nvPr/>
        </p:nvSpPr>
        <p:spPr>
          <a:xfrm>
            <a:off x="12234" y="3955863"/>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5" name="Rectangle 44">
            <a:hlinkClick r:id="rId26" action="ppaction://hlinksldjump"/>
            <a:extLst>
              <a:ext uri="{FF2B5EF4-FFF2-40B4-BE49-F238E27FC236}">
                <a16:creationId xmlns:a16="http://schemas.microsoft.com/office/drawing/2014/main" id="{21FD201E-4851-493C-80E3-22AF26DCCE1D}"/>
              </a:ext>
            </a:extLst>
          </p:cNvPr>
          <p:cNvSpPr/>
          <p:nvPr/>
        </p:nvSpPr>
        <p:spPr>
          <a:xfrm>
            <a:off x="89165" y="4271096"/>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6" name="Rectangle 45">
            <a:extLst>
              <a:ext uri="{FF2B5EF4-FFF2-40B4-BE49-F238E27FC236}">
                <a16:creationId xmlns:a16="http://schemas.microsoft.com/office/drawing/2014/main" id="{A26B81E2-06AE-4EDC-AE22-0525D0F9B186}"/>
              </a:ext>
            </a:extLst>
          </p:cNvPr>
          <p:cNvSpPr/>
          <p:nvPr/>
        </p:nvSpPr>
        <p:spPr>
          <a:xfrm>
            <a:off x="103549" y="4755907"/>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7" name="Rectangle 46">
            <a:hlinkClick r:id="rId27" action="ppaction://hlinksldjump"/>
            <a:extLst>
              <a:ext uri="{FF2B5EF4-FFF2-40B4-BE49-F238E27FC236}">
                <a16:creationId xmlns:a16="http://schemas.microsoft.com/office/drawing/2014/main" id="{44E66655-EC31-4677-8CA6-EA1EE342E6D1}"/>
              </a:ext>
            </a:extLst>
          </p:cNvPr>
          <p:cNvSpPr/>
          <p:nvPr/>
        </p:nvSpPr>
        <p:spPr>
          <a:xfrm>
            <a:off x="171763" y="4557728"/>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8" name="Rectangle 47">
            <a:hlinkClick r:id="rId28" action="ppaction://hlinksldjump"/>
            <a:extLst>
              <a:ext uri="{FF2B5EF4-FFF2-40B4-BE49-F238E27FC236}">
                <a16:creationId xmlns:a16="http://schemas.microsoft.com/office/drawing/2014/main" id="{AF1FF6ED-557F-4792-AB8F-E69E7C924716}"/>
              </a:ext>
            </a:extLst>
          </p:cNvPr>
          <p:cNvSpPr/>
          <p:nvPr/>
        </p:nvSpPr>
        <p:spPr>
          <a:xfrm>
            <a:off x="171763" y="4718572"/>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49" name="Rectangle 48">
            <a:hlinkClick r:id="rId29" action="ppaction://hlinksldjump"/>
            <a:extLst>
              <a:ext uri="{FF2B5EF4-FFF2-40B4-BE49-F238E27FC236}">
                <a16:creationId xmlns:a16="http://schemas.microsoft.com/office/drawing/2014/main" id="{621AA6F3-AEF8-467F-9FD2-2C38FC9E6E22}"/>
              </a:ext>
            </a:extLst>
          </p:cNvPr>
          <p:cNvSpPr/>
          <p:nvPr/>
        </p:nvSpPr>
        <p:spPr>
          <a:xfrm>
            <a:off x="5707" y="4948159"/>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0" name="Rectangle 49">
            <a:extLst>
              <a:ext uri="{FF2B5EF4-FFF2-40B4-BE49-F238E27FC236}">
                <a16:creationId xmlns:a16="http://schemas.microsoft.com/office/drawing/2014/main" id="{96E2B2D6-164F-46AF-987D-E99922F77497}"/>
              </a:ext>
            </a:extLst>
          </p:cNvPr>
          <p:cNvSpPr/>
          <p:nvPr/>
        </p:nvSpPr>
        <p:spPr>
          <a:xfrm>
            <a:off x="-2" y="-1"/>
            <a:ext cx="1227769" cy="5132479"/>
          </a:xfrm>
          <a:prstGeom prst="rect">
            <a:avLst/>
          </a:prstGeom>
          <a:solidFill>
            <a:srgbClr val="0089C4">
              <a:alpha val="13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graphicFrame>
        <p:nvGraphicFramePr>
          <p:cNvPr id="51" name="Table 50">
            <a:extLst>
              <a:ext uri="{FF2B5EF4-FFF2-40B4-BE49-F238E27FC236}">
                <a16:creationId xmlns:a16="http://schemas.microsoft.com/office/drawing/2014/main" id="{2C704D1B-CDFE-484A-BABB-F0F12981C39F}"/>
              </a:ext>
            </a:extLst>
          </p:cNvPr>
          <p:cNvGraphicFramePr>
            <a:graphicFrameLocks noGrp="1"/>
          </p:cNvGraphicFramePr>
          <p:nvPr>
            <p:extLst>
              <p:ext uri="{D42A27DB-BD31-4B8C-83A1-F6EECF244321}">
                <p14:modId xmlns:p14="http://schemas.microsoft.com/office/powerpoint/2010/main" val="864901256"/>
              </p:ext>
            </p:extLst>
          </p:nvPr>
        </p:nvGraphicFramePr>
        <p:xfrm>
          <a:off x="0" y="1"/>
          <a:ext cx="1227769" cy="5143502"/>
        </p:xfrm>
        <a:graphic>
          <a:graphicData uri="http://schemas.openxmlformats.org/drawingml/2006/table">
            <a:tbl>
              <a:tblPr firstRow="1" bandRow="1"/>
              <a:tblGrid>
                <a:gridCol w="31275">
                  <a:extLst>
                    <a:ext uri="{9D8B030D-6E8A-4147-A177-3AD203B41FA5}">
                      <a16:colId xmlns:a16="http://schemas.microsoft.com/office/drawing/2014/main" val="3880447160"/>
                    </a:ext>
                  </a:extLst>
                </a:gridCol>
                <a:gridCol w="85497">
                  <a:extLst>
                    <a:ext uri="{9D8B030D-6E8A-4147-A177-3AD203B41FA5}">
                      <a16:colId xmlns:a16="http://schemas.microsoft.com/office/drawing/2014/main" val="1865717661"/>
                    </a:ext>
                  </a:extLst>
                </a:gridCol>
                <a:gridCol w="85497">
                  <a:extLst>
                    <a:ext uri="{9D8B030D-6E8A-4147-A177-3AD203B41FA5}">
                      <a16:colId xmlns:a16="http://schemas.microsoft.com/office/drawing/2014/main" val="3243985630"/>
                    </a:ext>
                  </a:extLst>
                </a:gridCol>
                <a:gridCol w="1025500">
                  <a:extLst>
                    <a:ext uri="{9D8B030D-6E8A-4147-A177-3AD203B41FA5}">
                      <a16:colId xmlns:a16="http://schemas.microsoft.com/office/drawing/2014/main" val="3808591274"/>
                    </a:ext>
                  </a:extLst>
                </a:gridCol>
              </a:tblGrid>
              <a:tr h="150441">
                <a:tc>
                  <a:txBody>
                    <a:bodyPr/>
                    <a:lstStyle/>
                    <a:p>
                      <a:pPr marL="0" indent="0" algn="l" fontAlgn="ctr"/>
                      <a:endPar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fontAlgn="ctr"/>
                      <a:r>
                        <a:rPr lang="en-US" sz="700" b="1" i="0" u="none" strike="noStrike" dirty="0">
                          <a:solidFill>
                            <a:srgbClr val="0077CD"/>
                          </a:solidFill>
                          <a:effectLst/>
                          <a:latin typeface="Neue Frutiger World" panose="020B0603040304020203" pitchFamily="34" charset="0"/>
                          <a:ea typeface="+mn-ea"/>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151442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1281747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57677292"/>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Opportunit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8695722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Referral checkli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7503825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Quantifying potential</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4267008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Targeting</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5315739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Opportunity resource</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65994279"/>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35614295"/>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systemic</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60137367"/>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fection – pocke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DEBFC">
                        <a:alpha val="66000"/>
                      </a:srgb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85374318"/>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4917025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ctr"/>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48314382"/>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 treat with antibiotics firs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336829806"/>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systemic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863303697"/>
                  </a:ext>
                </a:extLst>
              </a:tr>
              <a:tr h="152002">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ctr"/>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Antibiotics since last visit</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1064490463"/>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dentify and trea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108978810"/>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ad involvement</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678699072"/>
                  </a:ext>
                </a:extLst>
              </a:tr>
              <a:tr h="243634">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Abandoned leads and delayed extra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5062539"/>
                  </a:ext>
                </a:extLst>
              </a:tr>
              <a:tr h="150441">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t"/>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t"/>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77244521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2297492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7814015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mpact of del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014905766"/>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Length of hospital stay</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7743999"/>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s Transvenous Lead Extraction safe? </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417901135"/>
                  </a:ext>
                </a:extLst>
              </a:tr>
              <a:tr h="150441">
                <a:tc>
                  <a:txBody>
                    <a:bodyPr/>
                    <a:lstStyle/>
                    <a:p>
                      <a:pPr marL="0" indent="0" algn="l" defTabSz="914377" rtl="0" eaLnBrk="1" fontAlgn="ctr" latinLnBrk="0" hangingPunct="1"/>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marL="0" indent="0" algn="l" defTabSz="914377" rtl="0" eaLnBrk="1" fontAlgn="ctr" latinLnBrk="0" hangingPunct="1"/>
                      <a:r>
                        <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4569884"/>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Introdu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76844462"/>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Key messages</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0727101"/>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2">
                  <a:txBody>
                    <a:bodyPr/>
                    <a:lstStyle/>
                    <a:p>
                      <a:pPr algn="l" fontAlgn="b"/>
                      <a:r>
                        <a:rPr lang="nl-BE" sz="600" b="0" i="0" u="none" strike="noStrike" dirty="0">
                          <a:solidFill>
                            <a:srgbClr val="000000"/>
                          </a:solidFill>
                          <a:effectLst/>
                          <a:latin typeface="Neue Frutiger World" panose="020B0603040304020203" pitchFamily="34" charset="0"/>
                          <a:cs typeface="Neue Frutiger World" panose="020B0603040304020203" pitchFamily="34" charset="0"/>
                        </a:rPr>
                        <a:t>Conversation starters</a:t>
                      </a:r>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endParaRPr lang="en-US"/>
                    </a:p>
                  </a:txBody>
                  <a:tcPr/>
                </a:tc>
                <a:extLst>
                  <a:ext uri="{0D108BD9-81ED-4DB2-BD59-A6C34878D82A}">
                    <a16:rowId xmlns:a16="http://schemas.microsoft.com/office/drawing/2014/main" val="1744729868"/>
                  </a:ext>
                </a:extLst>
              </a:tr>
              <a:tr h="150441">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Cost of treating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3009020931"/>
                  </a:ext>
                </a:extLst>
              </a:tr>
              <a:tr h="228653">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endParaRPr lang="en-US" sz="600" b="0" i="0" u="none" strike="noStrike" dirty="0">
                        <a:solidFill>
                          <a:srgbClr val="000000"/>
                        </a:solidFill>
                        <a:effectLst/>
                        <a:latin typeface="Neue Frutiger World" panose="020B0603040304020203" pitchFamily="34" charset="0"/>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a:txBody>
                    <a:bodyPr/>
                    <a:lstStyle/>
                    <a:p>
                      <a:pPr algn="l" fontAlgn="b"/>
                      <a:r>
                        <a:rPr lang="en-US" sz="600" b="0" i="0" u="none" strike="noStrike" dirty="0">
                          <a:solidFill>
                            <a:srgbClr val="000000"/>
                          </a:solidFill>
                          <a:effectLst/>
                          <a:latin typeface="Neue Frutiger World" panose="020B0603040304020203" pitchFamily="34" charset="0"/>
                          <a:cs typeface="Neue Frutiger World" panose="020B0603040304020203" pitchFamily="34" charset="0"/>
                        </a:rPr>
                        <a:t>Basis for increased cost of infection</a:t>
                      </a: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453154847"/>
                  </a:ext>
                </a:extLst>
              </a:tr>
              <a:tr h="228653">
                <a:tc>
                  <a:txBody>
                    <a:bodyPr/>
                    <a:lstStyle/>
                    <a:p>
                      <a:pPr algn="l" fontAlgn="b"/>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gridSpan="3">
                  <a:txBody>
                    <a:bodyPr/>
                    <a:lstStyle/>
                    <a:p>
                      <a:pPr algn="l" fontAlgn="b"/>
                      <a:r>
                        <a:rPr lang="nl-BE"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rPr>
                        <a:t>Resources</a:t>
                      </a:r>
                      <a:endParaRPr lang="en-US" sz="700" b="1" i="0" u="none" strike="noStrike" kern="1200" dirty="0">
                        <a:solidFill>
                          <a:srgbClr val="0077CD"/>
                        </a:solidFill>
                        <a:effectLst/>
                        <a:latin typeface="Neue Frutiger World" panose="020B0603040304020203" pitchFamily="34" charset="0"/>
                        <a:ea typeface="+mn-ea"/>
                        <a:cs typeface="Neue Frutiger World" panose="020B0603040304020203"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tc hMerge="1">
                  <a:txBody>
                    <a:bodyPr/>
                    <a:lstStyle/>
                    <a:p>
                      <a:pPr algn="l" fontAlgn="b"/>
                      <a:endParaRPr lang="en-US" sz="700" b="0" i="0" u="none" strike="noStrike" dirty="0">
                        <a:solidFill>
                          <a:srgbClr val="000000"/>
                        </a:solidFill>
                        <a:effectLst/>
                        <a:latin typeface="Calibri" panose="020F0502020204030204" pitchFamily="34" charset="0"/>
                      </a:endParaRPr>
                    </a:p>
                  </a:txBody>
                  <a:tcPr marL="317" marR="317" marT="317"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66000"/>
                      </a:schemeClr>
                    </a:solidFill>
                  </a:tcPr>
                </a:tc>
                <a:extLst>
                  <a:ext uri="{0D108BD9-81ED-4DB2-BD59-A6C34878D82A}">
                    <a16:rowId xmlns:a16="http://schemas.microsoft.com/office/drawing/2014/main" val="2273009573"/>
                  </a:ext>
                </a:extLst>
              </a:tr>
            </a:tbl>
          </a:graphicData>
        </a:graphic>
      </p:graphicFrame>
      <p:sp>
        <p:nvSpPr>
          <p:cNvPr id="52" name="Rectangle 51">
            <a:hlinkClick r:id="rId6" action="ppaction://hlinksldjump"/>
            <a:extLst>
              <a:ext uri="{FF2B5EF4-FFF2-40B4-BE49-F238E27FC236}">
                <a16:creationId xmlns:a16="http://schemas.microsoft.com/office/drawing/2014/main" id="{EC700B74-0B0E-4D27-B788-3BFAFE6CDA20}"/>
              </a:ext>
            </a:extLst>
          </p:cNvPr>
          <p:cNvSpPr/>
          <p:nvPr/>
        </p:nvSpPr>
        <p:spPr>
          <a:xfrm>
            <a:off x="-4" y="14315"/>
            <a:ext cx="861859" cy="281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3" name="Rectangle 52">
            <a:hlinkClick r:id="rId7" action="ppaction://hlinksldjump"/>
            <a:extLst>
              <a:ext uri="{FF2B5EF4-FFF2-40B4-BE49-F238E27FC236}">
                <a16:creationId xmlns:a16="http://schemas.microsoft.com/office/drawing/2014/main" id="{5EEA6041-1969-4A67-8FE8-C25FA3C05DB9}"/>
              </a:ext>
            </a:extLst>
          </p:cNvPr>
          <p:cNvSpPr/>
          <p:nvPr/>
        </p:nvSpPr>
        <p:spPr>
          <a:xfrm>
            <a:off x="10882" y="318527"/>
            <a:ext cx="921847" cy="12792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4" name="Rectangle 53">
            <a:hlinkClick r:id="rId8" action="ppaction://hlinksldjump"/>
            <a:extLst>
              <a:ext uri="{FF2B5EF4-FFF2-40B4-BE49-F238E27FC236}">
                <a16:creationId xmlns:a16="http://schemas.microsoft.com/office/drawing/2014/main" id="{66AD5089-56D4-4CF7-999A-28A9E0DB7F07}"/>
              </a:ext>
            </a:extLst>
          </p:cNvPr>
          <p:cNvSpPr/>
          <p:nvPr/>
        </p:nvSpPr>
        <p:spPr>
          <a:xfrm>
            <a:off x="-4" y="442577"/>
            <a:ext cx="999945" cy="32098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5" name="Rectangle 54">
            <a:hlinkClick r:id="rId9" action="ppaction://hlinksldjump"/>
            <a:extLst>
              <a:ext uri="{FF2B5EF4-FFF2-40B4-BE49-F238E27FC236}">
                <a16:creationId xmlns:a16="http://schemas.microsoft.com/office/drawing/2014/main" id="{EDA96614-9DC5-4D13-B7FE-94D8F4A7882B}"/>
              </a:ext>
            </a:extLst>
          </p:cNvPr>
          <p:cNvSpPr/>
          <p:nvPr/>
        </p:nvSpPr>
        <p:spPr>
          <a:xfrm>
            <a:off x="45701" y="777498"/>
            <a:ext cx="949831" cy="13233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6" name="Rectangle 55">
            <a:hlinkClick r:id="rId10" action="ppaction://hlinksldjump"/>
            <a:extLst>
              <a:ext uri="{FF2B5EF4-FFF2-40B4-BE49-F238E27FC236}">
                <a16:creationId xmlns:a16="http://schemas.microsoft.com/office/drawing/2014/main" id="{52B6C8B3-ECA0-4B5C-B62A-2E1A010BD049}"/>
              </a:ext>
            </a:extLst>
          </p:cNvPr>
          <p:cNvSpPr/>
          <p:nvPr/>
        </p:nvSpPr>
        <p:spPr>
          <a:xfrm>
            <a:off x="74376" y="911899"/>
            <a:ext cx="910962" cy="1412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7" name="Rectangle 56">
            <a:hlinkClick r:id="rId11" action="ppaction://hlinksldjump"/>
            <a:extLst>
              <a:ext uri="{FF2B5EF4-FFF2-40B4-BE49-F238E27FC236}">
                <a16:creationId xmlns:a16="http://schemas.microsoft.com/office/drawing/2014/main" id="{FA2AFF1F-4A8B-423D-B248-55776A8813D1}"/>
              </a:ext>
            </a:extLst>
          </p:cNvPr>
          <p:cNvSpPr/>
          <p:nvPr/>
        </p:nvSpPr>
        <p:spPr>
          <a:xfrm>
            <a:off x="77825" y="1058856"/>
            <a:ext cx="949830" cy="14122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8" name="Rectangle 57">
            <a:hlinkClick r:id="rId12" action="ppaction://hlinksldjump"/>
            <a:extLst>
              <a:ext uri="{FF2B5EF4-FFF2-40B4-BE49-F238E27FC236}">
                <a16:creationId xmlns:a16="http://schemas.microsoft.com/office/drawing/2014/main" id="{C962D829-0CF9-4893-BD7E-9B06AC05CD59}"/>
              </a:ext>
            </a:extLst>
          </p:cNvPr>
          <p:cNvSpPr/>
          <p:nvPr/>
        </p:nvSpPr>
        <p:spPr>
          <a:xfrm>
            <a:off x="-2" y="1214330"/>
            <a:ext cx="1021753" cy="288458"/>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59" name="Rectangle 58">
            <a:hlinkClick r:id="rId13" action="ppaction://hlinksldjump"/>
            <a:extLst>
              <a:ext uri="{FF2B5EF4-FFF2-40B4-BE49-F238E27FC236}">
                <a16:creationId xmlns:a16="http://schemas.microsoft.com/office/drawing/2014/main" id="{24B5001B-2FB5-48B3-9C07-FCB4BD46C3B3}"/>
              </a:ext>
            </a:extLst>
          </p:cNvPr>
          <p:cNvSpPr/>
          <p:nvPr/>
        </p:nvSpPr>
        <p:spPr>
          <a:xfrm>
            <a:off x="62964" y="1510931"/>
            <a:ext cx="910778" cy="13738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0" name="Rectangle 59">
            <a:extLst>
              <a:ext uri="{FF2B5EF4-FFF2-40B4-BE49-F238E27FC236}">
                <a16:creationId xmlns:a16="http://schemas.microsoft.com/office/drawing/2014/main" id="{A78B19B2-82F4-42D5-A1CA-6A1D61EFB8B5}"/>
              </a:ext>
            </a:extLst>
          </p:cNvPr>
          <p:cNvSpPr/>
          <p:nvPr/>
        </p:nvSpPr>
        <p:spPr>
          <a:xfrm>
            <a:off x="69636" y="1795002"/>
            <a:ext cx="910778" cy="106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1" name="Rectangle 60">
            <a:hlinkClick r:id="rId14" action="ppaction://hlinksldjump"/>
            <a:extLst>
              <a:ext uri="{FF2B5EF4-FFF2-40B4-BE49-F238E27FC236}">
                <a16:creationId xmlns:a16="http://schemas.microsoft.com/office/drawing/2014/main" id="{CCF31CF3-420C-4D38-9C12-88B96FAABC67}"/>
              </a:ext>
            </a:extLst>
          </p:cNvPr>
          <p:cNvSpPr/>
          <p:nvPr/>
        </p:nvSpPr>
        <p:spPr>
          <a:xfrm>
            <a:off x="89183" y="1670110"/>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2" name="Rectangle 61">
            <a:hlinkClick r:id="rId15" action="ppaction://hlinksldjump"/>
            <a:extLst>
              <a:ext uri="{FF2B5EF4-FFF2-40B4-BE49-F238E27FC236}">
                <a16:creationId xmlns:a16="http://schemas.microsoft.com/office/drawing/2014/main" id="{7C1A8CE0-7404-4D09-88AD-AA75AAAFCB80}"/>
              </a:ext>
            </a:extLst>
          </p:cNvPr>
          <p:cNvSpPr/>
          <p:nvPr/>
        </p:nvSpPr>
        <p:spPr>
          <a:xfrm>
            <a:off x="191875" y="1962723"/>
            <a:ext cx="910778" cy="14070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3" name="Rectangle 62">
            <a:hlinkClick r:id="rId16" action="ppaction://hlinksldjump"/>
            <a:extLst>
              <a:ext uri="{FF2B5EF4-FFF2-40B4-BE49-F238E27FC236}">
                <a16:creationId xmlns:a16="http://schemas.microsoft.com/office/drawing/2014/main" id="{1B834CA5-C8A7-4330-AD21-951E041037E9}"/>
              </a:ext>
            </a:extLst>
          </p:cNvPr>
          <p:cNvSpPr/>
          <p:nvPr/>
        </p:nvSpPr>
        <p:spPr>
          <a:xfrm>
            <a:off x="191875" y="2128648"/>
            <a:ext cx="910778" cy="122512"/>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4" name="Rectangle 63">
            <a:hlinkClick r:id="rId17" action="ppaction://hlinksldjump"/>
            <a:extLst>
              <a:ext uri="{FF2B5EF4-FFF2-40B4-BE49-F238E27FC236}">
                <a16:creationId xmlns:a16="http://schemas.microsoft.com/office/drawing/2014/main" id="{ABFE145B-02CC-402D-B8BA-09267DC84961}"/>
              </a:ext>
            </a:extLst>
          </p:cNvPr>
          <p:cNvSpPr/>
          <p:nvPr/>
        </p:nvSpPr>
        <p:spPr>
          <a:xfrm>
            <a:off x="191875" y="2263730"/>
            <a:ext cx="910778" cy="1341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5" name="Rectangle 64">
            <a:hlinkClick r:id="rId18" action="ppaction://hlinksldjump"/>
            <a:extLst>
              <a:ext uri="{FF2B5EF4-FFF2-40B4-BE49-F238E27FC236}">
                <a16:creationId xmlns:a16="http://schemas.microsoft.com/office/drawing/2014/main" id="{B97981C5-097D-436F-8F04-0745EFE354ED}"/>
              </a:ext>
            </a:extLst>
          </p:cNvPr>
          <p:cNvSpPr/>
          <p:nvPr/>
        </p:nvSpPr>
        <p:spPr>
          <a:xfrm>
            <a:off x="182794" y="2421432"/>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6" name="Rectangle 65">
            <a:hlinkClick r:id="rId19" action="ppaction://hlinksldjump"/>
            <a:extLst>
              <a:ext uri="{FF2B5EF4-FFF2-40B4-BE49-F238E27FC236}">
                <a16:creationId xmlns:a16="http://schemas.microsoft.com/office/drawing/2014/main" id="{DA648B04-3D3C-4F47-BA2B-1AB6D4F94A1E}"/>
              </a:ext>
            </a:extLst>
          </p:cNvPr>
          <p:cNvSpPr/>
          <p:nvPr/>
        </p:nvSpPr>
        <p:spPr>
          <a:xfrm>
            <a:off x="187337" y="258073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7" name="Rectangle 66">
            <a:hlinkClick r:id="rId20" action="ppaction://hlinksldjump"/>
            <a:extLst>
              <a:ext uri="{FF2B5EF4-FFF2-40B4-BE49-F238E27FC236}">
                <a16:creationId xmlns:a16="http://schemas.microsoft.com/office/drawing/2014/main" id="{9EFF5BCE-538E-401A-A7D5-0FF1D51A0742}"/>
              </a:ext>
            </a:extLst>
          </p:cNvPr>
          <p:cNvSpPr/>
          <p:nvPr/>
        </p:nvSpPr>
        <p:spPr>
          <a:xfrm>
            <a:off x="27197" y="2722695"/>
            <a:ext cx="949831" cy="38242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8" name="Rectangle 67">
            <a:hlinkClick r:id="rId21" action="ppaction://hlinksldjump"/>
            <a:extLst>
              <a:ext uri="{FF2B5EF4-FFF2-40B4-BE49-F238E27FC236}">
                <a16:creationId xmlns:a16="http://schemas.microsoft.com/office/drawing/2014/main" id="{5A383596-2E51-488C-B9D5-16BF2BF91406}"/>
              </a:ext>
            </a:extLst>
          </p:cNvPr>
          <p:cNvSpPr/>
          <p:nvPr/>
        </p:nvSpPr>
        <p:spPr>
          <a:xfrm>
            <a:off x="81235" y="31045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69" name="Rectangle 68">
            <a:hlinkClick r:id="rId22" action="ppaction://hlinksldjump"/>
            <a:extLst>
              <a:ext uri="{FF2B5EF4-FFF2-40B4-BE49-F238E27FC236}">
                <a16:creationId xmlns:a16="http://schemas.microsoft.com/office/drawing/2014/main" id="{3FC212AB-8CE3-4786-8EE6-16E92245685B}"/>
              </a:ext>
            </a:extLst>
          </p:cNvPr>
          <p:cNvSpPr/>
          <p:nvPr/>
        </p:nvSpPr>
        <p:spPr>
          <a:xfrm>
            <a:off x="171761" y="342185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0" name="Rectangle 69">
            <a:hlinkClick r:id="rId23" action="ppaction://hlinksldjump"/>
            <a:extLst>
              <a:ext uri="{FF2B5EF4-FFF2-40B4-BE49-F238E27FC236}">
                <a16:creationId xmlns:a16="http://schemas.microsoft.com/office/drawing/2014/main" id="{DC26E367-8345-4E62-9823-F22E4EC24DC0}"/>
              </a:ext>
            </a:extLst>
          </p:cNvPr>
          <p:cNvSpPr/>
          <p:nvPr/>
        </p:nvSpPr>
        <p:spPr>
          <a:xfrm>
            <a:off x="163964" y="356229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1" name="Rectangle 70">
            <a:hlinkClick r:id="rId24" action="ppaction://hlinksldjump"/>
            <a:extLst>
              <a:ext uri="{FF2B5EF4-FFF2-40B4-BE49-F238E27FC236}">
                <a16:creationId xmlns:a16="http://schemas.microsoft.com/office/drawing/2014/main" id="{3AC86764-A729-48B7-A83A-17AD57C6D557}"/>
              </a:ext>
            </a:extLst>
          </p:cNvPr>
          <p:cNvSpPr/>
          <p:nvPr/>
        </p:nvSpPr>
        <p:spPr>
          <a:xfrm>
            <a:off x="157225" y="3725627"/>
            <a:ext cx="910778" cy="23407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2" name="Rectangle 71">
            <a:hlinkClick r:id="rId25" action="ppaction://hlinksldjump"/>
            <a:extLst>
              <a:ext uri="{FF2B5EF4-FFF2-40B4-BE49-F238E27FC236}">
                <a16:creationId xmlns:a16="http://schemas.microsoft.com/office/drawing/2014/main" id="{8DB8DCFF-08A6-4648-B64D-9D8DF6703136}"/>
              </a:ext>
            </a:extLst>
          </p:cNvPr>
          <p:cNvSpPr/>
          <p:nvPr/>
        </p:nvSpPr>
        <p:spPr>
          <a:xfrm>
            <a:off x="12232" y="3944038"/>
            <a:ext cx="946330" cy="30064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3" name="Rectangle 72">
            <a:hlinkClick r:id="rId26" action="ppaction://hlinksldjump"/>
            <a:extLst>
              <a:ext uri="{FF2B5EF4-FFF2-40B4-BE49-F238E27FC236}">
                <a16:creationId xmlns:a16="http://schemas.microsoft.com/office/drawing/2014/main" id="{C3066005-963C-4C22-A7A3-D2036AF86EF1}"/>
              </a:ext>
            </a:extLst>
          </p:cNvPr>
          <p:cNvSpPr/>
          <p:nvPr/>
        </p:nvSpPr>
        <p:spPr>
          <a:xfrm>
            <a:off x="89163" y="4259271"/>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4" name="Rectangle 73">
            <a:extLst>
              <a:ext uri="{FF2B5EF4-FFF2-40B4-BE49-F238E27FC236}">
                <a16:creationId xmlns:a16="http://schemas.microsoft.com/office/drawing/2014/main" id="{93923CF2-1F66-4A68-B262-4018CF2A1EB1}"/>
              </a:ext>
            </a:extLst>
          </p:cNvPr>
          <p:cNvSpPr/>
          <p:nvPr/>
        </p:nvSpPr>
        <p:spPr>
          <a:xfrm>
            <a:off x="103547" y="4744082"/>
            <a:ext cx="964456"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5" name="Rectangle 74">
            <a:hlinkClick r:id="rId27" action="ppaction://hlinksldjump"/>
            <a:extLst>
              <a:ext uri="{FF2B5EF4-FFF2-40B4-BE49-F238E27FC236}">
                <a16:creationId xmlns:a16="http://schemas.microsoft.com/office/drawing/2014/main" id="{365B338A-6406-4742-93CA-6D53C77DE996}"/>
              </a:ext>
            </a:extLst>
          </p:cNvPr>
          <p:cNvSpPr/>
          <p:nvPr/>
        </p:nvSpPr>
        <p:spPr>
          <a:xfrm>
            <a:off x="171761" y="4545903"/>
            <a:ext cx="910778" cy="14370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6" name="Rectangle 75">
            <a:hlinkClick r:id="rId28" action="ppaction://hlinksldjump"/>
            <a:extLst>
              <a:ext uri="{FF2B5EF4-FFF2-40B4-BE49-F238E27FC236}">
                <a16:creationId xmlns:a16="http://schemas.microsoft.com/office/drawing/2014/main" id="{82AF8B11-3714-45EA-8A3E-614255998BC1}"/>
              </a:ext>
            </a:extLst>
          </p:cNvPr>
          <p:cNvSpPr/>
          <p:nvPr/>
        </p:nvSpPr>
        <p:spPr>
          <a:xfrm>
            <a:off x="171761" y="4706747"/>
            <a:ext cx="910778" cy="232996"/>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
        <p:nvSpPr>
          <p:cNvPr id="77" name="Rectangle 76">
            <a:hlinkClick r:id="rId29" action="ppaction://hlinksldjump"/>
            <a:extLst>
              <a:ext uri="{FF2B5EF4-FFF2-40B4-BE49-F238E27FC236}">
                <a16:creationId xmlns:a16="http://schemas.microsoft.com/office/drawing/2014/main" id="{BE44D011-0304-4174-819C-50912F51BE9D}"/>
              </a:ext>
            </a:extLst>
          </p:cNvPr>
          <p:cNvSpPr/>
          <p:nvPr/>
        </p:nvSpPr>
        <p:spPr>
          <a:xfrm>
            <a:off x="5705" y="4936334"/>
            <a:ext cx="910778" cy="20672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 Frutiger World" panose="020B0603040304020203" pitchFamily="34" charset="0"/>
              <a:cs typeface="Neue Frutiger World" panose="020B0603040304020203" pitchFamily="34" charset="0"/>
            </a:endParaRPr>
          </a:p>
        </p:txBody>
      </p:sp>
    </p:spTree>
    <p:extLst>
      <p:ext uri="{BB962C8B-B14F-4D97-AF65-F5344CB8AC3E}">
        <p14:creationId xmlns:p14="http://schemas.microsoft.com/office/powerpoint/2010/main" val="142651895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43900000000000005684E+00&quot;&gt;&lt;m_msothmcolidx val=&quot;0&quot;/&gt;&lt;m_rgb r=&quot;A3&quot; g=&quot;D9&quot; b=&quot;D9&quot;/&gt;&lt;m_nBrightness val=&quot;0&quot;/&gt;&lt;/elem&gt;&lt;elem m_fUsage=&quot;1.41682643648100059508E+00&quot;&gt;&lt;m_msothmcolidx val=&quot;0&quot;/&gt;&lt;m_rgb r=&quot;9E&quot; g=&quot;2D&quot; b=&quot;B1&quot;/&gt;&lt;m_nBrightness val=&quot;0&quot;/&gt;&lt;/elem&gt;&lt;elem m_fUsage=&quot;1.20667841354961047351E+00&quot;&gt;&lt;m_msothmcolidx val=&quot;0&quot;/&gt;&lt;m_rgb r=&quot;EC&quot; g=&quot;43&quot; b=&quot;71&quot;/&gt;&lt;m_nBrightness val=&quot;0&quot;/&gt;&lt;/elem&gt;&lt;elem m_fUsage=&quot;8.80119440100000316463E-01&quot;&gt;&lt;m_msothmcolidx val=&quot;0&quot;/&gt;&lt;m_rgb r=&quot;00&quot; g=&quot;8E&quot; b=&quot;CC&quot;/&gt;&lt;m_nBrightness val=&quot;0&quot;/&gt;&lt;/elem&gt;&lt;elem m_fUsage=&quot;6.84653792832900287557E-01&quot;&gt;&lt;m_msothmcolidx val=&quot;0&quot;/&gt;&lt;m_rgb r=&quot;9E&quot; g=&quot;2D&quot; b=&quot;11&quot;/&gt;&lt;m_nBrightness val=&quot;0&quot;/&gt;&lt;/elem&gt;&lt;elem m_fUsage=&quot;3.13810596090000171188E-01&quot;&gt;&lt;m_msothmcolidx val=&quot;0&quot;/&gt;&lt;m_rgb r=&quot;09&quot; g=&quot;A3&quot; b=&quot;FF&quot;/&gt;&lt;m_nBrightness val=&quot;0&quot;/&gt;&lt;/elem&gt;&lt;elem m_fUsage=&quot;2.05891132094649098594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10.xml><?xml version="1.0" encoding="utf-8"?>
<p:tagLst xmlns:a="http://schemas.openxmlformats.org/drawingml/2006/main" xmlns:r="http://schemas.openxmlformats.org/officeDocument/2006/relationships" xmlns:p="http://schemas.openxmlformats.org/presentationml/2006/main">
  <p:tag name="CONTAINEDIMAGEPATH" val="C:\Users\320141818\AppData\Local\Temp\Templafy\PowerPointVsto\Assets\723eec5a-cdd2-4d24-80e0-ed3e38cde049.jpeg"/>
</p:tagLst>
</file>

<file path=ppt/tags/tag111.xml><?xml version="1.0" encoding="utf-8"?>
<p:tagLst xmlns:a="http://schemas.openxmlformats.org/drawingml/2006/main" xmlns:r="http://schemas.openxmlformats.org/officeDocument/2006/relationships" xmlns:p="http://schemas.openxmlformats.org/presentationml/2006/main">
  <p:tag name="CONTAINEDIMAGEPATH" val="C:\Users\320141818\AppData\Local\Temp\Templafy\PowerPointVsto\Assets\f5341f6a-f328-4a3c-aa24-b08f21d5f9ed.jp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92.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95.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ags/tag98.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template Jan21">
  <a:themeElements>
    <a:clrScheme name="Custom 83">
      <a:dk1>
        <a:srgbClr val="000000"/>
      </a:dk1>
      <a:lt1>
        <a:srgbClr val="FFFFFF"/>
      </a:lt1>
      <a:dk2>
        <a:srgbClr val="000000"/>
      </a:dk2>
      <a:lt2>
        <a:srgbClr val="FFFFFF"/>
      </a:lt2>
      <a:accent1>
        <a:srgbClr val="0077CC"/>
      </a:accent1>
      <a:accent2>
        <a:srgbClr val="269A91"/>
      </a:accent2>
      <a:accent3>
        <a:srgbClr val="16973A"/>
      </a:accent3>
      <a:accent4>
        <a:srgbClr val="DE7C00"/>
      </a:accent4>
      <a:accent5>
        <a:srgbClr val="D10077"/>
      </a:accent5>
      <a:accent6>
        <a:srgbClr val="8345BA"/>
      </a:accent6>
      <a:hlink>
        <a:srgbClr val="00619F"/>
      </a:hlink>
      <a:folHlink>
        <a:srgbClr val="00629F"/>
      </a:folHlink>
    </a:clrScheme>
    <a:fontScheme name="Custom 12">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_presentation_template_16x9_nov18_1112.pptx" id="{BEC723CF-679C-4F78-8FDC-5F75600573FC}" vid="{82C35204-7926-405E-85BB-7292904EC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TemplateConfiguration><![CDATA[{"slideVersion":1,"isValidatorEnabled":false,"isLocked":false,"elementsMetadata":[],"slideId":"637698128343633543","enableDocumentContentUpdater":false,"version":"2.0"}]]></TemplafySlideTemplateConfiguration>
</file>

<file path=customXml/item11.xml><?xml version="1.0" encoding="utf-8"?>
<TemplafySlideTemplateConfiguration><![CDATA[{"slideVersion":1,"isValidatorEnabled":false,"isLocked":false,"elementsMetadata":[],"slideId":"637698128343660957","enableDocumentContentUpdater":false,"version":"2.0"}]]></TemplafySlideTemplate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TemplafyTemplateConfiguration><![CDATA[{"elementsMetadata":[],"transformationConfigurations":[],"templateName":"presentation_template_14_10_2021","templateDescription":"","enableDocumentContentUpdater":false,"version":"2.0"}]]></TemplafyTemplateConfiguration>
</file>

<file path=customXml/item4.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TemplateConfiguration><![CDATA[{"slideVersion":1,"isValidatorEnabled":false,"isLocked":false,"elementsMetadata":[],"slideId":"637698128343669111","enableDocumentContentUpdater":false,"version":"2.0"}]]></TemplafySlideTemplateConfiguration>
</file>

<file path=customXml/item7.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al xmlns="aacb7df8-672f-46f2-977f-893ce5cef86b" xsi:nil="true"/>
    <_ip_UnifiedCompliancePolicyProperties xmlns="http://schemas.microsoft.com/sharepoint/v3" xsi:nil="true"/>
    <Bedrijf xmlns="aacb7df8-672f-46f2-977f-893ce5cef86b" xsi:nil="true"/>
  </documentManagement>
</p:properties>
</file>

<file path=customXml/item8.xml><?xml version="1.0" encoding="utf-8"?>
<ct:contentTypeSchema xmlns:ct="http://schemas.microsoft.com/office/2006/metadata/contentType" xmlns:ma="http://schemas.microsoft.com/office/2006/metadata/properties/metaAttributes" ct:_="" ma:_="" ma:contentTypeName="Document" ma:contentTypeID="0x0101009C3CCF29AC71D4428C978BA42A6A441C" ma:contentTypeVersion="31" ma:contentTypeDescription="Create a new document." ma:contentTypeScope="" ma:versionID="038aba7bc5184902a26002c6ce26a8fd">
  <xsd:schema xmlns:xsd="http://www.w3.org/2001/XMLSchema" xmlns:xs="http://www.w3.org/2001/XMLSchema" xmlns:p="http://schemas.microsoft.com/office/2006/metadata/properties" xmlns:ns1="http://schemas.microsoft.com/sharepoint/v3" xmlns:ns2="aacb7df8-672f-46f2-977f-893ce5cef86b" xmlns:ns3="22a3f1e7-1ad8-4567-967d-700183da1d1b" targetNamespace="http://schemas.microsoft.com/office/2006/metadata/properties" ma:root="true" ma:fieldsID="9fbd0a90b29e90fda8c346cc45fa5a1b" ns1:_="" ns2:_="" ns3:_="">
    <xsd:import namespace="http://schemas.microsoft.com/sharepoint/v3"/>
    <xsd:import namespace="aacb7df8-672f-46f2-977f-893ce5cef86b"/>
    <xsd:import namespace="22a3f1e7-1ad8-4567-967d-700183da1d1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1:_ip_UnifiedCompliancePolicyProperties" minOccurs="0"/>
                <xsd:element ref="ns1:_ip_UnifiedCompliancePolicyUIAction" minOccurs="0"/>
                <xsd:element ref="ns2:Bedrijf" minOccurs="0"/>
                <xsd:element ref="ns2:Taal"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acb7df8-672f-46f2-977f-893ce5cef8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Bedrijf" ma:index="20" nillable="true" ma:displayName="Bedrijf" ma:internalName="Bedrijf">
      <xsd:simpleType>
        <xsd:restriction base="dms:Text">
          <xsd:maxLength value="255"/>
        </xsd:restriction>
      </xsd:simpleType>
    </xsd:element>
    <xsd:element name="Taal" ma:index="21" nillable="true" ma:displayName="Taal" ma:format="Dropdown" ma:internalName="Taal">
      <xsd:simpleType>
        <xsd:restriction base="dms:Text">
          <xsd:maxLength value="255"/>
        </xsd:restriction>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2a3f1e7-1ad8-4567-967d-700183da1d1b"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TemplafyFormConfiguration><![CDATA[{"formFields":[],"formDataEntries":[]}]]></TemplafyFormConfiguration>
</file>

<file path=customXml/itemProps1.xml><?xml version="1.0" encoding="utf-8"?>
<ds:datastoreItem xmlns:ds="http://schemas.openxmlformats.org/officeDocument/2006/customXml" ds:itemID="{7FC0CA0B-49EE-4DEB-A609-ECD7802D7882}">
  <ds:schemaRefs/>
</ds:datastoreItem>
</file>

<file path=customXml/itemProps10.xml><?xml version="1.0" encoding="utf-8"?>
<ds:datastoreItem xmlns:ds="http://schemas.openxmlformats.org/officeDocument/2006/customXml" ds:itemID="{A6DE6974-73AB-4FBD-8F6A-BC3C8AD38132}">
  <ds:schemaRefs/>
</ds:datastoreItem>
</file>

<file path=customXml/itemProps11.xml><?xml version="1.0" encoding="utf-8"?>
<ds:datastoreItem xmlns:ds="http://schemas.openxmlformats.org/officeDocument/2006/customXml" ds:itemID="{30C07C80-206C-4B4B-A5DE-54917C526E4E}">
  <ds:schemaRefs/>
</ds:datastoreItem>
</file>

<file path=customXml/itemProps2.xml><?xml version="1.0" encoding="utf-8"?>
<ds:datastoreItem xmlns:ds="http://schemas.openxmlformats.org/officeDocument/2006/customXml" ds:itemID="{D8CE77F4-195C-4E5F-A364-E1D1576A1579}">
  <ds:schemaRefs>
    <ds:schemaRef ds:uri="http://schemas.microsoft.com/sharepoint/v3/contenttype/forms"/>
  </ds:schemaRefs>
</ds:datastoreItem>
</file>

<file path=customXml/itemProps3.xml><?xml version="1.0" encoding="utf-8"?>
<ds:datastoreItem xmlns:ds="http://schemas.openxmlformats.org/officeDocument/2006/customXml" ds:itemID="{F537D632-4F2A-497D-93F3-CB16D6200A3E}">
  <ds:schemaRefs/>
</ds:datastoreItem>
</file>

<file path=customXml/itemProps4.xml><?xml version="1.0" encoding="utf-8"?>
<ds:datastoreItem xmlns:ds="http://schemas.openxmlformats.org/officeDocument/2006/customXml" ds:itemID="{FE7E9661-2CD7-495F-BC0F-FD4CC34A98B3}">
  <ds:schemaRefs/>
</ds:datastoreItem>
</file>

<file path=customXml/itemProps5.xml><?xml version="1.0" encoding="utf-8"?>
<ds:datastoreItem xmlns:ds="http://schemas.openxmlformats.org/officeDocument/2006/customXml" ds:itemID="{5DBD0B41-17B3-4548-965B-078F47F73BF8}">
  <ds:schemaRefs/>
</ds:datastoreItem>
</file>

<file path=customXml/itemProps6.xml><?xml version="1.0" encoding="utf-8"?>
<ds:datastoreItem xmlns:ds="http://schemas.openxmlformats.org/officeDocument/2006/customXml" ds:itemID="{55B74F0A-C5D3-4E4A-AB30-ED9680CE8A6E}">
  <ds:schemaRefs/>
</ds:datastoreItem>
</file>

<file path=customXml/itemProps7.xml><?xml version="1.0" encoding="utf-8"?>
<ds:datastoreItem xmlns:ds="http://schemas.openxmlformats.org/officeDocument/2006/customXml" ds:itemID="{A4C6DCBC-A10C-4473-AF48-2D79BA76D9DB}">
  <ds:schemaRefs>
    <ds:schemaRef ds:uri="http://schemas.microsoft.com/office/2006/metadata/properties"/>
    <ds:schemaRef ds:uri="http://schemas.microsoft.com/office/infopath/2007/PartnerControls"/>
    <ds:schemaRef ds:uri="http://schemas.microsoft.com/sharepoint/v3"/>
    <ds:schemaRef ds:uri="aacb7df8-672f-46f2-977f-893ce5cef86b"/>
  </ds:schemaRefs>
</ds:datastoreItem>
</file>

<file path=customXml/itemProps8.xml><?xml version="1.0" encoding="utf-8"?>
<ds:datastoreItem xmlns:ds="http://schemas.openxmlformats.org/officeDocument/2006/customXml" ds:itemID="{013B81A7-42C7-4EB1-A3BE-95DA49CBD3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acb7df8-672f-46f2-977f-893ce5cef86b"/>
    <ds:schemaRef ds:uri="22a3f1e7-1ad8-4567-967d-700183da1d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9.xml><?xml version="1.0" encoding="utf-8"?>
<ds:datastoreItem xmlns:ds="http://schemas.openxmlformats.org/officeDocument/2006/customXml" ds:itemID="{961BB479-C8AA-43D6-A6CB-1C385FA0DCA1}">
  <ds:schemaRefs/>
</ds:datastoreItem>
</file>

<file path=docProps/app.xml><?xml version="1.0" encoding="utf-8"?>
<Properties xmlns="http://schemas.openxmlformats.org/officeDocument/2006/extended-properties" xmlns:vt="http://schemas.openxmlformats.org/officeDocument/2006/docPropsVTypes">
  <Template/>
  <TotalTime>0</TotalTime>
  <Words>11106</Words>
  <Application>Microsoft Office PowerPoint</Application>
  <PresentationFormat>On-screen Show (16:9)</PresentationFormat>
  <Paragraphs>1408</Paragraphs>
  <Slides>28</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8" baseType="lpstr">
      <vt:lpstr>Arial</vt:lpstr>
      <vt:lpstr>Calibri</vt:lpstr>
      <vt:lpstr>Calibri Light</vt:lpstr>
      <vt:lpstr>CentraleSans Book</vt:lpstr>
      <vt:lpstr>Neue Frutiger World</vt:lpstr>
      <vt:lpstr>OpenSans</vt:lpstr>
      <vt:lpstr>Times New Roman</vt:lpstr>
      <vt:lpstr>Trebuchet MS</vt:lpstr>
      <vt:lpstr>Presentation template Jan21</vt:lpstr>
      <vt:lpstr>think-cell Slide</vt:lpstr>
      <vt:lpstr>PowerPoint Presentation</vt:lpstr>
      <vt:lpstr>Infection</vt:lpstr>
      <vt:lpstr>Key messages</vt:lpstr>
      <vt:lpstr>Account checklist - infection</vt:lpstr>
      <vt:lpstr>Quantify the number of potential infection patients</vt:lpstr>
      <vt:lpstr>Targeting</vt:lpstr>
      <vt:lpstr>Resources available to quantify the opportunity</vt:lpstr>
      <vt:lpstr>Infection - systemic</vt:lpstr>
      <vt:lpstr>Infection - pocket</vt:lpstr>
      <vt:lpstr>Key messages (1/2)</vt:lpstr>
      <vt:lpstr>Key messages (2/2)</vt:lpstr>
      <vt:lpstr>I treat with antibiotics first – conversation starter 1</vt:lpstr>
      <vt:lpstr>Identify systemic infection – conversation starter 2</vt:lpstr>
      <vt:lpstr>Antibiotics since last visit – conversation starter 3</vt:lpstr>
      <vt:lpstr>Identify and treat – conversation starter 4</vt:lpstr>
      <vt:lpstr>Lead involvement – conversation starter 5</vt:lpstr>
      <vt:lpstr>Abandoned leads and delayed extraction</vt:lpstr>
      <vt:lpstr>Key messages</vt:lpstr>
      <vt:lpstr>Impact of delay – conversation starter 1</vt:lpstr>
      <vt:lpstr>Length of hospital stay – conversation starter 2</vt:lpstr>
      <vt:lpstr>Is Transvenous Lead Extraction safe?   – conversation starter 3</vt:lpstr>
      <vt:lpstr>Cost of infection</vt:lpstr>
      <vt:lpstr>Key messages</vt:lpstr>
      <vt:lpstr>Cost of infection – conversation starter 1</vt:lpstr>
      <vt:lpstr>Cost of infection – conversation starter 2</vt:lpstr>
      <vt:lpstr>Resources</vt:lpstr>
      <vt:lpstr>Referen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osay meulemans</dc:creator>
  <cp:lastModifiedBy>Chapman, John</cp:lastModifiedBy>
  <cp:revision>1141</cp:revision>
  <dcterms:created xsi:type="dcterms:W3CDTF">2021-10-28T13:22:15Z</dcterms:created>
  <dcterms:modified xsi:type="dcterms:W3CDTF">2021-12-14T14:2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3CCF29AC71D4428C978BA42A6A441C</vt:lpwstr>
  </property>
  <property fmtid="{D5CDD505-2E9C-101B-9397-08002B2CF9AE}" pid="3" name="TemplafyTimeStamp">
    <vt:lpwstr>2021-10-14T12:53:54</vt:lpwstr>
  </property>
  <property fmtid="{D5CDD505-2E9C-101B-9397-08002B2CF9AE}" pid="4" name="TemplafyTenantId">
    <vt:lpwstr>philips</vt:lpwstr>
  </property>
  <property fmtid="{D5CDD505-2E9C-101B-9397-08002B2CF9AE}" pid="5" name="TemplafyTemplateId">
    <vt:lpwstr>637698128337218991</vt:lpwstr>
  </property>
  <property fmtid="{D5CDD505-2E9C-101B-9397-08002B2CF9AE}" pid="6" name="TemplafyUserProfileId">
    <vt:lpwstr>637662045655718759</vt:lpwstr>
  </property>
  <property fmtid="{D5CDD505-2E9C-101B-9397-08002B2CF9AE}" pid="7" name="TemplafyFromBlank">
    <vt:bool>true</vt:bool>
  </property>
</Properties>
</file>